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9.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32.xml" ContentType="application/vnd.openxmlformats-officedocument.presentationml.tags+xml"/>
  <Override PartName="/ppt/notesSlides/notesSlide56.xml" ContentType="application/vnd.openxmlformats-officedocument.presentationml.notesSlide+xml"/>
  <Override PartName="/ppt/tags/tag133.xml" ContentType="application/vnd.openxmlformats-officedocument.presentationml.tags+xml"/>
  <Override PartName="/ppt/notesSlides/notesSlide57.xml" ContentType="application/vnd.openxmlformats-officedocument.presentationml.notesSlide+xml"/>
  <Override PartName="/ppt/tags/tag134.xml" ContentType="application/vnd.openxmlformats-officedocument.presentationml.tags+xml"/>
  <Override PartName="/ppt/notesSlides/notesSlide58.xml" ContentType="application/vnd.openxmlformats-officedocument.presentationml.notesSlide+xml"/>
  <Override PartName="/ppt/tags/tag135.xml" ContentType="application/vnd.openxmlformats-officedocument.presentationml.tags+xml"/>
  <Override PartName="/ppt/notesSlides/notesSlide59.xml" ContentType="application/vnd.openxmlformats-officedocument.presentationml.notesSlide+xml"/>
  <Override PartName="/ppt/tags/tag136.xml" ContentType="application/vnd.openxmlformats-officedocument.presentationml.tags+xml"/>
  <Override PartName="/ppt/notesSlides/notesSlide60.xml" ContentType="application/vnd.openxmlformats-officedocument.presentationml.notesSlide+xml"/>
  <Override PartName="/ppt/tags/tag137.xml" ContentType="application/vnd.openxmlformats-officedocument.presentationml.tags+xml"/>
  <Override PartName="/ppt/notesSlides/notesSlide61.xml" ContentType="application/vnd.openxmlformats-officedocument.presentationml.notesSlide+xml"/>
  <Override PartName="/ppt/tags/tag138.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139.xml" ContentType="application/vnd.openxmlformats-officedocument.presentationml.tags+xml"/>
  <Override PartName="/ppt/notesSlides/notesSlide64.xml" ContentType="application/vnd.openxmlformats-officedocument.presentationml.notesSlide+xml"/>
  <Override PartName="/ppt/tags/tag140.xml" ContentType="application/vnd.openxmlformats-officedocument.presentationml.tags+xml"/>
  <Override PartName="/ppt/notesSlides/notesSlide65.xml" ContentType="application/vnd.openxmlformats-officedocument.presentationml.notesSlide+xml"/>
  <Override PartName="/ppt/tags/tag141.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98"/>
  </p:notesMasterIdLst>
  <p:handoutMasterIdLst>
    <p:handoutMasterId r:id="rId99"/>
  </p:handoutMasterIdLst>
  <p:sldIdLst>
    <p:sldId id="383" r:id="rId2"/>
    <p:sldId id="384" r:id="rId3"/>
    <p:sldId id="385" r:id="rId4"/>
    <p:sldId id="386" r:id="rId5"/>
    <p:sldId id="387" r:id="rId6"/>
    <p:sldId id="388" r:id="rId7"/>
    <p:sldId id="389" r:id="rId8"/>
    <p:sldId id="390" r:id="rId9"/>
    <p:sldId id="391" r:id="rId10"/>
    <p:sldId id="392" r:id="rId11"/>
    <p:sldId id="393" r:id="rId12"/>
    <p:sldId id="394" r:id="rId13"/>
    <p:sldId id="395" r:id="rId14"/>
    <p:sldId id="396" r:id="rId15"/>
    <p:sldId id="411" r:id="rId16"/>
    <p:sldId id="412" r:id="rId17"/>
    <p:sldId id="413" r:id="rId18"/>
    <p:sldId id="437" r:id="rId19"/>
    <p:sldId id="438" r:id="rId20"/>
    <p:sldId id="502" r:id="rId21"/>
    <p:sldId id="503" r:id="rId22"/>
    <p:sldId id="504" r:id="rId23"/>
    <p:sldId id="505" r:id="rId24"/>
    <p:sldId id="398" r:id="rId25"/>
    <p:sldId id="399" r:id="rId26"/>
    <p:sldId id="400" r:id="rId27"/>
    <p:sldId id="401" r:id="rId28"/>
    <p:sldId id="402" r:id="rId29"/>
    <p:sldId id="403" r:id="rId30"/>
    <p:sldId id="404" r:id="rId31"/>
    <p:sldId id="405" r:id="rId32"/>
    <p:sldId id="406" r:id="rId33"/>
    <p:sldId id="407" r:id="rId34"/>
    <p:sldId id="408" r:id="rId35"/>
    <p:sldId id="409" r:id="rId36"/>
    <p:sldId id="410" r:id="rId37"/>
    <p:sldId id="414" r:id="rId38"/>
    <p:sldId id="423" r:id="rId39"/>
    <p:sldId id="424" r:id="rId40"/>
    <p:sldId id="425" r:id="rId41"/>
    <p:sldId id="426" r:id="rId42"/>
    <p:sldId id="427" r:id="rId43"/>
    <p:sldId id="428" r:id="rId44"/>
    <p:sldId id="429" r:id="rId45"/>
    <p:sldId id="430" r:id="rId46"/>
    <p:sldId id="431" r:id="rId47"/>
    <p:sldId id="432" r:id="rId48"/>
    <p:sldId id="433" r:id="rId49"/>
    <p:sldId id="434" r:id="rId50"/>
    <p:sldId id="435" r:id="rId51"/>
    <p:sldId id="440" r:id="rId52"/>
    <p:sldId id="441" r:id="rId53"/>
    <p:sldId id="442" r:id="rId54"/>
    <p:sldId id="443" r:id="rId55"/>
    <p:sldId id="444" r:id="rId56"/>
    <p:sldId id="445" r:id="rId57"/>
    <p:sldId id="446" r:id="rId58"/>
    <p:sldId id="447" r:id="rId59"/>
    <p:sldId id="448" r:id="rId60"/>
    <p:sldId id="449" r:id="rId61"/>
    <p:sldId id="450" r:id="rId62"/>
    <p:sldId id="451" r:id="rId63"/>
    <p:sldId id="452" r:id="rId64"/>
    <p:sldId id="453" r:id="rId65"/>
    <p:sldId id="454" r:id="rId66"/>
    <p:sldId id="455" r:id="rId67"/>
    <p:sldId id="456" r:id="rId68"/>
    <p:sldId id="457" r:id="rId69"/>
    <p:sldId id="458" r:id="rId70"/>
    <p:sldId id="459" r:id="rId71"/>
    <p:sldId id="460" r:id="rId72"/>
    <p:sldId id="461" r:id="rId73"/>
    <p:sldId id="462" r:id="rId74"/>
    <p:sldId id="463" r:id="rId75"/>
    <p:sldId id="464" r:id="rId76"/>
    <p:sldId id="466" r:id="rId77"/>
    <p:sldId id="467" r:id="rId78"/>
    <p:sldId id="468" r:id="rId79"/>
    <p:sldId id="469" r:id="rId80"/>
    <p:sldId id="470" r:id="rId81"/>
    <p:sldId id="471" r:id="rId82"/>
    <p:sldId id="472" r:id="rId83"/>
    <p:sldId id="473" r:id="rId84"/>
    <p:sldId id="474" r:id="rId85"/>
    <p:sldId id="475" r:id="rId86"/>
    <p:sldId id="476" r:id="rId87"/>
    <p:sldId id="477" r:id="rId88"/>
    <p:sldId id="478" r:id="rId89"/>
    <p:sldId id="480" r:id="rId90"/>
    <p:sldId id="501" r:id="rId91"/>
    <p:sldId id="481" r:id="rId92"/>
    <p:sldId id="482" r:id="rId93"/>
    <p:sldId id="483" r:id="rId94"/>
    <p:sldId id="484" r:id="rId95"/>
    <p:sldId id="485" r:id="rId96"/>
    <p:sldId id="486" r:id="rId97"/>
  </p:sldIdLst>
  <p:sldSz cx="12192000" cy="6858000"/>
  <p:notesSz cx="6797675" cy="9926638"/>
  <p:embeddedFontLst>
    <p:embeddedFont>
      <p:font typeface="Futura Medium" panose="00000400000000000000" pitchFamily="2" charset="0"/>
      <p:regular r:id="rId100"/>
      <p:bold r:id="rId101"/>
      <p:italic r:id="rId102"/>
      <p:boldItalic r:id="rId103"/>
    </p:embeddedFont>
    <p:embeddedFont>
      <p:font typeface="Futura Bold" panose="00000900000000000000" pitchFamily="2" charset="0"/>
      <p:regular r:id="rId104"/>
    </p:embeddedFont>
    <p:embeddedFont>
      <p:font typeface="Futura Light" panose="00000400000000000000" pitchFamily="2" charset="0"/>
      <p:regular r:id="rId105"/>
    </p:embeddedFont>
  </p:embeddedFont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83" autoAdjust="0"/>
    <p:restoredTop sz="95448" autoAdjust="0"/>
  </p:normalViewPr>
  <p:slideViewPr>
    <p:cSldViewPr snapToGrid="0" snapToObjects="1" showGuides="1">
      <p:cViewPr varScale="1">
        <p:scale>
          <a:sx n="111" d="100"/>
          <a:sy n="111" d="100"/>
        </p:scale>
        <p:origin x="372" y="8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3776"/>
    </p:cViewPr>
  </p:sorterViewPr>
  <p:notesViewPr>
    <p:cSldViewPr snapToGrid="0" snapToObjects="1" showGuides="1">
      <p:cViewPr varScale="1">
        <p:scale>
          <a:sx n="62" d="100"/>
          <a:sy n="62" d="100"/>
        </p:scale>
        <p:origin x="3354" y="72"/>
      </p:cViewPr>
      <p:guideLst>
        <p:guide orient="horz" pos="3127"/>
        <p:guide pos="2141"/>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viewProps" Target="viewProps.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font" Target="fonts/font3.fntdata"/><Relationship Id="rId110" Type="http://schemas.microsoft.com/office/2015/10/relationships/revisionInfo" Target="revisionInfo.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font" Target="fonts/font1.fntdata"/><Relationship Id="rId105" Type="http://schemas.openxmlformats.org/officeDocument/2006/relationships/font" Target="fonts/font6.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font" Target="fonts/font4.fntdata"/><Relationship Id="rId108"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handoutMaster" Target="handoutMasters/handoutMaster1.xml"/><Relationship Id="rId101" Type="http://schemas.openxmlformats.org/officeDocument/2006/relationships/font" Target="fonts/font2.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font" Target="fonts/font5.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5/06/2018</a:t>
            </a:fld>
            <a:endParaRPr lang="en-GB" dirty="0">
              <a:latin typeface="Futura Medium" pitchFamily="2" charset="0"/>
            </a:endParaRPr>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5/06/2018</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a:t>
            </a:fld>
            <a:endParaRPr lang="en-GB" dirty="0"/>
          </a:p>
        </p:txBody>
      </p:sp>
    </p:spTree>
    <p:extLst>
      <p:ext uri="{BB962C8B-B14F-4D97-AF65-F5344CB8AC3E}">
        <p14:creationId xmlns:p14="http://schemas.microsoft.com/office/powerpoint/2010/main" val="33328715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0</a:t>
            </a:fld>
            <a:endParaRPr lang="en-GB" dirty="0"/>
          </a:p>
        </p:txBody>
      </p:sp>
    </p:spTree>
    <p:extLst>
      <p:ext uri="{BB962C8B-B14F-4D97-AF65-F5344CB8AC3E}">
        <p14:creationId xmlns:p14="http://schemas.microsoft.com/office/powerpoint/2010/main" val="4265327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1</a:t>
            </a:fld>
            <a:endParaRPr lang="en-GB" dirty="0"/>
          </a:p>
        </p:txBody>
      </p:sp>
    </p:spTree>
    <p:extLst>
      <p:ext uri="{BB962C8B-B14F-4D97-AF65-F5344CB8AC3E}">
        <p14:creationId xmlns:p14="http://schemas.microsoft.com/office/powerpoint/2010/main" val="3879946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2</a:t>
            </a:fld>
            <a:endParaRPr lang="en-GB" dirty="0"/>
          </a:p>
        </p:txBody>
      </p:sp>
    </p:spTree>
    <p:extLst>
      <p:ext uri="{BB962C8B-B14F-4D97-AF65-F5344CB8AC3E}">
        <p14:creationId xmlns:p14="http://schemas.microsoft.com/office/powerpoint/2010/main" val="2515803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3</a:t>
            </a:fld>
            <a:endParaRPr lang="en-GB" dirty="0"/>
          </a:p>
        </p:txBody>
      </p:sp>
    </p:spTree>
    <p:extLst>
      <p:ext uri="{BB962C8B-B14F-4D97-AF65-F5344CB8AC3E}">
        <p14:creationId xmlns:p14="http://schemas.microsoft.com/office/powerpoint/2010/main" val="26300110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4</a:t>
            </a:fld>
            <a:endParaRPr lang="en-GB" dirty="0"/>
          </a:p>
        </p:txBody>
      </p:sp>
    </p:spTree>
    <p:extLst>
      <p:ext uri="{BB962C8B-B14F-4D97-AF65-F5344CB8AC3E}">
        <p14:creationId xmlns:p14="http://schemas.microsoft.com/office/powerpoint/2010/main" val="4289587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5</a:t>
            </a:fld>
            <a:endParaRPr lang="en-GB" dirty="0"/>
          </a:p>
        </p:txBody>
      </p:sp>
    </p:spTree>
    <p:extLst>
      <p:ext uri="{BB962C8B-B14F-4D97-AF65-F5344CB8AC3E}">
        <p14:creationId xmlns:p14="http://schemas.microsoft.com/office/powerpoint/2010/main" val="23147500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6</a:t>
            </a:fld>
            <a:endParaRPr lang="en-GB" dirty="0"/>
          </a:p>
        </p:txBody>
      </p:sp>
    </p:spTree>
    <p:extLst>
      <p:ext uri="{BB962C8B-B14F-4D97-AF65-F5344CB8AC3E}">
        <p14:creationId xmlns:p14="http://schemas.microsoft.com/office/powerpoint/2010/main" val="2159613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7</a:t>
            </a:fld>
            <a:endParaRPr lang="en-GB" dirty="0"/>
          </a:p>
        </p:txBody>
      </p:sp>
    </p:spTree>
    <p:extLst>
      <p:ext uri="{BB962C8B-B14F-4D97-AF65-F5344CB8AC3E}">
        <p14:creationId xmlns:p14="http://schemas.microsoft.com/office/powerpoint/2010/main" val="22603570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8</a:t>
            </a:fld>
            <a:endParaRPr lang="en-GB" dirty="0"/>
          </a:p>
        </p:txBody>
      </p:sp>
    </p:spTree>
    <p:extLst>
      <p:ext uri="{BB962C8B-B14F-4D97-AF65-F5344CB8AC3E}">
        <p14:creationId xmlns:p14="http://schemas.microsoft.com/office/powerpoint/2010/main" val="40729177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19</a:t>
            </a:fld>
            <a:endParaRPr lang="en-GB" dirty="0"/>
          </a:p>
        </p:txBody>
      </p:sp>
    </p:spTree>
    <p:extLst>
      <p:ext uri="{BB962C8B-B14F-4D97-AF65-F5344CB8AC3E}">
        <p14:creationId xmlns:p14="http://schemas.microsoft.com/office/powerpoint/2010/main" val="270231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2</a:t>
            </a:fld>
            <a:endParaRPr lang="en-GB" dirty="0"/>
          </a:p>
        </p:txBody>
      </p:sp>
    </p:spTree>
    <p:extLst>
      <p:ext uri="{BB962C8B-B14F-4D97-AF65-F5344CB8AC3E}">
        <p14:creationId xmlns:p14="http://schemas.microsoft.com/office/powerpoint/2010/main" val="2704688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98306"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12</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33694361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28002"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GB" sz="1200">
                <a:latin typeface="Futura Medium" panose="00000400000000000000" pitchFamily="2" charset="0"/>
              </a:rPr>
              <a:t>58</a:t>
            </a:r>
          </a:p>
        </p:txBody>
      </p:sp>
      <p:sp>
        <p:nvSpPr>
          <p:cNvPr id="4" name="Rectangle 3"/>
          <p:cNvSpPr>
            <a:spLocks noGrp="1" noRot="1" noChangeAspect="1" noChangeArrowheads="1" noTextEdit="1"/>
          </p:cNvSpPr>
          <p:nvPr>
            <p:ph type="sldImg"/>
          </p:nvPr>
        </p:nvSpPr>
        <p:spPr>
          <a:xfrm>
            <a:off x="384175" y="712788"/>
            <a:ext cx="6086475" cy="3424237"/>
          </a:xfrm>
          <a:ln/>
        </p:spPr>
      </p:sp>
      <p:sp>
        <p:nvSpPr>
          <p:cNvPr id="5" name="Rectangle 4"/>
          <p:cNvSpPr>
            <a:spLocks noGrp="1" noChangeArrowheads="1"/>
          </p:cNvSpPr>
          <p:nvPr>
            <p:ph type="body" idx="1"/>
          </p:nvPr>
        </p:nvSpPr>
        <p:spPr bwMode="auto">
          <a:xfrm>
            <a:off x="931863" y="4351338"/>
            <a:ext cx="4983162" cy="1481137"/>
          </a:xfrm>
          <a:noFill/>
        </p:spPr>
        <p:txBody>
          <a:bodyPr wrap="square" numCol="1" anchor="t" anchorCtr="0" compatLnSpc="1">
            <a:prstTxWarp prst="textNoShape">
              <a:avLst/>
            </a:prstTxWarp>
          </a:bodyPr>
          <a:lstStyle/>
          <a:p>
            <a:pPr>
              <a:spcBef>
                <a:spcPct val="0"/>
              </a:spcBef>
            </a:pPr>
            <a:endParaRPr lang="en-GB"/>
          </a:p>
        </p:txBody>
      </p:sp>
    </p:spTree>
    <p:extLst>
      <p:ext uri="{BB962C8B-B14F-4D97-AF65-F5344CB8AC3E}">
        <p14:creationId xmlns:p14="http://schemas.microsoft.com/office/powerpoint/2010/main" val="9683377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29026"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GB" sz="1200">
                <a:latin typeface="Futura Medium" panose="00000400000000000000" pitchFamily="2" charset="0"/>
              </a:rPr>
              <a:t>59</a:t>
            </a:r>
          </a:p>
        </p:txBody>
      </p:sp>
      <p:sp>
        <p:nvSpPr>
          <p:cNvPr id="4" name="Rectangle 3"/>
          <p:cNvSpPr>
            <a:spLocks noGrp="1" noRot="1" noChangeAspect="1" noChangeArrowheads="1" noTextEdit="1"/>
          </p:cNvSpPr>
          <p:nvPr>
            <p:ph type="sldImg"/>
          </p:nvPr>
        </p:nvSpPr>
        <p:spPr>
          <a:xfrm>
            <a:off x="384175" y="712788"/>
            <a:ext cx="6086475" cy="3424237"/>
          </a:xfrm>
          <a:ln/>
        </p:spPr>
      </p:sp>
      <p:sp>
        <p:nvSpPr>
          <p:cNvPr id="5" name="Rectangle 4"/>
          <p:cNvSpPr>
            <a:spLocks noGrp="1" noChangeArrowheads="1"/>
          </p:cNvSpPr>
          <p:nvPr>
            <p:ph type="body" idx="1"/>
          </p:nvPr>
        </p:nvSpPr>
        <p:spPr bwMode="auto">
          <a:xfrm>
            <a:off x="931863" y="4351338"/>
            <a:ext cx="4983162" cy="1481137"/>
          </a:xfrm>
          <a:noFill/>
        </p:spPr>
        <p:txBody>
          <a:bodyPr wrap="square" numCol="1" anchor="t" anchorCtr="0" compatLnSpc="1">
            <a:prstTxWarp prst="textNoShape">
              <a:avLst/>
            </a:prstTxWarp>
          </a:bodyPr>
          <a:lstStyle/>
          <a:p>
            <a:pPr>
              <a:spcBef>
                <a:spcPct val="0"/>
              </a:spcBef>
            </a:pPr>
            <a:endParaRPr lang="en-GB"/>
          </a:p>
        </p:txBody>
      </p:sp>
    </p:spTree>
    <p:extLst>
      <p:ext uri="{BB962C8B-B14F-4D97-AF65-F5344CB8AC3E}">
        <p14:creationId xmlns:p14="http://schemas.microsoft.com/office/powerpoint/2010/main" val="9575396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30050"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GB" sz="1200">
                <a:latin typeface="Futura Medium" panose="00000400000000000000" pitchFamily="2" charset="0"/>
              </a:rPr>
              <a:t>60</a:t>
            </a:r>
          </a:p>
        </p:txBody>
      </p:sp>
      <p:sp>
        <p:nvSpPr>
          <p:cNvPr id="4" name="Rectangle 3"/>
          <p:cNvSpPr>
            <a:spLocks noGrp="1" noRot="1" noChangeAspect="1" noChangeArrowheads="1" noTextEdit="1"/>
          </p:cNvSpPr>
          <p:nvPr>
            <p:ph type="sldImg"/>
          </p:nvPr>
        </p:nvSpPr>
        <p:spPr>
          <a:xfrm>
            <a:off x="384175" y="712788"/>
            <a:ext cx="6086475" cy="3424237"/>
          </a:xfrm>
          <a:ln/>
        </p:spPr>
      </p:sp>
      <p:sp>
        <p:nvSpPr>
          <p:cNvPr id="5" name="Rectangle 4"/>
          <p:cNvSpPr>
            <a:spLocks noGrp="1" noChangeArrowheads="1"/>
          </p:cNvSpPr>
          <p:nvPr>
            <p:ph type="body" idx="1"/>
          </p:nvPr>
        </p:nvSpPr>
        <p:spPr bwMode="auto">
          <a:xfrm>
            <a:off x="931863" y="4351338"/>
            <a:ext cx="4983162" cy="1481137"/>
          </a:xfrm>
          <a:noFill/>
        </p:spPr>
        <p:txBody>
          <a:bodyPr wrap="square" numCol="1" anchor="t" anchorCtr="0" compatLnSpc="1">
            <a:prstTxWarp prst="textNoShape">
              <a:avLst/>
            </a:prstTxWarp>
          </a:bodyPr>
          <a:lstStyle/>
          <a:p>
            <a:pPr>
              <a:spcBef>
                <a:spcPct val="0"/>
              </a:spcBef>
            </a:pPr>
            <a:endParaRPr lang="en-GB"/>
          </a:p>
        </p:txBody>
      </p:sp>
    </p:spTree>
    <p:extLst>
      <p:ext uri="{BB962C8B-B14F-4D97-AF65-F5344CB8AC3E}">
        <p14:creationId xmlns:p14="http://schemas.microsoft.com/office/powerpoint/2010/main" val="34296339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24</a:t>
            </a:fld>
            <a:endParaRPr lang="en-GB" dirty="0"/>
          </a:p>
        </p:txBody>
      </p:sp>
    </p:spTree>
    <p:extLst>
      <p:ext uri="{BB962C8B-B14F-4D97-AF65-F5344CB8AC3E}">
        <p14:creationId xmlns:p14="http://schemas.microsoft.com/office/powerpoint/2010/main" val="8807124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25</a:t>
            </a:fld>
            <a:endParaRPr lang="en-GB" dirty="0"/>
          </a:p>
        </p:txBody>
      </p:sp>
    </p:spTree>
    <p:extLst>
      <p:ext uri="{BB962C8B-B14F-4D97-AF65-F5344CB8AC3E}">
        <p14:creationId xmlns:p14="http://schemas.microsoft.com/office/powerpoint/2010/main" val="3135373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26</a:t>
            </a:fld>
            <a:endParaRPr lang="en-GB" dirty="0"/>
          </a:p>
        </p:txBody>
      </p:sp>
    </p:spTree>
    <p:extLst>
      <p:ext uri="{BB962C8B-B14F-4D97-AF65-F5344CB8AC3E}">
        <p14:creationId xmlns:p14="http://schemas.microsoft.com/office/powerpoint/2010/main" val="38944923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27</a:t>
            </a:fld>
            <a:endParaRPr lang="en-GB" dirty="0"/>
          </a:p>
        </p:txBody>
      </p:sp>
    </p:spTree>
    <p:extLst>
      <p:ext uri="{BB962C8B-B14F-4D97-AF65-F5344CB8AC3E}">
        <p14:creationId xmlns:p14="http://schemas.microsoft.com/office/powerpoint/2010/main" val="42690242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28</a:t>
            </a:fld>
            <a:endParaRPr lang="en-GB" dirty="0"/>
          </a:p>
        </p:txBody>
      </p:sp>
    </p:spTree>
    <p:extLst>
      <p:ext uri="{BB962C8B-B14F-4D97-AF65-F5344CB8AC3E}">
        <p14:creationId xmlns:p14="http://schemas.microsoft.com/office/powerpoint/2010/main" val="25570116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29</a:t>
            </a:fld>
            <a:endParaRPr lang="en-GB" dirty="0"/>
          </a:p>
        </p:txBody>
      </p:sp>
    </p:spTree>
    <p:extLst>
      <p:ext uri="{BB962C8B-B14F-4D97-AF65-F5344CB8AC3E}">
        <p14:creationId xmlns:p14="http://schemas.microsoft.com/office/powerpoint/2010/main" val="2885185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a:t>
            </a:fld>
            <a:endParaRPr lang="en-GB" dirty="0"/>
          </a:p>
        </p:txBody>
      </p:sp>
    </p:spTree>
    <p:extLst>
      <p:ext uri="{BB962C8B-B14F-4D97-AF65-F5344CB8AC3E}">
        <p14:creationId xmlns:p14="http://schemas.microsoft.com/office/powerpoint/2010/main" val="18767863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0</a:t>
            </a:fld>
            <a:endParaRPr lang="en-GB" dirty="0"/>
          </a:p>
        </p:txBody>
      </p:sp>
    </p:spTree>
    <p:extLst>
      <p:ext uri="{BB962C8B-B14F-4D97-AF65-F5344CB8AC3E}">
        <p14:creationId xmlns:p14="http://schemas.microsoft.com/office/powerpoint/2010/main" val="10126686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1</a:t>
            </a:fld>
            <a:endParaRPr lang="en-GB" dirty="0"/>
          </a:p>
        </p:txBody>
      </p:sp>
    </p:spTree>
    <p:extLst>
      <p:ext uri="{BB962C8B-B14F-4D97-AF65-F5344CB8AC3E}">
        <p14:creationId xmlns:p14="http://schemas.microsoft.com/office/powerpoint/2010/main" val="24054960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2</a:t>
            </a:fld>
            <a:endParaRPr lang="en-GB" dirty="0"/>
          </a:p>
        </p:txBody>
      </p:sp>
    </p:spTree>
    <p:extLst>
      <p:ext uri="{BB962C8B-B14F-4D97-AF65-F5344CB8AC3E}">
        <p14:creationId xmlns:p14="http://schemas.microsoft.com/office/powerpoint/2010/main" val="14524754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3</a:t>
            </a:fld>
            <a:endParaRPr lang="en-GB" dirty="0"/>
          </a:p>
        </p:txBody>
      </p:sp>
    </p:spTree>
    <p:extLst>
      <p:ext uri="{BB962C8B-B14F-4D97-AF65-F5344CB8AC3E}">
        <p14:creationId xmlns:p14="http://schemas.microsoft.com/office/powerpoint/2010/main" val="1351912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4</a:t>
            </a:fld>
            <a:endParaRPr lang="en-GB" dirty="0"/>
          </a:p>
        </p:txBody>
      </p:sp>
    </p:spTree>
    <p:extLst>
      <p:ext uri="{BB962C8B-B14F-4D97-AF65-F5344CB8AC3E}">
        <p14:creationId xmlns:p14="http://schemas.microsoft.com/office/powerpoint/2010/main" val="25210826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5</a:t>
            </a:fld>
            <a:endParaRPr lang="en-GB" dirty="0"/>
          </a:p>
        </p:txBody>
      </p:sp>
    </p:spTree>
    <p:extLst>
      <p:ext uri="{BB962C8B-B14F-4D97-AF65-F5344CB8AC3E}">
        <p14:creationId xmlns:p14="http://schemas.microsoft.com/office/powerpoint/2010/main" val="22340084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6</a:t>
            </a:fld>
            <a:endParaRPr lang="en-GB" dirty="0"/>
          </a:p>
        </p:txBody>
      </p:sp>
    </p:spTree>
    <p:extLst>
      <p:ext uri="{BB962C8B-B14F-4D97-AF65-F5344CB8AC3E}">
        <p14:creationId xmlns:p14="http://schemas.microsoft.com/office/powerpoint/2010/main" val="21752143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7</a:t>
            </a:fld>
            <a:endParaRPr lang="en-GB" dirty="0"/>
          </a:p>
        </p:txBody>
      </p:sp>
    </p:spTree>
    <p:extLst>
      <p:ext uri="{BB962C8B-B14F-4D97-AF65-F5344CB8AC3E}">
        <p14:creationId xmlns:p14="http://schemas.microsoft.com/office/powerpoint/2010/main" val="6211940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8</a:t>
            </a:fld>
            <a:endParaRPr lang="en-GB" dirty="0"/>
          </a:p>
        </p:txBody>
      </p:sp>
    </p:spTree>
    <p:extLst>
      <p:ext uri="{BB962C8B-B14F-4D97-AF65-F5344CB8AC3E}">
        <p14:creationId xmlns:p14="http://schemas.microsoft.com/office/powerpoint/2010/main" val="3285379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39</a:t>
            </a:fld>
            <a:endParaRPr lang="en-GB" dirty="0"/>
          </a:p>
        </p:txBody>
      </p:sp>
    </p:spTree>
    <p:extLst>
      <p:ext uri="{BB962C8B-B14F-4D97-AF65-F5344CB8AC3E}">
        <p14:creationId xmlns:p14="http://schemas.microsoft.com/office/powerpoint/2010/main" val="515091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a:t>
            </a:fld>
            <a:endParaRPr lang="en-GB" dirty="0"/>
          </a:p>
        </p:txBody>
      </p:sp>
    </p:spTree>
    <p:extLst>
      <p:ext uri="{BB962C8B-B14F-4D97-AF65-F5344CB8AC3E}">
        <p14:creationId xmlns:p14="http://schemas.microsoft.com/office/powerpoint/2010/main" val="34520848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0</a:t>
            </a:fld>
            <a:endParaRPr lang="en-GB" dirty="0"/>
          </a:p>
        </p:txBody>
      </p:sp>
    </p:spTree>
    <p:extLst>
      <p:ext uri="{BB962C8B-B14F-4D97-AF65-F5344CB8AC3E}">
        <p14:creationId xmlns:p14="http://schemas.microsoft.com/office/powerpoint/2010/main" val="11682287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1</a:t>
            </a:fld>
            <a:endParaRPr lang="en-GB" dirty="0"/>
          </a:p>
        </p:txBody>
      </p:sp>
    </p:spTree>
    <p:extLst>
      <p:ext uri="{BB962C8B-B14F-4D97-AF65-F5344CB8AC3E}">
        <p14:creationId xmlns:p14="http://schemas.microsoft.com/office/powerpoint/2010/main" val="33347400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2</a:t>
            </a:fld>
            <a:endParaRPr lang="en-GB" dirty="0"/>
          </a:p>
        </p:txBody>
      </p:sp>
    </p:spTree>
    <p:extLst>
      <p:ext uri="{BB962C8B-B14F-4D97-AF65-F5344CB8AC3E}">
        <p14:creationId xmlns:p14="http://schemas.microsoft.com/office/powerpoint/2010/main" val="15400452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3</a:t>
            </a:fld>
            <a:endParaRPr lang="en-GB" dirty="0"/>
          </a:p>
        </p:txBody>
      </p:sp>
    </p:spTree>
    <p:extLst>
      <p:ext uri="{BB962C8B-B14F-4D97-AF65-F5344CB8AC3E}">
        <p14:creationId xmlns:p14="http://schemas.microsoft.com/office/powerpoint/2010/main" val="33851020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4</a:t>
            </a:fld>
            <a:endParaRPr lang="en-GB" dirty="0"/>
          </a:p>
        </p:txBody>
      </p:sp>
    </p:spTree>
    <p:extLst>
      <p:ext uri="{BB962C8B-B14F-4D97-AF65-F5344CB8AC3E}">
        <p14:creationId xmlns:p14="http://schemas.microsoft.com/office/powerpoint/2010/main" val="4673308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5</a:t>
            </a:fld>
            <a:endParaRPr lang="en-GB" dirty="0"/>
          </a:p>
        </p:txBody>
      </p:sp>
    </p:spTree>
    <p:extLst>
      <p:ext uri="{BB962C8B-B14F-4D97-AF65-F5344CB8AC3E}">
        <p14:creationId xmlns:p14="http://schemas.microsoft.com/office/powerpoint/2010/main" val="3831419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6</a:t>
            </a:fld>
            <a:endParaRPr lang="en-GB" dirty="0"/>
          </a:p>
        </p:txBody>
      </p:sp>
    </p:spTree>
    <p:extLst>
      <p:ext uri="{BB962C8B-B14F-4D97-AF65-F5344CB8AC3E}">
        <p14:creationId xmlns:p14="http://schemas.microsoft.com/office/powerpoint/2010/main" val="30735411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7</a:t>
            </a:fld>
            <a:endParaRPr lang="en-GB" dirty="0"/>
          </a:p>
        </p:txBody>
      </p:sp>
    </p:spTree>
    <p:extLst>
      <p:ext uri="{BB962C8B-B14F-4D97-AF65-F5344CB8AC3E}">
        <p14:creationId xmlns:p14="http://schemas.microsoft.com/office/powerpoint/2010/main" val="3514636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8</a:t>
            </a:fld>
            <a:endParaRPr lang="en-GB" dirty="0"/>
          </a:p>
        </p:txBody>
      </p:sp>
    </p:spTree>
    <p:extLst>
      <p:ext uri="{BB962C8B-B14F-4D97-AF65-F5344CB8AC3E}">
        <p14:creationId xmlns:p14="http://schemas.microsoft.com/office/powerpoint/2010/main" val="34967874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49</a:t>
            </a:fld>
            <a:endParaRPr lang="en-GB" dirty="0"/>
          </a:p>
        </p:txBody>
      </p:sp>
    </p:spTree>
    <p:extLst>
      <p:ext uri="{BB962C8B-B14F-4D97-AF65-F5344CB8AC3E}">
        <p14:creationId xmlns:p14="http://schemas.microsoft.com/office/powerpoint/2010/main" val="49849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5</a:t>
            </a:fld>
            <a:endParaRPr lang="en-GB" dirty="0"/>
          </a:p>
        </p:txBody>
      </p:sp>
    </p:spTree>
    <p:extLst>
      <p:ext uri="{BB962C8B-B14F-4D97-AF65-F5344CB8AC3E}">
        <p14:creationId xmlns:p14="http://schemas.microsoft.com/office/powerpoint/2010/main" val="34545800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50</a:t>
            </a:fld>
            <a:endParaRPr lang="en-GB" dirty="0"/>
          </a:p>
        </p:txBody>
      </p:sp>
    </p:spTree>
    <p:extLst>
      <p:ext uri="{BB962C8B-B14F-4D97-AF65-F5344CB8AC3E}">
        <p14:creationId xmlns:p14="http://schemas.microsoft.com/office/powerpoint/2010/main" val="10870589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51</a:t>
            </a:fld>
            <a:endParaRPr lang="en-GB" dirty="0"/>
          </a:p>
        </p:txBody>
      </p:sp>
    </p:spTree>
    <p:extLst>
      <p:ext uri="{BB962C8B-B14F-4D97-AF65-F5344CB8AC3E}">
        <p14:creationId xmlns:p14="http://schemas.microsoft.com/office/powerpoint/2010/main" val="39649715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52</a:t>
            </a:fld>
            <a:endParaRPr lang="en-GB" dirty="0"/>
          </a:p>
        </p:txBody>
      </p:sp>
    </p:spTree>
    <p:extLst>
      <p:ext uri="{BB962C8B-B14F-4D97-AF65-F5344CB8AC3E}">
        <p14:creationId xmlns:p14="http://schemas.microsoft.com/office/powerpoint/2010/main" val="13785113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53</a:t>
            </a:fld>
            <a:endParaRPr lang="en-GB" dirty="0"/>
          </a:p>
        </p:txBody>
      </p:sp>
    </p:spTree>
    <p:extLst>
      <p:ext uri="{BB962C8B-B14F-4D97-AF65-F5344CB8AC3E}">
        <p14:creationId xmlns:p14="http://schemas.microsoft.com/office/powerpoint/2010/main" val="15129868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54</a:t>
            </a:fld>
            <a:endParaRPr lang="en-GB" dirty="0"/>
          </a:p>
        </p:txBody>
      </p:sp>
    </p:spTree>
    <p:extLst>
      <p:ext uri="{BB962C8B-B14F-4D97-AF65-F5344CB8AC3E}">
        <p14:creationId xmlns:p14="http://schemas.microsoft.com/office/powerpoint/2010/main" val="263488895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55</a:t>
            </a:fld>
            <a:endParaRPr lang="en-GB" dirty="0"/>
          </a:p>
        </p:txBody>
      </p:sp>
    </p:spTree>
    <p:extLst>
      <p:ext uri="{BB962C8B-B14F-4D97-AF65-F5344CB8AC3E}">
        <p14:creationId xmlns:p14="http://schemas.microsoft.com/office/powerpoint/2010/main" val="1511908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86357874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160337777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40403094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3172910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6</a:t>
            </a:fld>
            <a:endParaRPr lang="en-GB" dirty="0"/>
          </a:p>
        </p:txBody>
      </p:sp>
    </p:spTree>
    <p:extLst>
      <p:ext uri="{BB962C8B-B14F-4D97-AF65-F5344CB8AC3E}">
        <p14:creationId xmlns:p14="http://schemas.microsoft.com/office/powerpoint/2010/main" val="38369346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271506204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28877798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13667881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0F7CE2E1-0C92-42E4-928A-8A0FDFE1DE03}" type="slidenum">
              <a:rPr lang="en-GB"/>
              <a:pPr/>
              <a:t>63</a:t>
            </a:fld>
            <a:endParaRPr lang="en-GB" dirty="0"/>
          </a:p>
        </p:txBody>
      </p:sp>
      <p:sp>
        <p:nvSpPr>
          <p:cNvPr id="92163" name="Rectangle 2"/>
          <p:cNvSpPr>
            <a:spLocks noGrp="1" noRot="1" noChangeAspect="1" noChangeArrowheads="1" noTextEdit="1"/>
          </p:cNvSpPr>
          <p:nvPr>
            <p:ph type="sldImg"/>
          </p:nvPr>
        </p:nvSpPr>
        <p:spPr>
          <a:xfrm>
            <a:off x="382588" y="714375"/>
            <a:ext cx="6100762" cy="3432175"/>
          </a:xfrm>
          <a:ln/>
        </p:spPr>
      </p:sp>
      <p:sp>
        <p:nvSpPr>
          <p:cNvPr id="92164" name="Rectangle 3"/>
          <p:cNvSpPr>
            <a:spLocks noGrp="1" noChangeArrowheads="1"/>
          </p:cNvSpPr>
          <p:nvPr>
            <p:ph type="body" idx="1"/>
          </p:nvPr>
        </p:nvSpPr>
        <p:spPr>
          <a:xfrm>
            <a:off x="916109" y="4360692"/>
            <a:ext cx="5032190" cy="4074074"/>
          </a:xfrm>
          <a:noFill/>
          <a:ln/>
        </p:spPr>
        <p:txBody>
          <a:bodyPr/>
          <a:lstStyle/>
          <a:p>
            <a:pPr eaLnBrk="1" hangingPunct="1"/>
            <a:endParaRPr lang="en-US" dirty="0"/>
          </a:p>
        </p:txBody>
      </p:sp>
    </p:spTree>
    <p:extLst>
      <p:ext uri="{BB962C8B-B14F-4D97-AF65-F5344CB8AC3E}">
        <p14:creationId xmlns:p14="http://schemas.microsoft.com/office/powerpoint/2010/main" val="303896933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8643906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26344130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50481321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326436361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10949444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2272018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7</a:t>
            </a:fld>
            <a:endParaRPr lang="en-GB" dirty="0"/>
          </a:p>
        </p:txBody>
      </p:sp>
    </p:spTree>
    <p:extLst>
      <p:ext uri="{BB962C8B-B14F-4D97-AF65-F5344CB8AC3E}">
        <p14:creationId xmlns:p14="http://schemas.microsoft.com/office/powerpoint/2010/main" val="33500908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194614943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90114"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3</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99140673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p:spPr>
        <p:txBody>
          <a:bodyPr/>
          <a:lstStyle/>
          <a:p>
            <a:fld id="{BAEA1690-8C2B-42EA-8DAB-FA78965156AA}" type="slidenum">
              <a:rPr lang="en-GB"/>
              <a:pPr/>
              <a:t>72</a:t>
            </a:fld>
            <a:endParaRPr lang="en-GB" dirty="0"/>
          </a:p>
        </p:txBody>
      </p:sp>
      <p:sp>
        <p:nvSpPr>
          <p:cNvPr id="87043" name="Rectangle 2"/>
          <p:cNvSpPr>
            <a:spLocks noGrp="1" noRot="1" noChangeAspect="1" noChangeArrowheads="1" noTextEdit="1"/>
          </p:cNvSpPr>
          <p:nvPr>
            <p:ph type="sldImg"/>
          </p:nvPr>
        </p:nvSpPr>
        <p:spPr>
          <a:xfrm>
            <a:off x="381000" y="685800"/>
            <a:ext cx="6096000" cy="3429000"/>
          </a:xfrm>
          <a:ln/>
        </p:spPr>
      </p:sp>
      <p:sp>
        <p:nvSpPr>
          <p:cNvPr id="87044"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91495925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99330"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26</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40427245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00354"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27</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238489059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ChangeArrowheads="1"/>
          </p:cNvSpPr>
          <p:nvPr>
            <p:ph type="sldNum" sz="quarter" idx="5"/>
          </p:nvPr>
        </p:nvSpPr>
        <p:spPr>
          <a:noFill/>
        </p:spPr>
        <p:txBody>
          <a:bodyPr/>
          <a:lstStyle/>
          <a:p>
            <a:fld id="{8C977752-2D0B-4E8B-BBDD-E98E1A18C8B4}" type="slidenum">
              <a:rPr lang="en-GB"/>
              <a:pPr/>
              <a:t>75</a:t>
            </a:fld>
            <a:endParaRPr lang="en-GB" dirty="0"/>
          </a:p>
        </p:txBody>
      </p:sp>
      <p:sp>
        <p:nvSpPr>
          <p:cNvPr id="93187" name="Rectangle 2"/>
          <p:cNvSpPr>
            <a:spLocks noGrp="1" noRot="1" noChangeAspect="1" noChangeArrowheads="1" noTextEdit="1"/>
          </p:cNvSpPr>
          <p:nvPr>
            <p:ph type="sldImg"/>
          </p:nvPr>
        </p:nvSpPr>
        <p:spPr>
          <a:xfrm>
            <a:off x="382588" y="714375"/>
            <a:ext cx="6100762" cy="3432175"/>
          </a:xfrm>
          <a:ln/>
        </p:spPr>
      </p:sp>
      <p:sp>
        <p:nvSpPr>
          <p:cNvPr id="93188" name="Rectangle 3"/>
          <p:cNvSpPr>
            <a:spLocks noGrp="1" noChangeArrowheads="1"/>
          </p:cNvSpPr>
          <p:nvPr>
            <p:ph type="body" idx="1"/>
          </p:nvPr>
        </p:nvSpPr>
        <p:spPr>
          <a:xfrm>
            <a:off x="916109" y="4360692"/>
            <a:ext cx="5032190" cy="4074074"/>
          </a:xfrm>
          <a:noFill/>
          <a:ln/>
        </p:spPr>
        <p:txBody>
          <a:bodyPr/>
          <a:lstStyle/>
          <a:p>
            <a:pPr eaLnBrk="1" hangingPunct="1"/>
            <a:endParaRPr lang="en-US" dirty="0"/>
          </a:p>
        </p:txBody>
      </p:sp>
    </p:spTree>
    <p:extLst>
      <p:ext uri="{BB962C8B-B14F-4D97-AF65-F5344CB8AC3E}">
        <p14:creationId xmlns:p14="http://schemas.microsoft.com/office/powerpoint/2010/main" val="7289000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11F51EF-D4D3-442C-8304-71D1ADFE2839}" type="slidenum">
              <a:rPr lang="en-GB" smtClean="0"/>
              <a:t>76</a:t>
            </a:fld>
            <a:endParaRPr lang="en-GB" dirty="0"/>
          </a:p>
        </p:txBody>
      </p:sp>
    </p:spTree>
    <p:extLst>
      <p:ext uri="{BB962C8B-B14F-4D97-AF65-F5344CB8AC3E}">
        <p14:creationId xmlns:p14="http://schemas.microsoft.com/office/powerpoint/2010/main" val="67787458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a:noFill/>
        </p:spPr>
        <p:txBody>
          <a:bodyPr/>
          <a:lstStyle/>
          <a:p>
            <a:fld id="{C15BEB45-69CC-43C9-A8E4-62C3DEA70D93}" type="slidenum">
              <a:rPr lang="en-GB"/>
              <a:pPr/>
              <a:t>77</a:t>
            </a:fld>
            <a:endParaRPr lang="en-GB" dirty="0"/>
          </a:p>
        </p:txBody>
      </p:sp>
      <p:sp>
        <p:nvSpPr>
          <p:cNvPr id="96259" name="Rectangle 2"/>
          <p:cNvSpPr>
            <a:spLocks noGrp="1" noRot="1" noChangeAspect="1" noChangeArrowheads="1" noTextEdit="1"/>
          </p:cNvSpPr>
          <p:nvPr>
            <p:ph type="sldImg"/>
          </p:nvPr>
        </p:nvSpPr>
        <p:spPr>
          <a:xfrm>
            <a:off x="382588" y="714375"/>
            <a:ext cx="6100762" cy="3432175"/>
          </a:xfrm>
          <a:ln/>
        </p:spPr>
      </p:sp>
      <p:sp>
        <p:nvSpPr>
          <p:cNvPr id="96260" name="Rectangle 3"/>
          <p:cNvSpPr>
            <a:spLocks noGrp="1" noChangeArrowheads="1"/>
          </p:cNvSpPr>
          <p:nvPr>
            <p:ph type="body" idx="1"/>
          </p:nvPr>
        </p:nvSpPr>
        <p:spPr>
          <a:xfrm>
            <a:off x="916109" y="4360692"/>
            <a:ext cx="5032190" cy="4074074"/>
          </a:xfrm>
          <a:noFill/>
          <a:ln/>
        </p:spPr>
        <p:txBody>
          <a:bodyPr/>
          <a:lstStyle/>
          <a:p>
            <a:pPr eaLnBrk="1" hangingPunct="1"/>
            <a:endParaRPr lang="en-US" dirty="0"/>
          </a:p>
        </p:txBody>
      </p:sp>
    </p:spTree>
    <p:extLst>
      <p:ext uri="{BB962C8B-B14F-4D97-AF65-F5344CB8AC3E}">
        <p14:creationId xmlns:p14="http://schemas.microsoft.com/office/powerpoint/2010/main" val="3444746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14690"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43</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146145433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15714"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44</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3782079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8</a:t>
            </a:fld>
            <a:endParaRPr lang="en-GB" dirty="0"/>
          </a:p>
        </p:txBody>
      </p:sp>
    </p:spTree>
    <p:extLst>
      <p:ext uri="{BB962C8B-B14F-4D97-AF65-F5344CB8AC3E}">
        <p14:creationId xmlns:p14="http://schemas.microsoft.com/office/powerpoint/2010/main" val="54204876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p>
            <a:fld id="{D1A60987-9B9C-4015-A991-1AE6A6020052}" type="slidenum">
              <a:rPr lang="en-GB"/>
              <a:pPr/>
              <a:t>80</a:t>
            </a:fld>
            <a:endParaRPr lang="en-GB" dirty="0"/>
          </a:p>
        </p:txBody>
      </p:sp>
      <p:sp>
        <p:nvSpPr>
          <p:cNvPr id="94211" name="Rectangle 2"/>
          <p:cNvSpPr>
            <a:spLocks noGrp="1" noChangeArrowheads="1"/>
          </p:cNvSpPr>
          <p:nvPr>
            <p:ph type="body" idx="1"/>
          </p:nvPr>
        </p:nvSpPr>
        <p:spPr>
          <a:xfrm>
            <a:off x="4287452" y="3556406"/>
            <a:ext cx="2285466" cy="4113557"/>
          </a:xfrm>
          <a:noFill/>
          <a:ln/>
        </p:spPr>
        <p:txBody>
          <a:bodyPr lIns="94566" tIns="46453" rIns="94566" bIns="46453"/>
          <a:lstStyle/>
          <a:p>
            <a:pPr eaLnBrk="1" hangingPunct="1"/>
            <a:endParaRPr lang="en-GB" altLang="en-GB" dirty="0"/>
          </a:p>
        </p:txBody>
      </p:sp>
      <p:sp>
        <p:nvSpPr>
          <p:cNvPr id="94212" name="Rectangle 3"/>
          <p:cNvSpPr>
            <a:spLocks noGrp="1" noRot="1" noChangeAspect="1" noChangeArrowheads="1" noTextEdit="1"/>
          </p:cNvSpPr>
          <p:nvPr>
            <p:ph type="sldImg"/>
          </p:nvPr>
        </p:nvSpPr>
        <p:spPr>
          <a:xfrm>
            <a:off x="-588963" y="679450"/>
            <a:ext cx="10947401" cy="6159500"/>
          </a:xfrm>
          <a:ln w="12700" cap="flat">
            <a:solidFill>
              <a:schemeClr val="tx1"/>
            </a:solidFill>
          </a:ln>
        </p:spPr>
      </p:sp>
      <p:sp>
        <p:nvSpPr>
          <p:cNvPr id="94213" name="Rectangle 4"/>
          <p:cNvSpPr>
            <a:spLocks noChangeArrowheads="1"/>
          </p:cNvSpPr>
          <p:nvPr/>
        </p:nvSpPr>
        <p:spPr bwMode="auto">
          <a:xfrm>
            <a:off x="9322845" y="7061631"/>
            <a:ext cx="329927" cy="393368"/>
          </a:xfrm>
          <a:prstGeom prst="rect">
            <a:avLst/>
          </a:prstGeom>
          <a:noFill/>
          <a:ln w="12700">
            <a:noFill/>
            <a:miter lim="800000"/>
            <a:headEnd/>
            <a:tailEnd/>
          </a:ln>
        </p:spPr>
        <p:txBody>
          <a:bodyPr wrap="none" lIns="19909" tIns="28203" rIns="19909" bIns="28203"/>
          <a:lstStyle/>
          <a:p>
            <a:pPr algn="r" defTabSz="955675">
              <a:lnSpc>
                <a:spcPts val="2200"/>
              </a:lnSpc>
              <a:spcBef>
                <a:spcPct val="0"/>
              </a:spcBef>
              <a:spcAft>
                <a:spcPct val="0"/>
              </a:spcAft>
              <a:buClrTx/>
              <a:buFontTx/>
              <a:buNone/>
            </a:pPr>
            <a:r>
              <a:rPr lang="en-GB" altLang="en-GB" sz="1800" dirty="0">
                <a:solidFill>
                  <a:srgbClr val="000000"/>
                </a:solidFill>
                <a:latin typeface="Futura Medium" panose="00000400000000000000" pitchFamily="2" charset="0"/>
              </a:rPr>
              <a:t>17</a:t>
            </a:r>
          </a:p>
        </p:txBody>
      </p:sp>
    </p:spTree>
    <p:extLst>
      <p:ext uri="{BB962C8B-B14F-4D97-AF65-F5344CB8AC3E}">
        <p14:creationId xmlns:p14="http://schemas.microsoft.com/office/powerpoint/2010/main" val="188791947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254964966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p>
            <a:fld id="{32DDCFE3-A4BB-483D-8CB4-29A27506A1CF}" type="slidenum">
              <a:rPr lang="en-GB"/>
              <a:pPr/>
              <a:t>82</a:t>
            </a:fld>
            <a:endParaRPr lang="en-GB" dirty="0"/>
          </a:p>
        </p:txBody>
      </p:sp>
      <p:sp>
        <p:nvSpPr>
          <p:cNvPr id="95235" name="Rectangle 2"/>
          <p:cNvSpPr>
            <a:spLocks noGrp="1" noRot="1" noChangeAspect="1" noChangeArrowheads="1" noTextEdit="1"/>
          </p:cNvSpPr>
          <p:nvPr>
            <p:ph type="sldImg"/>
          </p:nvPr>
        </p:nvSpPr>
        <p:spPr>
          <a:xfrm>
            <a:off x="382588" y="714375"/>
            <a:ext cx="6100762" cy="3432175"/>
          </a:xfrm>
          <a:ln/>
        </p:spPr>
      </p:sp>
      <p:sp>
        <p:nvSpPr>
          <p:cNvPr id="95236" name="Rectangle 3"/>
          <p:cNvSpPr>
            <a:spLocks noGrp="1" noChangeArrowheads="1"/>
          </p:cNvSpPr>
          <p:nvPr>
            <p:ph type="body" idx="1"/>
          </p:nvPr>
        </p:nvSpPr>
        <p:spPr>
          <a:xfrm>
            <a:off x="916109" y="4360692"/>
            <a:ext cx="5032190" cy="4074074"/>
          </a:xfrm>
          <a:noFill/>
          <a:ln/>
        </p:spPr>
        <p:txBody>
          <a:bodyPr/>
          <a:lstStyle/>
          <a:p>
            <a:pPr eaLnBrk="1" hangingPunct="1"/>
            <a:endParaRPr lang="en-US" dirty="0"/>
          </a:p>
        </p:txBody>
      </p:sp>
    </p:spTree>
    <p:extLst>
      <p:ext uri="{BB962C8B-B14F-4D97-AF65-F5344CB8AC3E}">
        <p14:creationId xmlns:p14="http://schemas.microsoft.com/office/powerpoint/2010/main" val="94125151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p>
            <a:fld id="{32DDCFE3-A4BB-483D-8CB4-29A27506A1CF}" type="slidenum">
              <a:rPr lang="en-GB"/>
              <a:pPr/>
              <a:t>83</a:t>
            </a:fld>
            <a:endParaRPr lang="en-GB" dirty="0"/>
          </a:p>
        </p:txBody>
      </p:sp>
      <p:sp>
        <p:nvSpPr>
          <p:cNvPr id="95235" name="Rectangle 2"/>
          <p:cNvSpPr>
            <a:spLocks noGrp="1" noRot="1" noChangeAspect="1" noChangeArrowheads="1" noTextEdit="1"/>
          </p:cNvSpPr>
          <p:nvPr>
            <p:ph type="sldImg"/>
          </p:nvPr>
        </p:nvSpPr>
        <p:spPr>
          <a:xfrm>
            <a:off x="382588" y="714375"/>
            <a:ext cx="6100762" cy="3432175"/>
          </a:xfrm>
          <a:ln/>
        </p:spPr>
      </p:sp>
      <p:sp>
        <p:nvSpPr>
          <p:cNvPr id="95236" name="Rectangle 3"/>
          <p:cNvSpPr>
            <a:spLocks noGrp="1" noChangeArrowheads="1"/>
          </p:cNvSpPr>
          <p:nvPr>
            <p:ph type="body" idx="1"/>
          </p:nvPr>
        </p:nvSpPr>
        <p:spPr>
          <a:xfrm>
            <a:off x="916109" y="4360692"/>
            <a:ext cx="5032190" cy="4074074"/>
          </a:xfrm>
          <a:noFill/>
          <a:ln/>
        </p:spPr>
        <p:txBody>
          <a:bodyPr/>
          <a:lstStyle/>
          <a:p>
            <a:pPr eaLnBrk="1" hangingPunct="1"/>
            <a:endParaRPr lang="en-US" dirty="0"/>
          </a:p>
        </p:txBody>
      </p:sp>
    </p:spTree>
    <p:extLst>
      <p:ext uri="{BB962C8B-B14F-4D97-AF65-F5344CB8AC3E}">
        <p14:creationId xmlns:p14="http://schemas.microsoft.com/office/powerpoint/2010/main" val="157983922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p:spPr>
        <p:txBody>
          <a:bodyPr/>
          <a:lstStyle/>
          <a:p>
            <a:fld id="{707C043D-6E9E-45D9-ABD6-28F386884681}" type="slidenum">
              <a:rPr lang="en-GB"/>
              <a:pPr/>
              <a:t>84</a:t>
            </a:fld>
            <a:endParaRPr lang="en-GB" dirty="0"/>
          </a:p>
        </p:txBody>
      </p:sp>
      <p:sp>
        <p:nvSpPr>
          <p:cNvPr id="101379" name="Rectangle 2"/>
          <p:cNvSpPr>
            <a:spLocks noGrp="1" noRot="1" noChangeAspect="1" noChangeArrowheads="1" noTextEdit="1"/>
          </p:cNvSpPr>
          <p:nvPr>
            <p:ph type="sldImg"/>
          </p:nvPr>
        </p:nvSpPr>
        <p:spPr>
          <a:xfrm>
            <a:off x="381000" y="685800"/>
            <a:ext cx="6096000" cy="3429000"/>
          </a:xfrm>
          <a:ln/>
        </p:spPr>
      </p:sp>
      <p:sp>
        <p:nvSpPr>
          <p:cNvPr id="101380"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98398729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p:spPr>
        <p:txBody>
          <a:bodyPr/>
          <a:lstStyle/>
          <a:p>
            <a:fld id="{F17813FC-7072-428E-BD2B-A47855E29638}" type="slidenum">
              <a:rPr lang="en-GB"/>
              <a:pPr/>
              <a:t>85</a:t>
            </a:fld>
            <a:endParaRPr lang="en-GB" dirty="0"/>
          </a:p>
        </p:txBody>
      </p:sp>
      <p:sp>
        <p:nvSpPr>
          <p:cNvPr id="102403" name="Rectangle 2"/>
          <p:cNvSpPr>
            <a:spLocks noGrp="1" noRot="1" noChangeAspect="1" noChangeArrowheads="1" noTextEdit="1"/>
          </p:cNvSpPr>
          <p:nvPr>
            <p:ph type="sldImg"/>
          </p:nvPr>
        </p:nvSpPr>
        <p:spPr>
          <a:xfrm>
            <a:off x="381000" y="685800"/>
            <a:ext cx="6096000" cy="3429000"/>
          </a:xfrm>
          <a:ln/>
        </p:spPr>
      </p:sp>
      <p:sp>
        <p:nvSpPr>
          <p:cNvPr id="102404"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98404872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p:spPr>
        <p:txBody>
          <a:bodyPr/>
          <a:lstStyle/>
          <a:p>
            <a:fld id="{4D14E668-5FDB-4F6E-AF45-D959813A3411}" type="slidenum">
              <a:rPr lang="en-GB"/>
              <a:pPr/>
              <a:t>86</a:t>
            </a:fld>
            <a:endParaRPr lang="en-GB" dirty="0"/>
          </a:p>
        </p:txBody>
      </p:sp>
      <p:sp>
        <p:nvSpPr>
          <p:cNvPr id="98307" name="Rectangle 2"/>
          <p:cNvSpPr>
            <a:spLocks noGrp="1" noRot="1" noChangeAspect="1" noChangeArrowheads="1" noTextEdit="1"/>
          </p:cNvSpPr>
          <p:nvPr>
            <p:ph type="sldImg"/>
          </p:nvPr>
        </p:nvSpPr>
        <p:spPr>
          <a:xfrm>
            <a:off x="382588" y="685800"/>
            <a:ext cx="6096000" cy="3430588"/>
          </a:xfrm>
          <a:ln/>
        </p:spPr>
      </p:sp>
      <p:sp>
        <p:nvSpPr>
          <p:cNvPr id="98308" name="Rectangle 3"/>
          <p:cNvSpPr>
            <a:spLocks noGrp="1" noChangeArrowheads="1"/>
          </p:cNvSpPr>
          <p:nvPr>
            <p:ph type="body" idx="1"/>
          </p:nvPr>
        </p:nvSpPr>
        <p:spPr>
          <a:xfrm>
            <a:off x="688684" y="4343144"/>
            <a:ext cx="5480634" cy="4115019"/>
          </a:xfrm>
          <a:noFill/>
          <a:ln/>
        </p:spPr>
        <p:txBody>
          <a:bodyPr/>
          <a:lstStyle/>
          <a:p>
            <a:pPr eaLnBrk="1" hangingPunct="1"/>
            <a:endParaRPr lang="en-US" dirty="0"/>
          </a:p>
        </p:txBody>
      </p:sp>
    </p:spTree>
    <p:extLst>
      <p:ext uri="{BB962C8B-B14F-4D97-AF65-F5344CB8AC3E}">
        <p14:creationId xmlns:p14="http://schemas.microsoft.com/office/powerpoint/2010/main" val="373578641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p:spPr>
        <p:txBody>
          <a:bodyPr/>
          <a:lstStyle/>
          <a:p>
            <a:fld id="{723F2BD1-FF96-462F-886B-0A713DD30076}" type="slidenum">
              <a:rPr lang="en-GB"/>
              <a:pPr/>
              <a:t>87</a:t>
            </a:fld>
            <a:endParaRPr lang="en-GB" dirty="0"/>
          </a:p>
        </p:txBody>
      </p:sp>
      <p:sp>
        <p:nvSpPr>
          <p:cNvPr id="99331" name="Rectangle 2"/>
          <p:cNvSpPr>
            <a:spLocks noGrp="1" noRot="1" noChangeAspect="1" noChangeArrowheads="1" noTextEdit="1"/>
          </p:cNvSpPr>
          <p:nvPr>
            <p:ph type="sldImg"/>
          </p:nvPr>
        </p:nvSpPr>
        <p:spPr>
          <a:xfrm>
            <a:off x="434975" y="681038"/>
            <a:ext cx="6049963" cy="3403600"/>
          </a:xfrm>
          <a:ln/>
        </p:spPr>
      </p:sp>
      <p:sp>
        <p:nvSpPr>
          <p:cNvPr id="99332" name="Rectangle 3"/>
          <p:cNvSpPr>
            <a:spLocks noGrp="1" noChangeArrowheads="1"/>
          </p:cNvSpPr>
          <p:nvPr>
            <p:ph type="body" idx="1"/>
          </p:nvPr>
        </p:nvSpPr>
        <p:spPr>
          <a:xfrm>
            <a:off x="884077" y="4357767"/>
            <a:ext cx="5078636" cy="4084311"/>
          </a:xfrm>
          <a:noFill/>
          <a:ln/>
        </p:spPr>
        <p:txBody>
          <a:bodyPr/>
          <a:lstStyle/>
          <a:p>
            <a:pPr eaLnBrk="1" hangingPunct="1"/>
            <a:endParaRPr lang="en-GB" dirty="0"/>
          </a:p>
        </p:txBody>
      </p:sp>
    </p:spTree>
    <p:extLst>
      <p:ext uri="{BB962C8B-B14F-4D97-AF65-F5344CB8AC3E}">
        <p14:creationId xmlns:p14="http://schemas.microsoft.com/office/powerpoint/2010/main" val="373373893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p>
            <a:fld id="{076636D0-7142-4F16-A49D-815A408462D0}" type="slidenum">
              <a:rPr lang="en-GB"/>
              <a:pPr/>
              <a:t>88</a:t>
            </a:fld>
            <a:endParaRPr lang="en-GB" dirty="0"/>
          </a:p>
        </p:txBody>
      </p:sp>
      <p:sp>
        <p:nvSpPr>
          <p:cNvPr id="100355" name="Rectangle 2"/>
          <p:cNvSpPr>
            <a:spLocks noGrp="1" noRot="1" noChangeAspect="1" noChangeArrowheads="1" noTextEdit="1"/>
          </p:cNvSpPr>
          <p:nvPr>
            <p:ph type="sldImg"/>
          </p:nvPr>
        </p:nvSpPr>
        <p:spPr>
          <a:xfrm>
            <a:off x="382588" y="714375"/>
            <a:ext cx="6100762" cy="3432175"/>
          </a:xfrm>
          <a:ln/>
        </p:spPr>
      </p:sp>
      <p:sp>
        <p:nvSpPr>
          <p:cNvPr id="100356" name="Rectangle 3"/>
          <p:cNvSpPr>
            <a:spLocks noGrp="1" noChangeArrowheads="1"/>
          </p:cNvSpPr>
          <p:nvPr>
            <p:ph type="body" idx="1"/>
          </p:nvPr>
        </p:nvSpPr>
        <p:spPr>
          <a:xfrm>
            <a:off x="916109" y="4360692"/>
            <a:ext cx="5032190" cy="4074074"/>
          </a:xfrm>
          <a:noFill/>
          <a:ln/>
        </p:spPr>
        <p:txBody>
          <a:bodyPr/>
          <a:lstStyle/>
          <a:p>
            <a:pPr eaLnBrk="1" hangingPunct="1"/>
            <a:endParaRPr lang="en-US" dirty="0"/>
          </a:p>
        </p:txBody>
      </p:sp>
    </p:spTree>
    <p:extLst>
      <p:ext uri="{BB962C8B-B14F-4D97-AF65-F5344CB8AC3E}">
        <p14:creationId xmlns:p14="http://schemas.microsoft.com/office/powerpoint/2010/main" val="168187418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16738"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45</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2933378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E799493-6412-4470-9830-D005B358D66E}" type="slidenum">
              <a:rPr lang="en-GB" smtClean="0"/>
              <a:pPr/>
              <a:t>9</a:t>
            </a:fld>
            <a:endParaRPr lang="en-GB" dirty="0"/>
          </a:p>
        </p:txBody>
      </p:sp>
    </p:spTree>
    <p:extLst>
      <p:ext uri="{BB962C8B-B14F-4D97-AF65-F5344CB8AC3E}">
        <p14:creationId xmlns:p14="http://schemas.microsoft.com/office/powerpoint/2010/main" val="87811029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16738"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45</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392201714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17762"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46</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34427301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18786"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47</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148900432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19810"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48</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36273097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p:cNvSpPr>
          <p:nvPr>
            <p:ph type="dt" idx="1"/>
          </p:nvPr>
        </p:nvSpPr>
        <p:spPr/>
        <p:txBody>
          <a:bodyPr/>
          <a:lstStyle/>
          <a:p>
            <a:pPr>
              <a:defRPr/>
            </a:pPr>
            <a:r>
              <a:rPr lang="en-GB"/>
              <a:t>24/07/2014</a:t>
            </a:r>
            <a:endParaRPr lang="en-GB" dirty="0"/>
          </a:p>
        </p:txBody>
      </p:sp>
      <p:sp>
        <p:nvSpPr>
          <p:cNvPr id="9" name="Rectangle 7"/>
          <p:cNvSpPr>
            <a:spLocks noGrp="1"/>
          </p:cNvSpPr>
          <p:nvPr>
            <p:ph type="sldNum" sz="quarter" idx="5"/>
          </p:nvPr>
        </p:nvSpPr>
        <p:spPr/>
        <p:txBody>
          <a:bodyPr/>
          <a:lstStyle/>
          <a:p>
            <a:pPr>
              <a:defRPr/>
            </a:pPr>
            <a:r>
              <a:rPr lang="en-GB"/>
              <a:t>‹#›</a:t>
            </a:r>
            <a:endParaRPr lang="en-GB" dirty="0"/>
          </a:p>
        </p:txBody>
      </p:sp>
      <p:sp>
        <p:nvSpPr>
          <p:cNvPr id="120834" name="Text Box 2"/>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fontAlgn="base">
              <a:spcBef>
                <a:spcPct val="0"/>
              </a:spcBef>
              <a:spcAft>
                <a:spcPct val="0"/>
              </a:spcAft>
            </a:pPr>
            <a:r>
              <a:rPr lang="en-US" sz="1200" dirty="0">
                <a:latin typeface="Futura Medium" panose="00000400000000000000" pitchFamily="2" charset="0"/>
              </a:rPr>
              <a:t>49</a:t>
            </a:r>
          </a:p>
        </p:txBody>
      </p:sp>
      <p:sp>
        <p:nvSpPr>
          <p:cNvPr id="4" name="Rectangle 3"/>
          <p:cNvSpPr>
            <a:spLocks noGrp="1" noRot="1" noChangeAspect="1" noChangeArrowheads="1" noTextEdit="1"/>
          </p:cNvSpPr>
          <p:nvPr>
            <p:ph type="sldImg"/>
          </p:nvPr>
        </p:nvSpPr>
        <p:spPr>
          <a:xfrm>
            <a:off x="381000" y="685800"/>
            <a:ext cx="6096000" cy="3429000"/>
          </a:xfrm>
          <a:ln/>
        </p:spPr>
      </p:sp>
      <p:sp>
        <p:nvSpPr>
          <p:cNvPr id="5" name="Rectangle 4"/>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275497028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20877913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p:cNvSpPr>
          <p:nvPr>
            <p:ph type="dt" idx="1"/>
          </p:nvPr>
        </p:nvSpPr>
        <p:spPr/>
        <p:txBody>
          <a:bodyPr/>
          <a:lstStyle/>
          <a:p>
            <a:pPr>
              <a:defRPr/>
            </a:pPr>
            <a:r>
              <a:rPr lang="en-GB"/>
              <a:t>24/07/2014</a:t>
            </a:r>
            <a:endParaRPr lang="en-GB" dirty="0"/>
          </a:p>
        </p:txBody>
      </p:sp>
      <p:sp>
        <p:nvSpPr>
          <p:cNvPr id="5" name="Rectangle 7"/>
          <p:cNvSpPr>
            <a:spLocks noGrp="1"/>
          </p:cNvSpPr>
          <p:nvPr>
            <p:ph type="sldNum" sz="quarter" idx="5"/>
          </p:nvPr>
        </p:nvSpPr>
        <p:spPr/>
        <p:txBody>
          <a:bodyPr/>
          <a:lstStyle/>
          <a:p>
            <a:pPr>
              <a:defRPr/>
            </a:pPr>
            <a:r>
              <a:rPr lang="en-GB"/>
              <a:t>‹#›</a:t>
            </a:r>
            <a:endParaRPr lang="en-GB" dirty="0"/>
          </a:p>
        </p:txBody>
      </p:sp>
    </p:spTree>
    <p:extLst>
      <p:ext uri="{BB962C8B-B14F-4D97-AF65-F5344CB8AC3E}">
        <p14:creationId xmlns:p14="http://schemas.microsoft.com/office/powerpoint/2010/main" val="1831303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dirty="0"/>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dirty="0"/>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mpany name appears here</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cSld>
  <p:clrMapOvr>
    <a:masterClrMapping/>
  </p:clrMapOvr>
  <p:transition/>
  <p:extLst mod="1">
    <p:ext uri="{DCECCB84-F9BA-43D5-87BE-67443E8EF086}">
      <p15:sldGuideLst xmlns:p15="http://schemas.microsoft.com/office/powerpoint/2012/main">
        <p15:guide id="1" pos="198"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Futura Medium" panose="020B0604020202020204"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nl-NL" noProof="1"/>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nl-NL" sz="850" noProof="1">
                <a:solidFill>
                  <a:schemeClr val="tx1"/>
                </a:solidFill>
                <a:latin typeface="+mn-lt"/>
                <a:cs typeface="Arial" pitchFamily="34" charset="0"/>
              </a:rPr>
              <a:t>Company name appears here</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nl-NL" noProof="1" smtClean="0"/>
              <a:pPr/>
              <a:t>‹#›</a:t>
            </a:fld>
            <a:endParaRPr lang="nl-NL"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nl-NL" noProof="1"/>
              <a:t>Footer </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dirty="0"/>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mpany name appears here</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mpany name appears here</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extLst>
      <p:ext uri="{BB962C8B-B14F-4D97-AF65-F5344CB8AC3E}">
        <p14:creationId xmlns:p14="http://schemas.microsoft.com/office/powerpoint/2010/main" val="4125937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dirty="0"/>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dirty="0"/>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mpany name appears here</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mpany name appears here</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dirty="0"/>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dirty="0"/>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mpany name appears here</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dirty="0"/>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dirty="0"/>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extLst>
      <p:ext uri="{BB962C8B-B14F-4D97-AF65-F5344CB8AC3E}">
        <p14:creationId xmlns:p14="http://schemas.microsoft.com/office/powerpoint/2010/main" val="2590869577"/>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cSld>
  <p:clrMapOvr>
    <a:masterClrMapping/>
  </p:clrMapOvr>
  <p:transition/>
  <p:extLst mod="1">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extLst>
      <p:ext uri="{BB962C8B-B14F-4D97-AF65-F5344CB8AC3E}">
        <p14:creationId xmlns:p14="http://schemas.microsoft.com/office/powerpoint/2010/main" val="19400578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tx1"/>
              </a:buClr>
              <a:buSzPct val="75000"/>
              <a:buFont typeface="Wingdings" pitchFamily="2" charset="2"/>
              <a:buChar char=""/>
              <a:defRPr sz="1400"/>
            </a:lvl3pPr>
            <a:lvl4pPr marL="532000" indent="-177800" defTabSz="357708">
              <a:lnSpc>
                <a:spcPct val="140000"/>
              </a:lnSpc>
              <a:spcBef>
                <a:spcPts val="0"/>
              </a:spcBef>
              <a:buClr>
                <a:schemeClr val="tx1"/>
              </a:buClr>
              <a:buSzPct val="75000"/>
              <a:buFont typeface="Wingdings" pitchFamily="2" charset="2"/>
              <a:buChar char=""/>
              <a:defRPr sz="1400"/>
            </a:lvl4pPr>
            <a:lvl5pPr marL="684400" indent="-1524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cSld>
  <p:clrMapOvr>
    <a:masterClrMapping/>
  </p:clrMapOvr>
  <p:transition/>
  <p:extLst mod="1">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354200" indent="-177800">
              <a:lnSpc>
                <a:spcPct val="140000"/>
              </a:lnSpc>
              <a:spcBef>
                <a:spcPts val="0"/>
              </a:spcBef>
              <a:spcAft>
                <a:spcPts val="0"/>
              </a:spcAft>
              <a:buClr>
                <a:schemeClr val="tx1"/>
              </a:buClr>
              <a:buFont typeface="Wingdings" pitchFamily="2" charset="2"/>
              <a:buChar char="n"/>
              <a:defRPr sz="1400"/>
            </a:lvl3pPr>
            <a:lvl4pPr marL="532000" indent="-177800">
              <a:lnSpc>
                <a:spcPct val="140000"/>
              </a:lnSpc>
              <a:spcBef>
                <a:spcPts val="0"/>
              </a:spcBef>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354200" indent="-177800">
              <a:lnSpc>
                <a:spcPct val="140000"/>
              </a:lnSpc>
              <a:spcAft>
                <a:spcPts val="0"/>
              </a:spcAft>
              <a:buClr>
                <a:schemeClr val="tx1"/>
              </a:buClr>
              <a:buFont typeface="Wingdings" pitchFamily="2" charset="2"/>
              <a:buChar char=""/>
              <a:defRPr sz="1400"/>
            </a:lvl3pPr>
            <a:lvl4pPr marL="532000" indent="-177800">
              <a:lnSpc>
                <a:spcPct val="140000"/>
              </a:lnSpc>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noProof="1"/>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mpany name appears here</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91" r:id="rId7"/>
    <p:sldLayoutId id="2147483667" r:id="rId8"/>
    <p:sldLayoutId id="2147483692" r:id="rId9"/>
    <p:sldLayoutId id="2147483694" r:id="rId10"/>
    <p:sldLayoutId id="2147483680" r:id="rId11"/>
    <p:sldLayoutId id="2147483697" r:id="rId12"/>
    <p:sldLayoutId id="2147483678" r:id="rId13"/>
    <p:sldLayoutId id="2147483700" r:id="rId14"/>
    <p:sldLayoutId id="2147483681" r:id="rId15"/>
    <p:sldLayoutId id="2147483682" r:id="rId16"/>
    <p:sldLayoutId id="2147483683" r:id="rId17"/>
    <p:sldLayoutId id="2147483689" r:id="rId18"/>
    <p:sldLayoutId id="2147483701" r:id="rId19"/>
    <p:sldLayoutId id="2147483690" r:id="rId20"/>
    <p:sldLayoutId id="2147483679" r:id="rId21"/>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963" userDrawn="1">
          <p15:clr>
            <a:srgbClr val="F26B43"/>
          </p15:clr>
        </p15:guide>
        <p15:guide id="6" orient="horz" pos="92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slideLayout" Target="../slideLayouts/slideLayout1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tags" Target="../tags/tag67.xml"/><Relationship Id="rId3" Type="http://schemas.openxmlformats.org/officeDocument/2006/relationships/tags" Target="../tags/tag44.xml"/><Relationship Id="rId21" Type="http://schemas.openxmlformats.org/officeDocument/2006/relationships/tags" Target="../tags/tag62.xml"/><Relationship Id="rId34" Type="http://schemas.openxmlformats.org/officeDocument/2006/relationships/notesSlide" Target="../notesSlides/notesSlide19.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33" Type="http://schemas.openxmlformats.org/officeDocument/2006/relationships/slideLayout" Target="../slideLayouts/slideLayout13.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tags" Target="../tags/tag70.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tags" Target="../tags/tag65.xml"/><Relationship Id="rId32" Type="http://schemas.openxmlformats.org/officeDocument/2006/relationships/tags" Target="../tags/tag73.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tags" Target="../tags/tag72.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9" Type="http://schemas.openxmlformats.org/officeDocument/2006/relationships/tags" Target="../tags/tag112.xml"/><Relationship Id="rId21" Type="http://schemas.openxmlformats.org/officeDocument/2006/relationships/tags" Target="../tags/tag94.xml"/><Relationship Id="rId34" Type="http://schemas.openxmlformats.org/officeDocument/2006/relationships/tags" Target="../tags/tag107.xml"/><Relationship Id="rId42" Type="http://schemas.openxmlformats.org/officeDocument/2006/relationships/tags" Target="../tags/tag115.xml"/><Relationship Id="rId47" Type="http://schemas.openxmlformats.org/officeDocument/2006/relationships/tags" Target="../tags/tag120.xml"/><Relationship Id="rId50" Type="http://schemas.openxmlformats.org/officeDocument/2006/relationships/tags" Target="../tags/tag123.xml"/><Relationship Id="rId55" Type="http://schemas.openxmlformats.org/officeDocument/2006/relationships/tags" Target="../tags/tag128.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46" Type="http://schemas.openxmlformats.org/officeDocument/2006/relationships/tags" Target="../tags/tag119.xml"/><Relationship Id="rId59" Type="http://schemas.openxmlformats.org/officeDocument/2006/relationships/slideLayout" Target="../slideLayouts/slideLayout13.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tags" Target="../tags/tag102.xml"/><Relationship Id="rId41" Type="http://schemas.openxmlformats.org/officeDocument/2006/relationships/tags" Target="../tags/tag114.xml"/><Relationship Id="rId54" Type="http://schemas.openxmlformats.org/officeDocument/2006/relationships/tags" Target="../tags/tag127.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tags" Target="../tags/tag105.xml"/><Relationship Id="rId37" Type="http://schemas.openxmlformats.org/officeDocument/2006/relationships/tags" Target="../tags/tag110.xml"/><Relationship Id="rId40" Type="http://schemas.openxmlformats.org/officeDocument/2006/relationships/tags" Target="../tags/tag113.xml"/><Relationship Id="rId45" Type="http://schemas.openxmlformats.org/officeDocument/2006/relationships/tags" Target="../tags/tag118.xml"/><Relationship Id="rId53" Type="http://schemas.openxmlformats.org/officeDocument/2006/relationships/tags" Target="../tags/tag126.xml"/><Relationship Id="rId58" Type="http://schemas.openxmlformats.org/officeDocument/2006/relationships/tags" Target="../tags/tag131.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49" Type="http://schemas.openxmlformats.org/officeDocument/2006/relationships/tags" Target="../tags/tag122.xml"/><Relationship Id="rId57" Type="http://schemas.openxmlformats.org/officeDocument/2006/relationships/tags" Target="../tags/tag130.xml"/><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4" Type="http://schemas.openxmlformats.org/officeDocument/2006/relationships/tags" Target="../tags/tag117.xml"/><Relationship Id="rId52" Type="http://schemas.openxmlformats.org/officeDocument/2006/relationships/tags" Target="../tags/tag125.xml"/><Relationship Id="rId60" Type="http://schemas.openxmlformats.org/officeDocument/2006/relationships/notesSlide" Target="../notesSlides/notesSlide20.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tags" Target="../tags/tag108.xml"/><Relationship Id="rId43" Type="http://schemas.openxmlformats.org/officeDocument/2006/relationships/tags" Target="../tags/tag116.xml"/><Relationship Id="rId48" Type="http://schemas.openxmlformats.org/officeDocument/2006/relationships/tags" Target="../tags/tag121.xml"/><Relationship Id="rId56" Type="http://schemas.openxmlformats.org/officeDocument/2006/relationships/tags" Target="../tags/tag129.xml"/><Relationship Id="rId8" Type="http://schemas.openxmlformats.org/officeDocument/2006/relationships/tags" Target="../tags/tag81.xml"/><Relationship Id="rId51" Type="http://schemas.openxmlformats.org/officeDocument/2006/relationships/tags" Target="../tags/tag124.xml"/><Relationship Id="rId3" Type="http://schemas.openxmlformats.org/officeDocument/2006/relationships/tags" Target="../tags/tag7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3.xml"/><Relationship Id="rId1" Type="http://schemas.openxmlformats.org/officeDocument/2006/relationships/tags" Target="../tags/tag13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3.xml"/><Relationship Id="rId1" Type="http://schemas.openxmlformats.org/officeDocument/2006/relationships/tags" Target="../tags/tag133.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3.xml"/><Relationship Id="rId1" Type="http://schemas.openxmlformats.org/officeDocument/2006/relationships/tags" Target="../tags/tag13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3.xml"/><Relationship Id="rId1" Type="http://schemas.openxmlformats.org/officeDocument/2006/relationships/tags" Target="../tags/tag1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3.xml"/><Relationship Id="rId1" Type="http://schemas.openxmlformats.org/officeDocument/2006/relationships/tags" Target="../tags/tag136.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3.xml"/><Relationship Id="rId1" Type="http://schemas.openxmlformats.org/officeDocument/2006/relationships/tags" Target="../tags/tag137.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3.xml"/><Relationship Id="rId1" Type="http://schemas.openxmlformats.org/officeDocument/2006/relationships/tags" Target="../tags/tag13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3.xml"/><Relationship Id="rId1" Type="http://schemas.openxmlformats.org/officeDocument/2006/relationships/tags" Target="../tags/tag139.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3.xml"/><Relationship Id="rId1" Type="http://schemas.openxmlformats.org/officeDocument/2006/relationships/tags" Target="../tags/tag140.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3.xml"/><Relationship Id="rId1" Type="http://schemas.openxmlformats.org/officeDocument/2006/relationships/tags" Target="../tags/tag14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notesSlide" Target="../notesSlides/notesSlide71.xml"/><Relationship Id="rId5" Type="http://schemas.openxmlformats.org/officeDocument/2006/relationships/tags" Target="../tags/tag146.xml"/><Relationship Id="rId10" Type="http://schemas.openxmlformats.org/officeDocument/2006/relationships/slideLayout" Target="../slideLayouts/slideLayout13.xml"/><Relationship Id="rId4" Type="http://schemas.openxmlformats.org/officeDocument/2006/relationships/tags" Target="../tags/tag145.xml"/><Relationship Id="rId9" Type="http://schemas.openxmlformats.org/officeDocument/2006/relationships/tags" Target="../tags/tag150.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1</a:t>
            </a:fld>
            <a:endParaRPr lang="en-GB" dirty="0"/>
          </a:p>
        </p:txBody>
      </p:sp>
      <p:grpSp>
        <p:nvGrpSpPr>
          <p:cNvPr id="4" name="Group 3"/>
          <p:cNvGrpSpPr/>
          <p:nvPr/>
        </p:nvGrpSpPr>
        <p:grpSpPr>
          <a:xfrm>
            <a:off x="508000" y="1528763"/>
            <a:ext cx="11171238" cy="4830762"/>
            <a:chOff x="2032000" y="1204996"/>
            <a:chExt cx="8128001" cy="4246844"/>
          </a:xfrm>
        </p:grpSpPr>
        <p:sp>
          <p:nvSpPr>
            <p:cNvPr id="19" name="TextBox 18"/>
            <p:cNvSpPr txBox="1"/>
            <p:nvPr/>
          </p:nvSpPr>
          <p:spPr>
            <a:xfrm>
              <a:off x="6184361" y="1524000"/>
              <a:ext cx="3975640" cy="3927840"/>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err="1">
                  <a:solidFill>
                    <a:schemeClr val="accent2"/>
                  </a:solidFill>
                  <a:latin typeface="+mj-lt"/>
                </a:rPr>
                <a:t>Lorem</a:t>
              </a:r>
              <a:r>
                <a:rPr lang="en-US" sz="1400" dirty="0">
                  <a:solidFill>
                    <a:schemeClr val="accent2"/>
                  </a:solidFill>
                  <a:latin typeface="+mj-lt"/>
                </a:rPr>
                <a:t> </a:t>
              </a:r>
              <a:r>
                <a:rPr lang="en-US" sz="1400" dirty="0" err="1">
                  <a:solidFill>
                    <a:schemeClr val="accent2"/>
                  </a:solidFill>
                  <a:latin typeface="+mj-lt"/>
                </a:rPr>
                <a:t>ipsum</a:t>
              </a:r>
              <a:endParaRPr lang="en-US" sz="1400" dirty="0">
                <a:solidFill>
                  <a:schemeClr val="accent2"/>
                </a:solidFill>
                <a:latin typeface="+mj-lt"/>
              </a:endParaRP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a:lnSpc>
                  <a:spcPct val="120000"/>
                </a:lnSpc>
                <a:spcAft>
                  <a:spcPts val="600"/>
                </a:spcAft>
                <a:buClr>
                  <a:schemeClr val="accent2"/>
                </a:buClr>
                <a:buSzPct val="75000"/>
              </a:pPr>
              <a:endParaRPr lang="en-US" sz="1400" dirty="0"/>
            </a:p>
          </p:txBody>
        </p:sp>
        <p:sp>
          <p:nvSpPr>
            <p:cNvPr id="20" name="TextBox 19"/>
            <p:cNvSpPr txBox="1"/>
            <p:nvPr/>
          </p:nvSpPr>
          <p:spPr>
            <a:xfrm>
              <a:off x="2032000" y="1522496"/>
              <a:ext cx="3979105" cy="3929344"/>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err="1">
                  <a:solidFill>
                    <a:schemeClr val="accent2"/>
                  </a:solidFill>
                  <a:latin typeface="+mj-lt"/>
                </a:rPr>
                <a:t>Lorem</a:t>
              </a:r>
              <a:r>
                <a:rPr lang="en-US" sz="1400" dirty="0">
                  <a:solidFill>
                    <a:schemeClr val="accent2"/>
                  </a:solidFill>
                  <a:latin typeface="+mj-lt"/>
                </a:rPr>
                <a:t> </a:t>
              </a:r>
              <a:r>
                <a:rPr lang="en-US" sz="1400" dirty="0" err="1">
                  <a:solidFill>
                    <a:schemeClr val="accent2"/>
                  </a:solidFill>
                  <a:latin typeface="+mj-lt"/>
                </a:rPr>
                <a:t>ipsum</a:t>
              </a:r>
              <a:endParaRPr lang="en-US" sz="1400" dirty="0">
                <a:solidFill>
                  <a:schemeClr val="accent2"/>
                </a:solidFill>
                <a:latin typeface="+mj-lt"/>
              </a:endParaRP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a:lnSpc>
                  <a:spcPct val="120000"/>
                </a:lnSpc>
                <a:spcAft>
                  <a:spcPts val="600"/>
                </a:spcAft>
                <a:buClr>
                  <a:schemeClr val="accent2"/>
                </a:buClr>
                <a:buSzPct val="75000"/>
              </a:pPr>
              <a:endParaRPr lang="en-US" sz="1400" dirty="0"/>
            </a:p>
          </p:txBody>
        </p:sp>
        <p:sp>
          <p:nvSpPr>
            <p:cNvPr id="5" name="TextBox 4"/>
            <p:cNvSpPr txBox="1"/>
            <p:nvPr/>
          </p:nvSpPr>
          <p:spPr>
            <a:xfrm>
              <a:off x="2032000" y="1204996"/>
              <a:ext cx="3979105" cy="317500"/>
            </a:xfrm>
            <a:prstGeom prst="rect">
              <a:avLst/>
            </a:prstGeom>
            <a:solidFill>
              <a:schemeClr val="accent1"/>
            </a:solidFill>
            <a:ln w="12700" cmpd="sng">
              <a:solidFill>
                <a:schemeClr val="accent1"/>
              </a:solidFill>
            </a:ln>
          </p:spPr>
          <p:txBody>
            <a:bodyPr wrap="none" lIns="101600" tIns="0" rIns="0" bIns="12700" rtlCol="0" anchor="ctr">
              <a:noAutofit/>
            </a:bodyPr>
            <a:lstStyle/>
            <a:p>
              <a:r>
                <a:rPr lang="en-US" sz="1400" dirty="0">
                  <a:latin typeface="+mj-lt"/>
                </a:rPr>
                <a:t>Title</a:t>
              </a:r>
            </a:p>
          </p:txBody>
        </p:sp>
        <p:sp>
          <p:nvSpPr>
            <p:cNvPr id="27" name="TextBox 26"/>
            <p:cNvSpPr txBox="1"/>
            <p:nvPr/>
          </p:nvSpPr>
          <p:spPr>
            <a:xfrm>
              <a:off x="6184359" y="1204996"/>
              <a:ext cx="3975641" cy="317500"/>
            </a:xfrm>
            <a:prstGeom prst="rect">
              <a:avLst/>
            </a:prstGeom>
            <a:solidFill>
              <a:schemeClr val="accent1"/>
            </a:solidFill>
            <a:ln w="12700" cmpd="sng">
              <a:solidFill>
                <a:schemeClr val="accent1"/>
              </a:solidFill>
            </a:ln>
          </p:spPr>
          <p:txBody>
            <a:bodyPr wrap="none" lIns="101600" tIns="0" rIns="0" bIns="12700" rtlCol="0" anchor="ctr">
              <a:noAutofit/>
            </a:bodyPr>
            <a:lstStyle/>
            <a:p>
              <a:r>
                <a:rPr lang="en-US" sz="1400" dirty="0">
                  <a:latin typeface="+mj-lt"/>
                </a:rPr>
                <a:t>Title</a:t>
              </a:r>
            </a:p>
          </p:txBody>
        </p:sp>
      </p:grpSp>
    </p:spTree>
    <p:extLst>
      <p:ext uri="{BB962C8B-B14F-4D97-AF65-F5344CB8AC3E}">
        <p14:creationId xmlns:p14="http://schemas.microsoft.com/office/powerpoint/2010/main" val="301785686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10</a:t>
            </a:fld>
            <a:endParaRPr lang="en-GB" dirty="0"/>
          </a:p>
        </p:txBody>
      </p:sp>
      <p:grpSp>
        <p:nvGrpSpPr>
          <p:cNvPr id="4" name="Group 3"/>
          <p:cNvGrpSpPr/>
          <p:nvPr/>
        </p:nvGrpSpPr>
        <p:grpSpPr>
          <a:xfrm>
            <a:off x="507999" y="1532467"/>
            <a:ext cx="11171741" cy="4827057"/>
            <a:chOff x="2032000" y="1204996"/>
            <a:chExt cx="8128000" cy="4246844"/>
          </a:xfrm>
        </p:grpSpPr>
        <p:sp>
          <p:nvSpPr>
            <p:cNvPr id="16" name="TextBox 15"/>
            <p:cNvSpPr txBox="1"/>
            <p:nvPr/>
          </p:nvSpPr>
          <p:spPr>
            <a:xfrm>
              <a:off x="2032000" y="1204996"/>
              <a:ext cx="3937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7" name="TextBox 16"/>
            <p:cNvSpPr txBox="1"/>
            <p:nvPr/>
          </p:nvSpPr>
          <p:spPr>
            <a:xfrm>
              <a:off x="6223000" y="1204996"/>
              <a:ext cx="3937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0" name="TextBox 19"/>
            <p:cNvSpPr txBox="1"/>
            <p:nvPr/>
          </p:nvSpPr>
          <p:spPr>
            <a:xfrm>
              <a:off x="2032000" y="1522496"/>
              <a:ext cx="3937000" cy="3929344"/>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endParaRPr lang="en-US" sz="1400" dirty="0"/>
            </a:p>
            <a:p>
              <a:pPr>
                <a:lnSpc>
                  <a:spcPct val="120000"/>
                </a:lnSpc>
                <a:spcAft>
                  <a:spcPts val="600"/>
                </a:spcAft>
                <a:buClr>
                  <a:schemeClr val="accent2"/>
                </a:buClr>
                <a:buSzPct val="75000"/>
              </a:pPr>
              <a:endParaRPr lang="en-US" sz="1400" dirty="0"/>
            </a:p>
          </p:txBody>
        </p:sp>
        <p:sp>
          <p:nvSpPr>
            <p:cNvPr id="14" name="TextBox 13"/>
            <p:cNvSpPr txBox="1"/>
            <p:nvPr/>
          </p:nvSpPr>
          <p:spPr>
            <a:xfrm>
              <a:off x="6223001" y="1524000"/>
              <a:ext cx="3934647" cy="3927840"/>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a:t>
              </a:r>
              <a:br>
                <a:rPr lang="en-US" sz="1400" dirty="0"/>
              </a:br>
              <a:r>
                <a:rPr lang="en-US" sz="1400" dirty="0"/>
                <a:t>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endParaRPr lang="en-US" sz="1400" dirty="0"/>
            </a:p>
            <a:p>
              <a:pPr>
                <a:lnSpc>
                  <a:spcPct val="120000"/>
                </a:lnSpc>
                <a:spcAft>
                  <a:spcPts val="600"/>
                </a:spcAft>
                <a:buClr>
                  <a:schemeClr val="accent2"/>
                </a:buClr>
                <a:buSzPct val="75000"/>
              </a:pPr>
              <a:endParaRPr lang="en-US" sz="1400" dirty="0"/>
            </a:p>
          </p:txBody>
        </p:sp>
        <p:cxnSp>
          <p:nvCxnSpPr>
            <p:cNvPr id="18" name="Straight Connector 17"/>
            <p:cNvCxnSpPr/>
            <p:nvPr/>
          </p:nvCxnSpPr>
          <p:spPr>
            <a:xfrm>
              <a:off x="6096000" y="1225371"/>
              <a:ext cx="0" cy="4127500"/>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8575551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11</a:t>
            </a:fld>
            <a:endParaRPr lang="en-GB" dirty="0"/>
          </a:p>
        </p:txBody>
      </p:sp>
      <p:grpSp>
        <p:nvGrpSpPr>
          <p:cNvPr id="4" name="Group 3"/>
          <p:cNvGrpSpPr/>
          <p:nvPr/>
        </p:nvGrpSpPr>
        <p:grpSpPr>
          <a:xfrm>
            <a:off x="504765" y="1528763"/>
            <a:ext cx="11171741" cy="4830762"/>
            <a:chOff x="2032000" y="1204996"/>
            <a:chExt cx="8128000" cy="4246844"/>
          </a:xfrm>
        </p:grpSpPr>
        <p:sp>
          <p:nvSpPr>
            <p:cNvPr id="19" name="TextBox 18"/>
            <p:cNvSpPr txBox="1"/>
            <p:nvPr/>
          </p:nvSpPr>
          <p:spPr>
            <a:xfrm>
              <a:off x="4826002" y="1524000"/>
              <a:ext cx="2540000" cy="3927840"/>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a:lnSpc>
                  <a:spcPct val="120000"/>
                </a:lnSpc>
                <a:spcAft>
                  <a:spcPts val="600"/>
                </a:spcAft>
                <a:buClr>
                  <a:schemeClr val="accent2"/>
                </a:buClr>
                <a:buSzPct val="75000"/>
              </a:pPr>
              <a:endParaRPr lang="en-US" sz="1400" dirty="0"/>
            </a:p>
          </p:txBody>
        </p:sp>
        <p:sp>
          <p:nvSpPr>
            <p:cNvPr id="20" name="TextBox 19"/>
            <p:cNvSpPr txBox="1"/>
            <p:nvPr/>
          </p:nvSpPr>
          <p:spPr>
            <a:xfrm>
              <a:off x="2032000" y="1522496"/>
              <a:ext cx="2540000" cy="3929344"/>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a:lnSpc>
                  <a:spcPct val="120000"/>
                </a:lnSpc>
                <a:spcAft>
                  <a:spcPts val="600"/>
                </a:spcAft>
                <a:buClr>
                  <a:schemeClr val="accent2"/>
                </a:buClr>
                <a:buSzPct val="75000"/>
              </a:pPr>
              <a:endParaRPr lang="en-US" sz="1400" dirty="0"/>
            </a:p>
          </p:txBody>
        </p:sp>
        <p:sp>
          <p:nvSpPr>
            <p:cNvPr id="11" name="TextBox 10"/>
            <p:cNvSpPr txBox="1"/>
            <p:nvPr/>
          </p:nvSpPr>
          <p:spPr>
            <a:xfrm>
              <a:off x="2032000" y="1204996"/>
              <a:ext cx="2540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2" name="TextBox 11"/>
            <p:cNvSpPr txBox="1"/>
            <p:nvPr/>
          </p:nvSpPr>
          <p:spPr>
            <a:xfrm>
              <a:off x="4826001" y="1204996"/>
              <a:ext cx="2540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3" name="TextBox 12"/>
            <p:cNvSpPr txBox="1"/>
            <p:nvPr/>
          </p:nvSpPr>
          <p:spPr>
            <a:xfrm>
              <a:off x="7620000" y="1204996"/>
              <a:ext cx="2540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4" name="TextBox 13"/>
            <p:cNvSpPr txBox="1"/>
            <p:nvPr/>
          </p:nvSpPr>
          <p:spPr>
            <a:xfrm>
              <a:off x="7617647" y="1524000"/>
              <a:ext cx="2540000" cy="3927840"/>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a:lnSpc>
                  <a:spcPct val="120000"/>
                </a:lnSpc>
                <a:spcAft>
                  <a:spcPts val="600"/>
                </a:spcAft>
                <a:buClr>
                  <a:schemeClr val="accent2"/>
                </a:buClr>
                <a:buSzPct val="75000"/>
              </a:pPr>
              <a:endParaRPr lang="en-US" sz="1400" dirty="0"/>
            </a:p>
          </p:txBody>
        </p:sp>
      </p:grpSp>
    </p:spTree>
    <p:extLst>
      <p:ext uri="{BB962C8B-B14F-4D97-AF65-F5344CB8AC3E}">
        <p14:creationId xmlns:p14="http://schemas.microsoft.com/office/powerpoint/2010/main" val="377706711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12</a:t>
            </a:fld>
            <a:endParaRPr lang="en-GB" dirty="0"/>
          </a:p>
        </p:txBody>
      </p:sp>
      <p:grpSp>
        <p:nvGrpSpPr>
          <p:cNvPr id="4" name="Group 3"/>
          <p:cNvGrpSpPr/>
          <p:nvPr/>
        </p:nvGrpSpPr>
        <p:grpSpPr>
          <a:xfrm>
            <a:off x="508000" y="1528762"/>
            <a:ext cx="11171238" cy="4747859"/>
            <a:chOff x="2032000" y="1204996"/>
            <a:chExt cx="8128000" cy="4246844"/>
          </a:xfrm>
        </p:grpSpPr>
        <p:sp>
          <p:nvSpPr>
            <p:cNvPr id="20" name="TextBox 19"/>
            <p:cNvSpPr txBox="1"/>
            <p:nvPr/>
          </p:nvSpPr>
          <p:spPr>
            <a:xfrm>
              <a:off x="2032000" y="1522496"/>
              <a:ext cx="1905000" cy="3929344"/>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a:lnSpc>
                  <a:spcPct val="120000"/>
                </a:lnSpc>
                <a:spcAft>
                  <a:spcPts val="600"/>
                </a:spcAft>
                <a:buClr>
                  <a:schemeClr val="accent2"/>
                </a:buClr>
                <a:buSzPct val="75000"/>
              </a:pPr>
              <a:endParaRPr lang="en-US" sz="1400" dirty="0"/>
            </a:p>
          </p:txBody>
        </p:sp>
        <p:sp>
          <p:nvSpPr>
            <p:cNvPr id="16" name="TextBox 15"/>
            <p:cNvSpPr txBox="1"/>
            <p:nvPr/>
          </p:nvSpPr>
          <p:spPr>
            <a:xfrm>
              <a:off x="2032000" y="1204996"/>
              <a:ext cx="1905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7" name="TextBox 16"/>
            <p:cNvSpPr txBox="1"/>
            <p:nvPr/>
          </p:nvSpPr>
          <p:spPr>
            <a:xfrm>
              <a:off x="4106333" y="1204996"/>
              <a:ext cx="1905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8" name="TextBox 17"/>
            <p:cNvSpPr txBox="1"/>
            <p:nvPr/>
          </p:nvSpPr>
          <p:spPr>
            <a:xfrm>
              <a:off x="6180666" y="1204996"/>
              <a:ext cx="1905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1" name="TextBox 20"/>
            <p:cNvSpPr txBox="1"/>
            <p:nvPr/>
          </p:nvSpPr>
          <p:spPr>
            <a:xfrm>
              <a:off x="8255000" y="1204996"/>
              <a:ext cx="1905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2" name="TextBox 21"/>
            <p:cNvSpPr txBox="1"/>
            <p:nvPr/>
          </p:nvSpPr>
          <p:spPr>
            <a:xfrm>
              <a:off x="4106333" y="1522496"/>
              <a:ext cx="1905000" cy="3929344"/>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a:lnSpc>
                  <a:spcPct val="120000"/>
                </a:lnSpc>
                <a:spcAft>
                  <a:spcPts val="600"/>
                </a:spcAft>
                <a:buClr>
                  <a:schemeClr val="accent2"/>
                </a:buClr>
                <a:buSzPct val="75000"/>
              </a:pPr>
              <a:endParaRPr lang="en-US" sz="1400" dirty="0"/>
            </a:p>
          </p:txBody>
        </p:sp>
        <p:sp>
          <p:nvSpPr>
            <p:cNvPr id="23" name="TextBox 22"/>
            <p:cNvSpPr txBox="1"/>
            <p:nvPr/>
          </p:nvSpPr>
          <p:spPr>
            <a:xfrm>
              <a:off x="6180666" y="1522496"/>
              <a:ext cx="1905000" cy="3929344"/>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a:lnSpc>
                  <a:spcPct val="120000"/>
                </a:lnSpc>
                <a:spcAft>
                  <a:spcPts val="600"/>
                </a:spcAft>
                <a:buClr>
                  <a:schemeClr val="accent2"/>
                </a:buClr>
                <a:buSzPct val="75000"/>
              </a:pPr>
              <a:endParaRPr lang="en-US" sz="1400" dirty="0"/>
            </a:p>
          </p:txBody>
        </p:sp>
        <p:sp>
          <p:nvSpPr>
            <p:cNvPr id="24" name="TextBox 23"/>
            <p:cNvSpPr txBox="1"/>
            <p:nvPr/>
          </p:nvSpPr>
          <p:spPr>
            <a:xfrm>
              <a:off x="8254999" y="1522496"/>
              <a:ext cx="1905000" cy="3929344"/>
            </a:xfrm>
            <a:prstGeom prst="rect">
              <a:avLst/>
            </a:prstGeom>
            <a:noFill/>
            <a:ln w="12700" cmpd="sng">
              <a:no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endParaRPr lang="en-US" sz="1400" dirty="0"/>
            </a:p>
            <a:p>
              <a:pPr>
                <a:lnSpc>
                  <a:spcPct val="120000"/>
                </a:lnSpc>
                <a:spcAft>
                  <a:spcPts val="600"/>
                </a:spcAft>
                <a:buClr>
                  <a:schemeClr val="accent2"/>
                </a:buClr>
                <a:buSzPct val="75000"/>
              </a:pPr>
              <a:endParaRPr lang="en-US" sz="1400" dirty="0"/>
            </a:p>
          </p:txBody>
        </p:sp>
        <p:cxnSp>
          <p:nvCxnSpPr>
            <p:cNvPr id="8" name="Straight Connector 7"/>
            <p:cNvCxnSpPr/>
            <p:nvPr/>
          </p:nvCxnSpPr>
          <p:spPr>
            <a:xfrm>
              <a:off x="4021666" y="1225371"/>
              <a:ext cx="0" cy="4127500"/>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170333" y="1225371"/>
              <a:ext cx="0" cy="4127500"/>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096000" y="1225371"/>
              <a:ext cx="0" cy="4127500"/>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740382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bliography</a:t>
            </a:r>
          </a:p>
        </p:txBody>
      </p:sp>
      <p:sp>
        <p:nvSpPr>
          <p:cNvPr id="4" name="Slide Number Placeholder 3"/>
          <p:cNvSpPr>
            <a:spLocks noGrp="1"/>
          </p:cNvSpPr>
          <p:nvPr>
            <p:ph type="sldNum" sz="quarter" idx="4"/>
          </p:nvPr>
        </p:nvSpPr>
        <p:spPr/>
        <p:txBody>
          <a:bodyPr/>
          <a:lstStyle/>
          <a:p>
            <a:fld id="{D32BAE6A-B452-4007-8177-56DD051636F9}" type="slidenum">
              <a:rPr lang="en-GB" smtClean="0"/>
              <a:pPr/>
              <a:t>13</a:t>
            </a:fld>
            <a:endParaRPr lang="en-GB" dirty="0"/>
          </a:p>
        </p:txBody>
      </p:sp>
      <p:sp>
        <p:nvSpPr>
          <p:cNvPr id="6" name="Rectangle 5"/>
          <p:cNvSpPr/>
          <p:nvPr/>
        </p:nvSpPr>
        <p:spPr>
          <a:xfrm>
            <a:off x="6215064" y="1551160"/>
            <a:ext cx="5467110" cy="608356"/>
          </a:xfrm>
          <a:prstGeom prst="rect">
            <a:avLst/>
          </a:prstGeom>
          <a:noFill/>
          <a:ln w="9525" cap="flat" cmpd="sng" algn="ctr">
            <a:noFill/>
            <a:prstDash val="solid"/>
          </a:ln>
          <a:effectLst/>
        </p:spPr>
        <p:txBody>
          <a:bodyPr lIns="0" tIns="101600" rIns="63500" rtlCol="0" anchor="t"/>
          <a:lstStyle/>
          <a:p>
            <a:pPr defTabSz="914400">
              <a:lnSpc>
                <a:spcPct val="130000"/>
              </a:lnSpc>
              <a:defRPr/>
            </a:pPr>
            <a:r>
              <a:rPr lang="en-US" sz="1400" kern="0" dirty="0">
                <a:solidFill>
                  <a:srgbClr val="535353"/>
                </a:solidFill>
                <a:latin typeface="+mj-lt"/>
                <a:cs typeface="Futura Bold"/>
              </a:rPr>
              <a:t>Name </a:t>
            </a:r>
            <a:br>
              <a:rPr lang="en-US" sz="1400" kern="0" dirty="0">
                <a:solidFill>
                  <a:srgbClr val="595959"/>
                </a:solidFill>
                <a:latin typeface="+mj-lt"/>
                <a:cs typeface="Futura Bold"/>
              </a:rPr>
            </a:br>
            <a:r>
              <a:rPr lang="en-US" sz="1400" kern="0" dirty="0">
                <a:solidFill>
                  <a:srgbClr val="535353"/>
                </a:solidFill>
                <a:latin typeface="+mj-lt"/>
                <a:cs typeface="Futura Bold"/>
              </a:rPr>
              <a:t>Title</a:t>
            </a:r>
          </a:p>
        </p:txBody>
      </p:sp>
      <p:sp>
        <p:nvSpPr>
          <p:cNvPr id="7" name="Rectangle 6"/>
          <p:cNvSpPr/>
          <p:nvPr/>
        </p:nvSpPr>
        <p:spPr>
          <a:xfrm>
            <a:off x="508000" y="1528763"/>
            <a:ext cx="5468938" cy="4830762"/>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p:nvCxnSpPr>
        <p:spPr>
          <a:xfrm>
            <a:off x="6215062" y="1526898"/>
            <a:ext cx="5464176" cy="0"/>
          </a:xfrm>
          <a:prstGeom prst="line">
            <a:avLst/>
          </a:prstGeom>
          <a:ln w="952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218159" y="6355299"/>
            <a:ext cx="5464176" cy="0"/>
          </a:xfrm>
          <a:prstGeom prst="line">
            <a:avLst/>
          </a:prstGeom>
          <a:ln w="952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215063" y="2539740"/>
            <a:ext cx="5464176" cy="1787995"/>
          </a:xfrm>
          <a:prstGeom prst="rect">
            <a:avLst/>
          </a:prstGeom>
          <a:noFill/>
          <a:ln w="9525" cap="flat" cmpd="sng" algn="ctr">
            <a:noFill/>
            <a:prstDash val="solid"/>
          </a:ln>
          <a:effectLst/>
        </p:spPr>
        <p:txBody>
          <a:bodyPr lIns="0" tIns="0" rIns="38100" rtlCol="0" anchor="t"/>
          <a:lstStyle/>
          <a:p>
            <a:pPr lvl="0">
              <a:lnSpc>
                <a:spcPct val="140000"/>
              </a:lnSpc>
              <a:defRPr/>
            </a:pPr>
            <a:r>
              <a:rPr lang="en-US" sz="1400" kern="0" dirty="0">
                <a:solidFill>
                  <a:srgbClr val="535353"/>
                </a:solidFill>
                <a:cs typeface="Futura Medium"/>
              </a:rPr>
              <a:t>Lorem ipsum dolor sit amet, sit lectus nullam, dui amet porttitor iaculis nulla condimentum, eu libero accumsan. Velit non pellentesque donec diam, ut lorem congue amet ut gravida, lacinia vulputate velit fusce in quam maecenas. Magna ut sagittis. Ut in, egestas luctus rhoncus metus. Massa interdum suspendisse sed et, lacus dignissim mauris non sodales, vehicula aliquam. Iaculis etiam tortor dolor</a:t>
            </a:r>
            <a:endParaRPr lang="en-US" sz="1200" kern="0" dirty="0">
              <a:solidFill>
                <a:srgbClr val="535353"/>
              </a:solidFill>
              <a:latin typeface="Futura Bold"/>
              <a:cs typeface="Futura Bold"/>
            </a:endParaRPr>
          </a:p>
        </p:txBody>
      </p:sp>
    </p:spTree>
    <p:extLst>
      <p:ext uri="{BB962C8B-B14F-4D97-AF65-F5344CB8AC3E}">
        <p14:creationId xmlns:p14="http://schemas.microsoft.com/office/powerpoint/2010/main" val="319211280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bliography</a:t>
            </a:r>
          </a:p>
        </p:txBody>
      </p:sp>
      <p:sp>
        <p:nvSpPr>
          <p:cNvPr id="4" name="Slide Number Placeholder 3"/>
          <p:cNvSpPr>
            <a:spLocks noGrp="1"/>
          </p:cNvSpPr>
          <p:nvPr>
            <p:ph type="sldNum" sz="quarter" idx="4"/>
          </p:nvPr>
        </p:nvSpPr>
        <p:spPr/>
        <p:txBody>
          <a:bodyPr/>
          <a:lstStyle/>
          <a:p>
            <a:fld id="{D32BAE6A-B452-4007-8177-56DD051636F9}" type="slidenum">
              <a:rPr lang="en-GB" smtClean="0"/>
              <a:pPr/>
              <a:t>14</a:t>
            </a:fld>
            <a:endParaRPr lang="en-GB" dirty="0"/>
          </a:p>
        </p:txBody>
      </p:sp>
      <p:sp>
        <p:nvSpPr>
          <p:cNvPr id="7" name="Rectangle 6"/>
          <p:cNvSpPr/>
          <p:nvPr/>
        </p:nvSpPr>
        <p:spPr>
          <a:xfrm>
            <a:off x="508000" y="1528763"/>
            <a:ext cx="3491169" cy="2519615"/>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4348285" y="1528763"/>
            <a:ext cx="3491169" cy="2519615"/>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8188570" y="1528763"/>
            <a:ext cx="3491169" cy="2519615"/>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508001" y="4106392"/>
            <a:ext cx="3491169" cy="487313"/>
          </a:xfrm>
          <a:prstGeom prst="rect">
            <a:avLst/>
          </a:prstGeom>
          <a:noFill/>
          <a:ln w="9525" cap="flat" cmpd="sng" algn="ctr">
            <a:noFill/>
            <a:prstDash val="solid"/>
          </a:ln>
          <a:effectLst/>
        </p:spPr>
        <p:txBody>
          <a:bodyPr lIns="0" tIns="101600" rIns="63500" rtlCol="0" anchor="t"/>
          <a:lstStyle/>
          <a:p>
            <a:pPr defTabSz="914400">
              <a:lnSpc>
                <a:spcPct val="130000"/>
              </a:lnSpc>
              <a:defRPr/>
            </a:pPr>
            <a:r>
              <a:rPr lang="en-US" sz="1400" kern="0" dirty="0">
                <a:solidFill>
                  <a:srgbClr val="535353"/>
                </a:solidFill>
                <a:latin typeface="+mj-lt"/>
                <a:cs typeface="Futura Bold"/>
              </a:rPr>
              <a:t>Name </a:t>
            </a:r>
            <a:br>
              <a:rPr lang="en-US" sz="1400" kern="0" dirty="0">
                <a:solidFill>
                  <a:srgbClr val="595959"/>
                </a:solidFill>
                <a:latin typeface="+mj-lt"/>
                <a:cs typeface="Futura Bold"/>
              </a:rPr>
            </a:br>
            <a:r>
              <a:rPr lang="en-US" sz="1400" kern="0" dirty="0">
                <a:solidFill>
                  <a:srgbClr val="535353"/>
                </a:solidFill>
                <a:latin typeface="+mj-lt"/>
                <a:cs typeface="Futura Bold"/>
              </a:rPr>
              <a:t>Title</a:t>
            </a:r>
          </a:p>
        </p:txBody>
      </p:sp>
      <p:sp>
        <p:nvSpPr>
          <p:cNvPr id="10" name="Rectangle 9"/>
          <p:cNvSpPr/>
          <p:nvPr/>
        </p:nvSpPr>
        <p:spPr>
          <a:xfrm>
            <a:off x="508001" y="4927284"/>
            <a:ext cx="3491167" cy="1432241"/>
          </a:xfrm>
          <a:prstGeom prst="rect">
            <a:avLst/>
          </a:prstGeom>
          <a:noFill/>
          <a:ln w="9525" cap="flat" cmpd="sng" algn="ctr">
            <a:noFill/>
            <a:prstDash val="solid"/>
          </a:ln>
          <a:effectLst/>
        </p:spPr>
        <p:txBody>
          <a:bodyPr lIns="0" tIns="0" rIns="38100" rtlCol="0" anchor="t"/>
          <a:lstStyle/>
          <a:p>
            <a:pPr lvl="0">
              <a:lnSpc>
                <a:spcPct val="140000"/>
              </a:lnSpc>
              <a:defRPr/>
            </a:pPr>
            <a:r>
              <a:rPr lang="en-US" sz="1400" kern="0" dirty="0">
                <a:solidFill>
                  <a:srgbClr val="535353"/>
                </a:solidFill>
                <a:cs typeface="Futura Medium"/>
              </a:rPr>
              <a:t>Lorem ipsum dolor sit amet, sit lectus nullam, dui amet porttitor iaculis nulla condimentum, eu libero accumsan. Velit non</a:t>
            </a:r>
            <a:endParaRPr lang="en-US" sz="1200" kern="0" dirty="0">
              <a:solidFill>
                <a:srgbClr val="535353"/>
              </a:solidFill>
              <a:latin typeface="Futura Bold"/>
              <a:cs typeface="Futura Bold"/>
            </a:endParaRPr>
          </a:p>
        </p:txBody>
      </p:sp>
      <p:sp>
        <p:nvSpPr>
          <p:cNvPr id="17" name="Rectangle 16"/>
          <p:cNvSpPr/>
          <p:nvPr/>
        </p:nvSpPr>
        <p:spPr>
          <a:xfrm>
            <a:off x="4348288" y="4106392"/>
            <a:ext cx="3491169" cy="487313"/>
          </a:xfrm>
          <a:prstGeom prst="rect">
            <a:avLst/>
          </a:prstGeom>
          <a:noFill/>
          <a:ln w="9525" cap="flat" cmpd="sng" algn="ctr">
            <a:noFill/>
            <a:prstDash val="solid"/>
          </a:ln>
          <a:effectLst/>
        </p:spPr>
        <p:txBody>
          <a:bodyPr lIns="0" tIns="101600" rIns="63500" rtlCol="0" anchor="t"/>
          <a:lstStyle/>
          <a:p>
            <a:pPr defTabSz="914400">
              <a:lnSpc>
                <a:spcPct val="130000"/>
              </a:lnSpc>
              <a:defRPr/>
            </a:pPr>
            <a:r>
              <a:rPr lang="en-US" sz="1400" kern="0" dirty="0">
                <a:solidFill>
                  <a:srgbClr val="535353"/>
                </a:solidFill>
                <a:latin typeface="+mj-lt"/>
                <a:cs typeface="Futura Bold"/>
              </a:rPr>
              <a:t>Name </a:t>
            </a:r>
            <a:br>
              <a:rPr lang="en-US" sz="1400" kern="0" dirty="0">
                <a:solidFill>
                  <a:srgbClr val="595959"/>
                </a:solidFill>
                <a:latin typeface="+mj-lt"/>
                <a:cs typeface="Futura Bold"/>
              </a:rPr>
            </a:br>
            <a:r>
              <a:rPr lang="en-US" sz="1400" kern="0" dirty="0">
                <a:solidFill>
                  <a:srgbClr val="535353"/>
                </a:solidFill>
                <a:latin typeface="+mj-lt"/>
                <a:cs typeface="Futura Bold"/>
              </a:rPr>
              <a:t>Title</a:t>
            </a:r>
          </a:p>
        </p:txBody>
      </p:sp>
      <p:sp>
        <p:nvSpPr>
          <p:cNvPr id="19" name="Rectangle 18"/>
          <p:cNvSpPr/>
          <p:nvPr/>
        </p:nvSpPr>
        <p:spPr>
          <a:xfrm>
            <a:off x="4348288" y="4927284"/>
            <a:ext cx="3491167" cy="1432241"/>
          </a:xfrm>
          <a:prstGeom prst="rect">
            <a:avLst/>
          </a:prstGeom>
          <a:noFill/>
          <a:ln w="9525" cap="flat" cmpd="sng" algn="ctr">
            <a:noFill/>
            <a:prstDash val="solid"/>
          </a:ln>
          <a:effectLst/>
        </p:spPr>
        <p:txBody>
          <a:bodyPr lIns="0" tIns="0" rIns="38100" rtlCol="0" anchor="t"/>
          <a:lstStyle/>
          <a:p>
            <a:pPr lvl="0">
              <a:lnSpc>
                <a:spcPct val="140000"/>
              </a:lnSpc>
              <a:defRPr/>
            </a:pPr>
            <a:r>
              <a:rPr lang="en-US" sz="1400" kern="0" dirty="0">
                <a:solidFill>
                  <a:srgbClr val="535353"/>
                </a:solidFill>
                <a:cs typeface="Futura Medium"/>
              </a:rPr>
              <a:t>Lorem ipsum dolor sit amet, sit lectus nullam, dui amet porttitor iaculis nulla condimentum, eu libero accumsan. Velit non</a:t>
            </a:r>
            <a:endParaRPr lang="en-US" sz="1200" kern="0" dirty="0">
              <a:solidFill>
                <a:srgbClr val="535353"/>
              </a:solidFill>
              <a:latin typeface="Futura Bold"/>
              <a:cs typeface="Futura Bold"/>
            </a:endParaRPr>
          </a:p>
        </p:txBody>
      </p:sp>
      <p:sp>
        <p:nvSpPr>
          <p:cNvPr id="20" name="Rectangle 19"/>
          <p:cNvSpPr/>
          <p:nvPr/>
        </p:nvSpPr>
        <p:spPr>
          <a:xfrm>
            <a:off x="8188572" y="4106392"/>
            <a:ext cx="3491169" cy="487313"/>
          </a:xfrm>
          <a:prstGeom prst="rect">
            <a:avLst/>
          </a:prstGeom>
          <a:noFill/>
          <a:ln w="9525" cap="flat" cmpd="sng" algn="ctr">
            <a:noFill/>
            <a:prstDash val="solid"/>
          </a:ln>
          <a:effectLst/>
        </p:spPr>
        <p:txBody>
          <a:bodyPr lIns="0" tIns="101600" rIns="63500" rtlCol="0" anchor="t"/>
          <a:lstStyle/>
          <a:p>
            <a:pPr defTabSz="914400">
              <a:lnSpc>
                <a:spcPct val="130000"/>
              </a:lnSpc>
              <a:defRPr/>
            </a:pPr>
            <a:r>
              <a:rPr lang="en-US" sz="1400" kern="0" dirty="0">
                <a:solidFill>
                  <a:srgbClr val="535353"/>
                </a:solidFill>
                <a:latin typeface="+mj-lt"/>
                <a:cs typeface="Futura Bold"/>
              </a:rPr>
              <a:t>Name </a:t>
            </a:r>
            <a:br>
              <a:rPr lang="en-US" sz="1400" kern="0" dirty="0">
                <a:solidFill>
                  <a:srgbClr val="595959"/>
                </a:solidFill>
                <a:latin typeface="+mj-lt"/>
                <a:cs typeface="Futura Bold"/>
              </a:rPr>
            </a:br>
            <a:r>
              <a:rPr lang="en-US" sz="1400" kern="0" dirty="0">
                <a:solidFill>
                  <a:srgbClr val="535353"/>
                </a:solidFill>
                <a:latin typeface="+mj-lt"/>
                <a:cs typeface="Futura Bold"/>
              </a:rPr>
              <a:t>Title</a:t>
            </a:r>
          </a:p>
        </p:txBody>
      </p:sp>
      <p:sp>
        <p:nvSpPr>
          <p:cNvPr id="22" name="Rectangle 21"/>
          <p:cNvSpPr/>
          <p:nvPr/>
        </p:nvSpPr>
        <p:spPr>
          <a:xfrm>
            <a:off x="8188572" y="4927284"/>
            <a:ext cx="3491167" cy="1432241"/>
          </a:xfrm>
          <a:prstGeom prst="rect">
            <a:avLst/>
          </a:prstGeom>
          <a:noFill/>
          <a:ln w="9525" cap="flat" cmpd="sng" algn="ctr">
            <a:noFill/>
            <a:prstDash val="solid"/>
          </a:ln>
          <a:effectLst/>
        </p:spPr>
        <p:txBody>
          <a:bodyPr lIns="0" tIns="0" rIns="38100" rtlCol="0" anchor="t"/>
          <a:lstStyle/>
          <a:p>
            <a:pPr lvl="0">
              <a:lnSpc>
                <a:spcPct val="140000"/>
              </a:lnSpc>
              <a:defRPr/>
            </a:pPr>
            <a:r>
              <a:rPr lang="en-US" sz="1400" kern="0" dirty="0">
                <a:solidFill>
                  <a:srgbClr val="535353"/>
                </a:solidFill>
                <a:cs typeface="Futura Medium"/>
              </a:rPr>
              <a:t>Lorem ipsum dolor sit amet, sit lectus nullam, dui amet porttitor iaculis nulla condimentum, eu libero accumsan. Velit non</a:t>
            </a:r>
            <a:endParaRPr lang="en-US" sz="1200" kern="0" dirty="0">
              <a:solidFill>
                <a:srgbClr val="535353"/>
              </a:solidFill>
              <a:latin typeface="Futura Bold"/>
              <a:cs typeface="Futura Bold"/>
            </a:endParaRPr>
          </a:p>
        </p:txBody>
      </p:sp>
    </p:spTree>
    <p:extLst>
      <p:ext uri="{BB962C8B-B14F-4D97-AF65-F5344CB8AC3E}">
        <p14:creationId xmlns:p14="http://schemas.microsoft.com/office/powerpoint/2010/main" val="161989824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15</a:t>
            </a:fld>
            <a:endParaRPr lang="en-GB" dirty="0"/>
          </a:p>
        </p:txBody>
      </p:sp>
      <p:grpSp>
        <p:nvGrpSpPr>
          <p:cNvPr id="5" name="Group 4"/>
          <p:cNvGrpSpPr/>
          <p:nvPr/>
        </p:nvGrpSpPr>
        <p:grpSpPr>
          <a:xfrm>
            <a:off x="507999" y="1528763"/>
            <a:ext cx="11171741" cy="4940436"/>
            <a:chOff x="2032000" y="1563843"/>
            <a:chExt cx="8167688" cy="4129565"/>
          </a:xfrm>
        </p:grpSpPr>
        <p:cxnSp>
          <p:nvCxnSpPr>
            <p:cNvPr id="6" name="Straight Arrow Connector 5"/>
            <p:cNvCxnSpPr/>
            <p:nvPr/>
          </p:nvCxnSpPr>
          <p:spPr>
            <a:xfrm>
              <a:off x="4277225" y="2477943"/>
              <a:ext cx="641144" cy="0"/>
            </a:xfrm>
            <a:prstGeom prst="straightConnector1">
              <a:avLst/>
            </a:prstGeom>
            <a:ln>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7313319" y="2477943"/>
              <a:ext cx="641144" cy="0"/>
            </a:xfrm>
            <a:prstGeom prst="straightConnector1">
              <a:avLst/>
            </a:prstGeom>
            <a:ln>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1" name="Freeform 8"/>
            <p:cNvSpPr>
              <a:spLocks/>
            </p:cNvSpPr>
            <p:nvPr/>
          </p:nvSpPr>
          <p:spPr bwMode="auto">
            <a:xfrm>
              <a:off x="4450953" y="4582507"/>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p:cNvSpPr>
            <p:nvPr/>
          </p:nvSpPr>
          <p:spPr bwMode="auto">
            <a:xfrm>
              <a:off x="7487047" y="4582507"/>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1" name="Group 10"/>
            <p:cNvGrpSpPr/>
            <p:nvPr/>
          </p:nvGrpSpPr>
          <p:grpSpPr>
            <a:xfrm>
              <a:off x="2032000" y="1563843"/>
              <a:ext cx="2095500" cy="1852233"/>
              <a:chOff x="508000" y="1563842"/>
              <a:chExt cx="2095500" cy="1852233"/>
            </a:xfrm>
          </p:grpSpPr>
          <p:sp>
            <p:nvSpPr>
              <p:cNvPr id="14" name="Rectangle 13"/>
              <p:cNvSpPr/>
              <p:nvPr/>
            </p:nvSpPr>
            <p:spPr>
              <a:xfrm>
                <a:off x="508000"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15" name="Rectangle 14"/>
              <p:cNvSpPr/>
              <p:nvPr/>
            </p:nvSpPr>
            <p:spPr>
              <a:xfrm>
                <a:off x="508000"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200" kern="0" dirty="0">
                    <a:solidFill>
                      <a:srgbClr val="535353"/>
                    </a:solidFill>
                    <a:latin typeface="Futura Bold"/>
                    <a:cs typeface="Futura Bold"/>
                  </a:rPr>
                  <a:t>Title</a:t>
                </a:r>
              </a:p>
            </p:txBody>
          </p:sp>
        </p:grpSp>
        <p:grpSp>
          <p:nvGrpSpPr>
            <p:cNvPr id="8" name="Group 7"/>
            <p:cNvGrpSpPr/>
            <p:nvPr/>
          </p:nvGrpSpPr>
          <p:grpSpPr>
            <a:xfrm>
              <a:off x="5068094" y="1563843"/>
              <a:ext cx="2095500" cy="1852233"/>
              <a:chOff x="3603378" y="1563842"/>
              <a:chExt cx="2095500" cy="1852233"/>
            </a:xfrm>
          </p:grpSpPr>
          <p:sp>
            <p:nvSpPr>
              <p:cNvPr id="19" name="Rectangle 18"/>
              <p:cNvSpPr/>
              <p:nvPr/>
            </p:nvSpPr>
            <p:spPr>
              <a:xfrm>
                <a:off x="3603378"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0" name="Rectangle 19"/>
              <p:cNvSpPr/>
              <p:nvPr/>
            </p:nvSpPr>
            <p:spPr>
              <a:xfrm>
                <a:off x="3603378"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200" kern="0" dirty="0">
                    <a:solidFill>
                      <a:srgbClr val="535353"/>
                    </a:solidFill>
                    <a:latin typeface="Futura Bold"/>
                    <a:cs typeface="Futura Bold"/>
                  </a:rPr>
                  <a:t>Title</a:t>
                </a:r>
              </a:p>
            </p:txBody>
          </p:sp>
        </p:grpSp>
        <p:grpSp>
          <p:nvGrpSpPr>
            <p:cNvPr id="4" name="Group 3"/>
            <p:cNvGrpSpPr/>
            <p:nvPr/>
          </p:nvGrpSpPr>
          <p:grpSpPr>
            <a:xfrm>
              <a:off x="8104188" y="1563843"/>
              <a:ext cx="2095500" cy="1852233"/>
              <a:chOff x="6580188" y="1563842"/>
              <a:chExt cx="2095500" cy="1852233"/>
            </a:xfrm>
          </p:grpSpPr>
          <p:sp>
            <p:nvSpPr>
              <p:cNvPr id="23" name="Rectangle 22"/>
              <p:cNvSpPr/>
              <p:nvPr/>
            </p:nvSpPr>
            <p:spPr>
              <a:xfrm>
                <a:off x="6580188"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a:t>
                </a:r>
                <a:r>
                  <a:rPr lang="en-US" sz="1400" b="1" kern="0" dirty="0">
                    <a:solidFill>
                      <a:schemeClr val="accent2"/>
                    </a:solidFill>
                    <a:cs typeface="Futura Medium"/>
                  </a:rPr>
                  <a:t>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4" name="Rectangle 23"/>
              <p:cNvSpPr/>
              <p:nvPr/>
            </p:nvSpPr>
            <p:spPr>
              <a:xfrm>
                <a:off x="6580188"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200" kern="0" dirty="0">
                    <a:solidFill>
                      <a:srgbClr val="535353"/>
                    </a:solidFill>
                    <a:latin typeface="Futura Bold"/>
                    <a:cs typeface="Futura Bold"/>
                  </a:rPr>
                  <a:t>Title</a:t>
                </a:r>
              </a:p>
            </p:txBody>
          </p:sp>
        </p:grpSp>
        <p:grpSp>
          <p:nvGrpSpPr>
            <p:cNvPr id="25" name="Group 24"/>
            <p:cNvGrpSpPr/>
            <p:nvPr/>
          </p:nvGrpSpPr>
          <p:grpSpPr>
            <a:xfrm>
              <a:off x="2032000" y="3841175"/>
              <a:ext cx="2095500" cy="1852233"/>
              <a:chOff x="508000" y="1563842"/>
              <a:chExt cx="2095500" cy="1852233"/>
            </a:xfrm>
          </p:grpSpPr>
          <p:sp>
            <p:nvSpPr>
              <p:cNvPr id="26" name="Rectangle 25"/>
              <p:cNvSpPr/>
              <p:nvPr/>
            </p:nvSpPr>
            <p:spPr>
              <a:xfrm>
                <a:off x="508000"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a:t>
                </a:r>
                <a:r>
                  <a:rPr lang="en-US" sz="1400" b="1" kern="0" dirty="0">
                    <a:solidFill>
                      <a:schemeClr val="accent2"/>
                    </a:solidFill>
                    <a:cs typeface="Futura Medium"/>
                  </a:rPr>
                  <a:t>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7" name="Rectangle 26"/>
              <p:cNvSpPr/>
              <p:nvPr/>
            </p:nvSpPr>
            <p:spPr>
              <a:xfrm>
                <a:off x="508000"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200" kern="0" dirty="0">
                    <a:solidFill>
                      <a:srgbClr val="535353"/>
                    </a:solidFill>
                    <a:latin typeface="Futura Bold"/>
                    <a:cs typeface="Futura Bold"/>
                  </a:rPr>
                  <a:t>Title</a:t>
                </a:r>
              </a:p>
            </p:txBody>
          </p:sp>
        </p:grpSp>
        <p:grpSp>
          <p:nvGrpSpPr>
            <p:cNvPr id="28" name="Group 27"/>
            <p:cNvGrpSpPr/>
            <p:nvPr/>
          </p:nvGrpSpPr>
          <p:grpSpPr>
            <a:xfrm>
              <a:off x="5068094" y="3841175"/>
              <a:ext cx="2095500" cy="1852233"/>
              <a:chOff x="3603378" y="1563842"/>
              <a:chExt cx="2095500" cy="1852233"/>
            </a:xfrm>
          </p:grpSpPr>
          <p:sp>
            <p:nvSpPr>
              <p:cNvPr id="29" name="Rectangle 28"/>
              <p:cNvSpPr/>
              <p:nvPr/>
            </p:nvSpPr>
            <p:spPr>
              <a:xfrm>
                <a:off x="3603378"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30" name="Rectangle 29"/>
              <p:cNvSpPr/>
              <p:nvPr/>
            </p:nvSpPr>
            <p:spPr>
              <a:xfrm>
                <a:off x="3603378"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200" kern="0" dirty="0">
                    <a:solidFill>
                      <a:srgbClr val="535353"/>
                    </a:solidFill>
                    <a:latin typeface="Futura Bold"/>
                    <a:cs typeface="Futura Bold"/>
                  </a:rPr>
                  <a:t>Title</a:t>
                </a:r>
              </a:p>
            </p:txBody>
          </p:sp>
        </p:grpSp>
        <p:grpSp>
          <p:nvGrpSpPr>
            <p:cNvPr id="31" name="Group 30"/>
            <p:cNvGrpSpPr/>
            <p:nvPr/>
          </p:nvGrpSpPr>
          <p:grpSpPr>
            <a:xfrm>
              <a:off x="8104188" y="3841175"/>
              <a:ext cx="2095500" cy="1852233"/>
              <a:chOff x="6580188" y="1563842"/>
              <a:chExt cx="2095500" cy="1852233"/>
            </a:xfrm>
          </p:grpSpPr>
          <p:sp>
            <p:nvSpPr>
              <p:cNvPr id="32" name="Rectangle 31"/>
              <p:cNvSpPr/>
              <p:nvPr/>
            </p:nvSpPr>
            <p:spPr>
              <a:xfrm>
                <a:off x="6580188"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a:t>
                </a:r>
                <a:r>
                  <a:rPr lang="en-US" sz="1400" b="1" kern="0" dirty="0">
                    <a:solidFill>
                      <a:schemeClr val="accent2"/>
                    </a:solidFill>
                    <a:cs typeface="Futura Medium"/>
                  </a:rPr>
                  <a:t>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33" name="Rectangle 32"/>
              <p:cNvSpPr/>
              <p:nvPr/>
            </p:nvSpPr>
            <p:spPr>
              <a:xfrm>
                <a:off x="6580188"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200" kern="0" dirty="0">
                    <a:solidFill>
                      <a:srgbClr val="535353"/>
                    </a:solidFill>
                    <a:latin typeface="Futura Bold"/>
                    <a:cs typeface="Futura Bold"/>
                  </a:rPr>
                  <a:t>Title</a:t>
                </a:r>
              </a:p>
            </p:txBody>
          </p:sp>
        </p:grpSp>
      </p:grpSp>
    </p:spTree>
    <p:extLst>
      <p:ext uri="{BB962C8B-B14F-4D97-AF65-F5344CB8AC3E}">
        <p14:creationId xmlns:p14="http://schemas.microsoft.com/office/powerpoint/2010/main" val="384310705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16</a:t>
            </a:fld>
            <a:endParaRPr lang="en-GB" dirty="0"/>
          </a:p>
        </p:txBody>
      </p:sp>
      <p:grpSp>
        <p:nvGrpSpPr>
          <p:cNvPr id="4" name="Group 3"/>
          <p:cNvGrpSpPr/>
          <p:nvPr/>
        </p:nvGrpSpPr>
        <p:grpSpPr>
          <a:xfrm>
            <a:off x="507999" y="1528763"/>
            <a:ext cx="11171741" cy="4830762"/>
            <a:chOff x="2032000" y="1563842"/>
            <a:chExt cx="8167688" cy="4129565"/>
          </a:xfrm>
        </p:grpSpPr>
        <p:cxnSp>
          <p:nvCxnSpPr>
            <p:cNvPr id="6" name="Straight Arrow Connector 5"/>
            <p:cNvCxnSpPr/>
            <p:nvPr/>
          </p:nvCxnSpPr>
          <p:spPr>
            <a:xfrm>
              <a:off x="4277225" y="2477943"/>
              <a:ext cx="641144" cy="0"/>
            </a:xfrm>
            <a:prstGeom prst="straightConnector1">
              <a:avLst/>
            </a:prstGeom>
            <a:ln>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7313319" y="2477943"/>
              <a:ext cx="641144" cy="0"/>
            </a:xfrm>
            <a:prstGeom prst="straightConnector1">
              <a:avLst/>
            </a:prstGeom>
            <a:ln>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1" name="Freeform 8"/>
            <p:cNvSpPr>
              <a:spLocks/>
            </p:cNvSpPr>
            <p:nvPr/>
          </p:nvSpPr>
          <p:spPr bwMode="auto">
            <a:xfrm>
              <a:off x="4450953" y="4582507"/>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p:cNvSpPr>
            <p:nvPr/>
          </p:nvSpPr>
          <p:spPr bwMode="auto">
            <a:xfrm>
              <a:off x="7487047" y="4582507"/>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Rectangle 13"/>
            <p:cNvSpPr/>
            <p:nvPr/>
          </p:nvSpPr>
          <p:spPr>
            <a:xfrm>
              <a:off x="2032000"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15" name="Rectangle 14"/>
            <p:cNvSpPr/>
            <p:nvPr/>
          </p:nvSpPr>
          <p:spPr>
            <a:xfrm>
              <a:off x="2032000"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19" name="Rectangle 18"/>
            <p:cNvSpPr/>
            <p:nvPr/>
          </p:nvSpPr>
          <p:spPr>
            <a:xfrm>
              <a:off x="5068094"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a:t>
              </a:r>
              <a:r>
                <a:rPr lang="en-US" sz="1400" b="1" kern="0" dirty="0">
                  <a:solidFill>
                    <a:schemeClr val="accent2"/>
                  </a:solidFill>
                  <a:cs typeface="Futura Medium"/>
                </a:rPr>
                <a:t>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0" name="Rectangle 19"/>
            <p:cNvSpPr/>
            <p:nvPr/>
          </p:nvSpPr>
          <p:spPr>
            <a:xfrm>
              <a:off x="5068094"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23" name="Rectangle 22"/>
            <p:cNvSpPr/>
            <p:nvPr/>
          </p:nvSpPr>
          <p:spPr>
            <a:xfrm>
              <a:off x="8104188"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4" name="Rectangle 23"/>
            <p:cNvSpPr/>
            <p:nvPr/>
          </p:nvSpPr>
          <p:spPr>
            <a:xfrm>
              <a:off x="8104188"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26" name="Rectangle 25"/>
            <p:cNvSpPr/>
            <p:nvPr/>
          </p:nvSpPr>
          <p:spPr>
            <a:xfrm>
              <a:off x="2032000" y="4299911"/>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7" name="Rectangle 26"/>
            <p:cNvSpPr/>
            <p:nvPr/>
          </p:nvSpPr>
          <p:spPr>
            <a:xfrm>
              <a:off x="2032000" y="3841174"/>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29" name="Rectangle 28"/>
            <p:cNvSpPr/>
            <p:nvPr/>
          </p:nvSpPr>
          <p:spPr>
            <a:xfrm>
              <a:off x="5068094" y="4299911"/>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a:t>
              </a:r>
              <a:r>
                <a:rPr lang="en-US" sz="1400" b="1" kern="0" dirty="0">
                  <a:solidFill>
                    <a:schemeClr val="accent2"/>
                  </a:solidFill>
                  <a:cs typeface="Futura Medium"/>
                </a:rPr>
                <a:t>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30" name="Rectangle 29"/>
            <p:cNvSpPr/>
            <p:nvPr/>
          </p:nvSpPr>
          <p:spPr>
            <a:xfrm>
              <a:off x="5068094" y="3841174"/>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32" name="Rectangle 31"/>
            <p:cNvSpPr/>
            <p:nvPr/>
          </p:nvSpPr>
          <p:spPr>
            <a:xfrm>
              <a:off x="8104188" y="4299911"/>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33" name="Rectangle 32"/>
            <p:cNvSpPr/>
            <p:nvPr/>
          </p:nvSpPr>
          <p:spPr>
            <a:xfrm>
              <a:off x="8104188" y="3841174"/>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grpSp>
    </p:spTree>
    <p:extLst>
      <p:ext uri="{BB962C8B-B14F-4D97-AF65-F5344CB8AC3E}">
        <p14:creationId xmlns:p14="http://schemas.microsoft.com/office/powerpoint/2010/main" val="330943847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17</a:t>
            </a:fld>
            <a:endParaRPr lang="en-GB" dirty="0"/>
          </a:p>
        </p:txBody>
      </p:sp>
      <p:grpSp>
        <p:nvGrpSpPr>
          <p:cNvPr id="4" name="Group 3"/>
          <p:cNvGrpSpPr/>
          <p:nvPr/>
        </p:nvGrpSpPr>
        <p:grpSpPr>
          <a:xfrm>
            <a:off x="507999" y="1528763"/>
            <a:ext cx="11171741" cy="4830761"/>
            <a:chOff x="2032000" y="1563842"/>
            <a:chExt cx="8167688" cy="4297501"/>
          </a:xfrm>
        </p:grpSpPr>
        <p:sp>
          <p:nvSpPr>
            <p:cNvPr id="14" name="Rectangle 13"/>
            <p:cNvSpPr/>
            <p:nvPr/>
          </p:nvSpPr>
          <p:spPr>
            <a:xfrm>
              <a:off x="2032000"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15" name="Rectangle 14"/>
            <p:cNvSpPr/>
            <p:nvPr/>
          </p:nvSpPr>
          <p:spPr>
            <a:xfrm>
              <a:off x="2032000"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19" name="Rectangle 18"/>
            <p:cNvSpPr/>
            <p:nvPr/>
          </p:nvSpPr>
          <p:spPr>
            <a:xfrm>
              <a:off x="5068094"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0" name="Rectangle 19"/>
            <p:cNvSpPr/>
            <p:nvPr/>
          </p:nvSpPr>
          <p:spPr>
            <a:xfrm>
              <a:off x="5068094"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23" name="Rectangle 22"/>
            <p:cNvSpPr/>
            <p:nvPr/>
          </p:nvSpPr>
          <p:spPr>
            <a:xfrm>
              <a:off x="8104188" y="2022579"/>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4" name="Rectangle 23"/>
            <p:cNvSpPr/>
            <p:nvPr/>
          </p:nvSpPr>
          <p:spPr>
            <a:xfrm>
              <a:off x="8104188" y="1563842"/>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26" name="Rectangle 25"/>
            <p:cNvSpPr/>
            <p:nvPr/>
          </p:nvSpPr>
          <p:spPr>
            <a:xfrm>
              <a:off x="2032000" y="4467847"/>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a:t>
              </a:r>
              <a:r>
                <a:rPr lang="en-US" sz="1400" b="1" kern="0" dirty="0">
                  <a:solidFill>
                    <a:schemeClr val="accent2"/>
                  </a:solidFill>
                  <a:cs typeface="Futura Medium"/>
                </a:rPr>
                <a:t>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27" name="Rectangle 26"/>
            <p:cNvSpPr/>
            <p:nvPr/>
          </p:nvSpPr>
          <p:spPr>
            <a:xfrm>
              <a:off x="2032000" y="4009110"/>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29" name="Rectangle 28"/>
            <p:cNvSpPr/>
            <p:nvPr/>
          </p:nvSpPr>
          <p:spPr>
            <a:xfrm>
              <a:off x="5068094" y="4467847"/>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30" name="Rectangle 29"/>
            <p:cNvSpPr/>
            <p:nvPr/>
          </p:nvSpPr>
          <p:spPr>
            <a:xfrm>
              <a:off x="5068094" y="4009110"/>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sp>
          <p:nvSpPr>
            <p:cNvPr id="32" name="Rectangle 31"/>
            <p:cNvSpPr/>
            <p:nvPr/>
          </p:nvSpPr>
          <p:spPr>
            <a:xfrm>
              <a:off x="8104188" y="4467847"/>
              <a:ext cx="2095500" cy="1393496"/>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kern="0" dirty="0">
                  <a:solidFill>
                    <a:schemeClr val="accent2"/>
                  </a:solidFill>
                  <a:latin typeface="+mj-lt"/>
                  <a:cs typeface="Futura Medium"/>
                </a:rPr>
                <a:t>mattis leo semper</a:t>
              </a:r>
              <a:r>
                <a:rPr lang="en-US" sz="1400" b="1" kern="0" dirty="0">
                  <a:solidFill>
                    <a:schemeClr val="accent2"/>
                  </a:solidFill>
                  <a:cs typeface="Futura Medium"/>
                </a:rPr>
                <a:t>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latin typeface="Futura Medium"/>
                <a:cs typeface="Futura Medium"/>
              </a:endParaRPr>
            </a:p>
            <a:p>
              <a:pPr defTabSz="914400">
                <a:lnSpc>
                  <a:spcPct val="140000"/>
                </a:lnSpc>
                <a:defRPr/>
              </a:pPr>
              <a:endParaRPr lang="en-US" sz="1200" kern="0" dirty="0">
                <a:solidFill>
                  <a:srgbClr val="595959"/>
                </a:solidFill>
                <a:latin typeface="Futura Bold"/>
                <a:cs typeface="Futura Bold"/>
              </a:endParaRPr>
            </a:p>
          </p:txBody>
        </p:sp>
        <p:sp>
          <p:nvSpPr>
            <p:cNvPr id="33" name="Rectangle 32"/>
            <p:cNvSpPr/>
            <p:nvPr/>
          </p:nvSpPr>
          <p:spPr>
            <a:xfrm>
              <a:off x="8104188" y="4009110"/>
              <a:ext cx="2095500" cy="474130"/>
            </a:xfrm>
            <a:prstGeom prst="rect">
              <a:avLst/>
            </a:prstGeom>
            <a:solidFill>
              <a:schemeClr val="accent1"/>
            </a:solidFill>
            <a:ln w="9525" cap="flat" cmpd="sng" algn="ctr">
              <a:solidFill>
                <a:srgbClr val="FBCE07"/>
              </a:solidFill>
              <a:prstDash val="solid"/>
            </a:ln>
            <a:effectLst/>
          </p:spPr>
          <p:txBody>
            <a:bodyPr lIns="127000" rIns="63500" rtlCol="0" anchor="ctr"/>
            <a:lstStyle/>
            <a:p>
              <a:pPr defTabSz="914400">
                <a:defRPr/>
              </a:pPr>
              <a:r>
                <a:rPr lang="en-US" sz="1400" kern="0" dirty="0">
                  <a:latin typeface="+mj-lt"/>
                  <a:cs typeface="Futura Bold"/>
                </a:rPr>
                <a:t>Title</a:t>
              </a:r>
            </a:p>
          </p:txBody>
        </p:sp>
        <p:grpSp>
          <p:nvGrpSpPr>
            <p:cNvPr id="64" name="Group 63"/>
            <p:cNvGrpSpPr/>
            <p:nvPr/>
          </p:nvGrpSpPr>
          <p:grpSpPr>
            <a:xfrm>
              <a:off x="3077300" y="3502025"/>
              <a:ext cx="6079401" cy="450362"/>
              <a:chOff x="1553299" y="3502025"/>
              <a:chExt cx="6079401" cy="450362"/>
            </a:xfrm>
          </p:grpSpPr>
          <p:cxnSp>
            <p:nvCxnSpPr>
              <p:cNvPr id="8" name="Straight Connector 7"/>
              <p:cNvCxnSpPr/>
              <p:nvPr/>
            </p:nvCxnSpPr>
            <p:spPr>
              <a:xfrm>
                <a:off x="1553299" y="3715679"/>
                <a:ext cx="0" cy="236708"/>
              </a:xfrm>
              <a:prstGeom prst="line">
                <a:avLst/>
              </a:prstGeom>
              <a:ln>
                <a:solidFill>
                  <a:srgbClr val="BFBFB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7630058" y="3502025"/>
                <a:ext cx="2642" cy="224151"/>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553299" y="3715679"/>
                <a:ext cx="6076759" cy="10497"/>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4171799" y="2477943"/>
              <a:ext cx="851996" cy="2452566"/>
              <a:chOff x="2603500" y="2477943"/>
              <a:chExt cx="940594" cy="2452566"/>
            </a:xfrm>
          </p:grpSpPr>
          <p:cxnSp>
            <p:nvCxnSpPr>
              <p:cNvPr id="6" name="Straight Arrow Connector 5"/>
              <p:cNvCxnSpPr/>
              <p:nvPr/>
            </p:nvCxnSpPr>
            <p:spPr>
              <a:xfrm>
                <a:off x="2603500" y="2477943"/>
                <a:ext cx="940594" cy="0"/>
              </a:xfrm>
              <a:prstGeom prst="straightConnector1">
                <a:avLst/>
              </a:prstGeom>
              <a:ln>
                <a:solidFill>
                  <a:srgbClr val="BFBFB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2603500" y="4930509"/>
                <a:ext cx="940594" cy="0"/>
              </a:xfrm>
              <a:prstGeom prst="straightConnector1">
                <a:avLst/>
              </a:prstGeom>
              <a:ln>
                <a:solidFill>
                  <a:srgbClr val="BFBFBF"/>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7207893" y="2477943"/>
              <a:ext cx="851996" cy="2452566"/>
              <a:chOff x="5639594" y="2477943"/>
              <a:chExt cx="940594" cy="2452566"/>
            </a:xfrm>
          </p:grpSpPr>
          <p:cxnSp>
            <p:nvCxnSpPr>
              <p:cNvPr id="10" name="Straight Arrow Connector 9"/>
              <p:cNvCxnSpPr/>
              <p:nvPr/>
            </p:nvCxnSpPr>
            <p:spPr>
              <a:xfrm>
                <a:off x="5639594" y="2477943"/>
                <a:ext cx="940594" cy="0"/>
              </a:xfrm>
              <a:prstGeom prst="straightConnector1">
                <a:avLst/>
              </a:prstGeom>
              <a:ln>
                <a:solidFill>
                  <a:srgbClr val="BFBFB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5639594" y="4930509"/>
                <a:ext cx="940594" cy="0"/>
              </a:xfrm>
              <a:prstGeom prst="straightConnector1">
                <a:avLst/>
              </a:prstGeom>
              <a:ln>
                <a:solidFill>
                  <a:srgbClr val="BFBFBF"/>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8772160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frame</a:t>
            </a:r>
          </a:p>
        </p:txBody>
      </p:sp>
      <p:sp>
        <p:nvSpPr>
          <p:cNvPr id="3" name="Slide Number Placeholder 2"/>
          <p:cNvSpPr>
            <a:spLocks noGrp="1"/>
          </p:cNvSpPr>
          <p:nvPr>
            <p:ph type="sldNum" sz="quarter" idx="4"/>
          </p:nvPr>
        </p:nvSpPr>
        <p:spPr/>
        <p:txBody>
          <a:bodyPr/>
          <a:lstStyle/>
          <a:p>
            <a:fld id="{D32BAE6A-B452-4007-8177-56DD051636F9}" type="slidenum">
              <a:rPr lang="en-GB" smtClean="0"/>
              <a:pPr/>
              <a:t>18</a:t>
            </a:fld>
            <a:endParaRPr lang="en-GB" dirty="0"/>
          </a:p>
        </p:txBody>
      </p:sp>
      <p:grpSp>
        <p:nvGrpSpPr>
          <p:cNvPr id="4" name="Group 3"/>
          <p:cNvGrpSpPr/>
          <p:nvPr/>
        </p:nvGrpSpPr>
        <p:grpSpPr>
          <a:xfrm>
            <a:off x="508000" y="1528763"/>
            <a:ext cx="11171741" cy="4830762"/>
            <a:chOff x="2006156" y="1183004"/>
            <a:chExt cx="8220831" cy="4830592"/>
          </a:xfrm>
        </p:grpSpPr>
        <p:sp>
          <p:nvSpPr>
            <p:cNvPr id="9" name="Rectangle 34"/>
            <p:cNvSpPr>
              <a:spLocks noChangeArrowheads="1"/>
            </p:cNvSpPr>
            <p:nvPr>
              <p:custDataLst>
                <p:tags r:id="rId1"/>
              </p:custDataLst>
            </p:nvPr>
          </p:nvSpPr>
          <p:spPr bwMode="gray">
            <a:xfrm>
              <a:off x="7189593" y="1845513"/>
              <a:ext cx="759348" cy="4157969"/>
            </a:xfrm>
            <a:prstGeom prst="rect">
              <a:avLst/>
            </a:prstGeom>
            <a:solidFill>
              <a:srgbClr val="F2F2F2"/>
            </a:solidFill>
            <a:ln w="9525" algn="ctr">
              <a:noFill/>
              <a:miter lim="800000"/>
              <a:headEnd/>
              <a:tailEnd/>
            </a:ln>
            <a:effectLst/>
          </p:spPr>
          <p:txBody>
            <a:bodyPr lIns="90000" tIns="46800" rIns="90000" bIns="46800" anchor="ctr"/>
            <a:lstStyle/>
            <a:p>
              <a:endParaRPr lang="en-US" sz="1200" cap="all">
                <a:solidFill>
                  <a:srgbClr val="595959"/>
                </a:solidFill>
              </a:endParaRPr>
            </a:p>
          </p:txBody>
        </p:sp>
        <p:sp>
          <p:nvSpPr>
            <p:cNvPr id="10" name="Rectangle 34"/>
            <p:cNvSpPr>
              <a:spLocks noChangeArrowheads="1"/>
            </p:cNvSpPr>
            <p:nvPr>
              <p:custDataLst>
                <p:tags r:id="rId2"/>
              </p:custDataLst>
            </p:nvPr>
          </p:nvSpPr>
          <p:spPr bwMode="gray">
            <a:xfrm>
              <a:off x="8708289" y="1830988"/>
              <a:ext cx="763047" cy="4172493"/>
            </a:xfrm>
            <a:prstGeom prst="rect">
              <a:avLst/>
            </a:prstGeom>
            <a:solidFill>
              <a:srgbClr val="F2F2F2"/>
            </a:solidFill>
            <a:ln w="9525" algn="ctr">
              <a:noFill/>
              <a:miter lim="800000"/>
              <a:headEnd/>
              <a:tailEnd/>
            </a:ln>
            <a:effectLst/>
          </p:spPr>
          <p:txBody>
            <a:bodyPr lIns="90000" tIns="46800" rIns="90000" bIns="46800" anchor="ctr"/>
            <a:lstStyle/>
            <a:p>
              <a:endParaRPr lang="en-US" sz="1200" cap="all">
                <a:solidFill>
                  <a:srgbClr val="595959"/>
                </a:solidFill>
              </a:endParaRPr>
            </a:p>
          </p:txBody>
        </p:sp>
        <p:sp>
          <p:nvSpPr>
            <p:cNvPr id="11" name="Rectangle 34"/>
            <p:cNvSpPr>
              <a:spLocks noChangeArrowheads="1"/>
            </p:cNvSpPr>
            <p:nvPr>
              <p:custDataLst>
                <p:tags r:id="rId3"/>
              </p:custDataLst>
            </p:nvPr>
          </p:nvSpPr>
          <p:spPr bwMode="gray">
            <a:xfrm>
              <a:off x="5670898" y="1830989"/>
              <a:ext cx="759347" cy="4179205"/>
            </a:xfrm>
            <a:prstGeom prst="rect">
              <a:avLst/>
            </a:prstGeom>
            <a:solidFill>
              <a:srgbClr val="F2F2F2"/>
            </a:solidFill>
            <a:ln w="9525" algn="ctr">
              <a:noFill/>
              <a:miter lim="800000"/>
              <a:headEnd/>
              <a:tailEnd/>
            </a:ln>
            <a:effectLst/>
          </p:spPr>
          <p:txBody>
            <a:bodyPr lIns="90000" tIns="46800" rIns="90000" bIns="46800" anchor="ctr"/>
            <a:lstStyle/>
            <a:p>
              <a:endParaRPr lang="en-US" sz="1200" cap="all">
                <a:solidFill>
                  <a:srgbClr val="595959"/>
                </a:solidFill>
              </a:endParaRPr>
            </a:p>
          </p:txBody>
        </p:sp>
        <p:sp>
          <p:nvSpPr>
            <p:cNvPr id="15" name="Rectangle 34"/>
            <p:cNvSpPr>
              <a:spLocks noChangeArrowheads="1"/>
            </p:cNvSpPr>
            <p:nvPr>
              <p:custDataLst>
                <p:tags r:id="rId4"/>
              </p:custDataLst>
            </p:nvPr>
          </p:nvSpPr>
          <p:spPr bwMode="gray">
            <a:xfrm>
              <a:off x="4169637" y="1830989"/>
              <a:ext cx="741913" cy="4182607"/>
            </a:xfrm>
            <a:prstGeom prst="rect">
              <a:avLst/>
            </a:prstGeom>
            <a:solidFill>
              <a:srgbClr val="F2F2F2"/>
            </a:solidFill>
            <a:ln w="9525" algn="ctr">
              <a:noFill/>
              <a:miter lim="800000"/>
              <a:headEnd/>
              <a:tailEnd/>
            </a:ln>
            <a:effectLst/>
          </p:spPr>
          <p:txBody>
            <a:bodyPr lIns="90000" tIns="46800" rIns="90000" bIns="46800" anchor="ctr"/>
            <a:lstStyle/>
            <a:p>
              <a:endParaRPr lang="en-US" sz="1200" cap="all">
                <a:solidFill>
                  <a:srgbClr val="595959"/>
                </a:solidFill>
              </a:endParaRPr>
            </a:p>
          </p:txBody>
        </p:sp>
        <p:sp>
          <p:nvSpPr>
            <p:cNvPr id="16" name="Rectangle 56"/>
            <p:cNvSpPr>
              <a:spLocks noChangeArrowheads="1"/>
            </p:cNvSpPr>
            <p:nvPr>
              <p:custDataLst>
                <p:tags r:id="rId5"/>
              </p:custDataLst>
            </p:nvPr>
          </p:nvSpPr>
          <p:spPr bwMode="gray">
            <a:xfrm>
              <a:off x="2006156" y="1544790"/>
              <a:ext cx="2259076" cy="292806"/>
            </a:xfrm>
            <a:prstGeom prst="rect">
              <a:avLst/>
            </a:prstGeom>
            <a:noFill/>
            <a:ln w="9525" algn="ctr">
              <a:solidFill>
                <a:schemeClr val="bg1"/>
              </a:solidFill>
              <a:miter lim="800000"/>
              <a:headEnd/>
              <a:tailEnd/>
            </a:ln>
            <a:effectLst/>
          </p:spPr>
          <p:txBody>
            <a:bodyPr lIns="101600" tIns="46800" rIns="90000" bIns="46800" anchor="ctr" anchorCtr="0"/>
            <a:lstStyle/>
            <a:p>
              <a:r>
                <a:rPr lang="en-US" sz="1200" dirty="0"/>
                <a:t>Activities/Phases</a:t>
              </a:r>
            </a:p>
          </p:txBody>
        </p:sp>
        <p:sp>
          <p:nvSpPr>
            <p:cNvPr id="17" name="Rectangle 44"/>
            <p:cNvSpPr>
              <a:spLocks noChangeArrowheads="1"/>
            </p:cNvSpPr>
            <p:nvPr>
              <p:custDataLst>
                <p:tags r:id="rId6"/>
              </p:custDataLst>
            </p:nvPr>
          </p:nvSpPr>
          <p:spPr bwMode="gray">
            <a:xfrm>
              <a:off x="2006156" y="1837596"/>
              <a:ext cx="2163480" cy="291198"/>
            </a:xfrm>
            <a:prstGeom prst="rect">
              <a:avLst/>
            </a:prstGeom>
            <a:noFill/>
            <a:ln w="9525" algn="ctr">
              <a:noFill/>
              <a:miter lim="800000"/>
              <a:headEnd/>
              <a:tailEnd/>
            </a:ln>
            <a:effectLst/>
          </p:spPr>
          <p:txBody>
            <a:bodyPr lIns="101600" tIns="46800" rIns="90000" bIns="46800" anchor="ctr"/>
            <a:lstStyle/>
            <a:p>
              <a:r>
                <a:rPr lang="en-US" sz="1200" dirty="0">
                  <a:solidFill>
                    <a:schemeClr val="accent2"/>
                  </a:solidFill>
                  <a:latin typeface="+mj-lt"/>
                </a:rPr>
                <a:t>Category</a:t>
              </a:r>
              <a:r>
                <a:rPr lang="en-US" sz="1200" b="1" dirty="0">
                  <a:solidFill>
                    <a:schemeClr val="accent2"/>
                  </a:solidFill>
                </a:rPr>
                <a:t> </a:t>
              </a:r>
            </a:p>
          </p:txBody>
        </p:sp>
        <p:sp>
          <p:nvSpPr>
            <p:cNvPr id="18" name="Rectangle 46"/>
            <p:cNvSpPr>
              <a:spLocks noChangeArrowheads="1"/>
            </p:cNvSpPr>
            <p:nvPr>
              <p:custDataLst>
                <p:tags r:id="rId7"/>
              </p:custDataLst>
            </p:nvPr>
          </p:nvSpPr>
          <p:spPr bwMode="gray">
            <a:xfrm>
              <a:off x="2006157" y="2119374"/>
              <a:ext cx="2149743" cy="291198"/>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20" name="Rectangle 49"/>
            <p:cNvSpPr>
              <a:spLocks noChangeArrowheads="1"/>
            </p:cNvSpPr>
            <p:nvPr>
              <p:custDataLst>
                <p:tags r:id="rId8"/>
              </p:custDataLst>
            </p:nvPr>
          </p:nvSpPr>
          <p:spPr bwMode="gray">
            <a:xfrm>
              <a:off x="2006157" y="2744684"/>
              <a:ext cx="2163480" cy="291198"/>
            </a:xfrm>
            <a:prstGeom prst="rect">
              <a:avLst/>
            </a:prstGeom>
            <a:noFill/>
            <a:ln w="9525" algn="ctr">
              <a:noFill/>
              <a:miter lim="800000"/>
              <a:headEnd/>
              <a:tailEnd/>
            </a:ln>
            <a:effectLst/>
          </p:spPr>
          <p:txBody>
            <a:bodyPr lIns="101600" tIns="46800" rIns="90000" bIns="46800" anchor="ctr"/>
            <a:lstStyle/>
            <a:p>
              <a:r>
                <a:rPr lang="en-US" sz="1200" b="1" dirty="0">
                  <a:solidFill>
                    <a:schemeClr val="accent2"/>
                  </a:solidFill>
                  <a:latin typeface="+mj-lt"/>
                </a:rPr>
                <a:t>Category </a:t>
              </a:r>
            </a:p>
          </p:txBody>
        </p:sp>
        <p:sp>
          <p:nvSpPr>
            <p:cNvPr id="22" name="Rectangle 51"/>
            <p:cNvSpPr>
              <a:spLocks noChangeArrowheads="1"/>
            </p:cNvSpPr>
            <p:nvPr>
              <p:custDataLst>
                <p:tags r:id="rId9"/>
              </p:custDataLst>
            </p:nvPr>
          </p:nvSpPr>
          <p:spPr bwMode="gray">
            <a:xfrm>
              <a:off x="2006157" y="3072012"/>
              <a:ext cx="2149743" cy="291198"/>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p>
          </p:txBody>
        </p:sp>
        <p:sp>
          <p:nvSpPr>
            <p:cNvPr id="23" name="Rectangle 52"/>
            <p:cNvSpPr>
              <a:spLocks noChangeArrowheads="1"/>
            </p:cNvSpPr>
            <p:nvPr>
              <p:custDataLst>
                <p:tags r:id="rId10"/>
              </p:custDataLst>
            </p:nvPr>
          </p:nvSpPr>
          <p:spPr bwMode="gray">
            <a:xfrm>
              <a:off x="2006157" y="3473187"/>
              <a:ext cx="2149743" cy="291197"/>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p>
          </p:txBody>
        </p:sp>
        <p:sp>
          <p:nvSpPr>
            <p:cNvPr id="24" name="Rectangle 54"/>
            <p:cNvSpPr>
              <a:spLocks noChangeArrowheads="1"/>
            </p:cNvSpPr>
            <p:nvPr>
              <p:custDataLst>
                <p:tags r:id="rId11"/>
              </p:custDataLst>
            </p:nvPr>
          </p:nvSpPr>
          <p:spPr bwMode="gray">
            <a:xfrm>
              <a:off x="2006156" y="5298717"/>
              <a:ext cx="2163480" cy="291198"/>
            </a:xfrm>
            <a:prstGeom prst="rect">
              <a:avLst/>
            </a:prstGeom>
            <a:noFill/>
            <a:ln w="9525" algn="ctr">
              <a:noFill/>
              <a:miter lim="800000"/>
              <a:headEnd/>
              <a:tailEnd/>
            </a:ln>
            <a:effectLst/>
          </p:spPr>
          <p:txBody>
            <a:bodyPr lIns="101600" tIns="46800" rIns="90000" bIns="46800" anchor="ctr"/>
            <a:lstStyle/>
            <a:p>
              <a:r>
                <a:rPr lang="en-US" sz="1200" dirty="0">
                  <a:solidFill>
                    <a:schemeClr val="accent2"/>
                  </a:solidFill>
                  <a:latin typeface="+mj-lt"/>
                </a:rPr>
                <a:t>Category</a:t>
              </a:r>
              <a:r>
                <a:rPr lang="en-US" sz="1200" b="1" dirty="0">
                  <a:solidFill>
                    <a:schemeClr val="accent2"/>
                  </a:solidFill>
                </a:rPr>
                <a:t> </a:t>
              </a:r>
            </a:p>
          </p:txBody>
        </p:sp>
        <p:sp>
          <p:nvSpPr>
            <p:cNvPr id="25" name="Rechteck 154"/>
            <p:cNvSpPr/>
            <p:nvPr>
              <p:custDataLst>
                <p:tags r:id="rId12"/>
              </p:custDataLst>
            </p:nvPr>
          </p:nvSpPr>
          <p:spPr bwMode="gray">
            <a:xfrm>
              <a:off x="2008004" y="2749593"/>
              <a:ext cx="8218983" cy="1887600"/>
            </a:xfrm>
            <a:prstGeom prst="rect">
              <a:avLst/>
            </a:prstGeom>
            <a:noFill/>
            <a:ln w="6350" cap="flat" cmpd="sng" algn="ctr">
              <a:solidFill>
                <a:srgbClr val="DEDEDE"/>
              </a:solidFill>
              <a:prstDash val="solid"/>
              <a:round/>
              <a:headEnd type="none" w="med" len="med"/>
              <a:tailEnd type="none" w="med" len="med"/>
            </a:ln>
            <a:effectLst/>
          </p:spPr>
          <p:txBody>
            <a:bodyPr vert="horz" wrap="none" lIns="90000" tIns="72000" rIns="90000" bIns="72000" numCol="1" rtlCol="0" anchor="ctr" anchorCtr="0" compatLnSpc="1">
              <a:prstTxWarp prst="textNoShape">
                <a:avLst/>
              </a:prstTxWarp>
            </a:bodyPr>
            <a:lstStyle/>
            <a:p>
              <a:pPr algn="ctr" fontAlgn="base">
                <a:spcBef>
                  <a:spcPct val="40000"/>
                </a:spcBef>
                <a:spcAft>
                  <a:spcPct val="0"/>
                </a:spcAft>
                <a:buClr>
                  <a:srgbClr val="CCCCCC"/>
                </a:buClr>
              </a:pPr>
              <a:endParaRPr lang="en-US" sz="1200" cap="all" dirty="0">
                <a:solidFill>
                  <a:srgbClr val="595959"/>
                </a:solidFill>
              </a:endParaRPr>
            </a:p>
          </p:txBody>
        </p:sp>
        <p:sp>
          <p:nvSpPr>
            <p:cNvPr id="26" name="Rechteck 156"/>
            <p:cNvSpPr/>
            <p:nvPr>
              <p:custDataLst>
                <p:tags r:id="rId13"/>
              </p:custDataLst>
            </p:nvPr>
          </p:nvSpPr>
          <p:spPr bwMode="gray">
            <a:xfrm>
              <a:off x="2008004" y="4685018"/>
              <a:ext cx="8218983" cy="562965"/>
            </a:xfrm>
            <a:prstGeom prst="rect">
              <a:avLst/>
            </a:prstGeom>
            <a:noFill/>
            <a:ln w="6350" cap="flat" cmpd="sng" algn="ctr">
              <a:solidFill>
                <a:srgbClr val="DEDEDE"/>
              </a:solidFill>
              <a:prstDash val="solid"/>
              <a:round/>
              <a:headEnd type="none" w="med" len="med"/>
              <a:tailEnd type="none" w="med" len="med"/>
            </a:ln>
            <a:effectLst/>
          </p:spPr>
          <p:txBody>
            <a:bodyPr vert="horz" wrap="none" lIns="90000" tIns="72000" rIns="90000" bIns="72000" numCol="1" rtlCol="0" anchor="ctr" anchorCtr="0" compatLnSpc="1">
              <a:prstTxWarp prst="textNoShape">
                <a:avLst/>
              </a:prstTxWarp>
            </a:bodyPr>
            <a:lstStyle/>
            <a:p>
              <a:pPr algn="ctr" fontAlgn="base">
                <a:spcBef>
                  <a:spcPct val="40000"/>
                </a:spcBef>
                <a:spcAft>
                  <a:spcPct val="0"/>
                </a:spcAft>
                <a:buClr>
                  <a:srgbClr val="CCCCCC"/>
                </a:buClr>
              </a:pPr>
              <a:endParaRPr lang="en-US" sz="1200" cap="all">
                <a:solidFill>
                  <a:srgbClr val="595959"/>
                </a:solidFill>
              </a:endParaRPr>
            </a:p>
          </p:txBody>
        </p:sp>
        <p:sp>
          <p:nvSpPr>
            <p:cNvPr id="27" name="Rechteck 155"/>
            <p:cNvSpPr/>
            <p:nvPr>
              <p:custDataLst>
                <p:tags r:id="rId14"/>
              </p:custDataLst>
            </p:nvPr>
          </p:nvSpPr>
          <p:spPr bwMode="gray">
            <a:xfrm>
              <a:off x="2008003" y="1837597"/>
              <a:ext cx="8218983" cy="864173"/>
            </a:xfrm>
            <a:prstGeom prst="rect">
              <a:avLst/>
            </a:prstGeom>
            <a:noFill/>
            <a:ln w="6350" cap="flat" cmpd="sng" algn="ctr">
              <a:solidFill>
                <a:srgbClr val="DEDEDE"/>
              </a:solidFill>
              <a:prstDash val="solid"/>
              <a:round/>
              <a:headEnd type="none" w="med" len="med"/>
              <a:tailEnd type="none" w="med" len="med"/>
            </a:ln>
            <a:effectLst/>
          </p:spPr>
          <p:txBody>
            <a:bodyPr vert="horz" wrap="none" lIns="90000" tIns="72000" rIns="90000" bIns="72000" numCol="1" rtlCol="0" anchor="ctr" anchorCtr="0" compatLnSpc="1">
              <a:prstTxWarp prst="textNoShape">
                <a:avLst/>
              </a:prstTxWarp>
            </a:bodyPr>
            <a:lstStyle/>
            <a:p>
              <a:pPr algn="ctr" fontAlgn="base">
                <a:spcBef>
                  <a:spcPct val="40000"/>
                </a:spcBef>
                <a:spcAft>
                  <a:spcPct val="0"/>
                </a:spcAft>
                <a:buClr>
                  <a:srgbClr val="CCCCCC"/>
                </a:buClr>
              </a:pPr>
              <a:endParaRPr lang="en-US" sz="1200" cap="all">
                <a:solidFill>
                  <a:srgbClr val="595959"/>
                </a:solidFill>
              </a:endParaRPr>
            </a:p>
          </p:txBody>
        </p:sp>
        <p:sp>
          <p:nvSpPr>
            <p:cNvPr id="28" name="Rechteck 156"/>
            <p:cNvSpPr/>
            <p:nvPr>
              <p:custDataLst>
                <p:tags r:id="rId15"/>
              </p:custDataLst>
            </p:nvPr>
          </p:nvSpPr>
          <p:spPr bwMode="gray">
            <a:xfrm>
              <a:off x="2008004" y="5676911"/>
              <a:ext cx="8218983" cy="333282"/>
            </a:xfrm>
            <a:prstGeom prst="rect">
              <a:avLst/>
            </a:prstGeom>
            <a:noFill/>
            <a:ln w="6350" cap="flat" cmpd="sng" algn="ctr">
              <a:solidFill>
                <a:srgbClr val="DEDEDE"/>
              </a:solidFill>
              <a:prstDash val="solid"/>
              <a:round/>
              <a:headEnd type="none" w="med" len="med"/>
              <a:tailEnd type="none" w="med" len="med"/>
            </a:ln>
            <a:effectLst/>
          </p:spPr>
          <p:txBody>
            <a:bodyPr vert="horz" wrap="none" lIns="90000" tIns="72000" rIns="90000" bIns="72000" numCol="1" rtlCol="0" anchor="ctr" anchorCtr="0" compatLnSpc="1">
              <a:prstTxWarp prst="textNoShape">
                <a:avLst/>
              </a:prstTxWarp>
            </a:bodyPr>
            <a:lstStyle/>
            <a:p>
              <a:pPr algn="ctr" fontAlgn="base">
                <a:spcBef>
                  <a:spcPct val="40000"/>
                </a:spcBef>
                <a:spcAft>
                  <a:spcPct val="0"/>
                </a:spcAft>
                <a:buClr>
                  <a:srgbClr val="CCCCCC"/>
                </a:buClr>
              </a:pPr>
              <a:endParaRPr lang="en-US" sz="1200" cap="all">
                <a:solidFill>
                  <a:srgbClr val="595959"/>
                </a:solidFill>
              </a:endParaRPr>
            </a:p>
          </p:txBody>
        </p:sp>
        <p:sp>
          <p:nvSpPr>
            <p:cNvPr id="29" name="Rectangle 54"/>
            <p:cNvSpPr>
              <a:spLocks noChangeArrowheads="1"/>
            </p:cNvSpPr>
            <p:nvPr>
              <p:custDataLst>
                <p:tags r:id="rId16"/>
              </p:custDataLst>
            </p:nvPr>
          </p:nvSpPr>
          <p:spPr bwMode="gray">
            <a:xfrm>
              <a:off x="2006156" y="4689659"/>
              <a:ext cx="2163480" cy="291198"/>
            </a:xfrm>
            <a:prstGeom prst="rect">
              <a:avLst/>
            </a:prstGeom>
            <a:noFill/>
            <a:ln w="9525" algn="ctr">
              <a:noFill/>
              <a:miter lim="800000"/>
              <a:headEnd/>
              <a:tailEnd/>
            </a:ln>
            <a:effectLst/>
          </p:spPr>
          <p:txBody>
            <a:bodyPr lIns="101600" tIns="46800" rIns="90000" bIns="46800" anchor="ctr"/>
            <a:lstStyle/>
            <a:p>
              <a:r>
                <a:rPr lang="en-US" sz="1200" dirty="0">
                  <a:solidFill>
                    <a:schemeClr val="accent2"/>
                  </a:solidFill>
                  <a:latin typeface="+mj-lt"/>
                </a:rPr>
                <a:t>Category </a:t>
              </a:r>
            </a:p>
          </p:txBody>
        </p:sp>
        <p:sp>
          <p:nvSpPr>
            <p:cNvPr id="30" name="Rectangle 52"/>
            <p:cNvSpPr>
              <a:spLocks noChangeArrowheads="1"/>
            </p:cNvSpPr>
            <p:nvPr>
              <p:custDataLst>
                <p:tags r:id="rId17"/>
              </p:custDataLst>
            </p:nvPr>
          </p:nvSpPr>
          <p:spPr bwMode="gray">
            <a:xfrm>
              <a:off x="2006157" y="3868509"/>
              <a:ext cx="2149743" cy="291197"/>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p>
          </p:txBody>
        </p:sp>
        <p:sp>
          <p:nvSpPr>
            <p:cNvPr id="31" name="Rectangle 52"/>
            <p:cNvSpPr>
              <a:spLocks noChangeArrowheads="1"/>
            </p:cNvSpPr>
            <p:nvPr>
              <p:custDataLst>
                <p:tags r:id="rId18"/>
              </p:custDataLst>
            </p:nvPr>
          </p:nvSpPr>
          <p:spPr bwMode="gray">
            <a:xfrm>
              <a:off x="2006157" y="4245981"/>
              <a:ext cx="2149743" cy="291197"/>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p>
          </p:txBody>
        </p:sp>
        <p:sp>
          <p:nvSpPr>
            <p:cNvPr id="32" name="Rechteck 156"/>
            <p:cNvSpPr/>
            <p:nvPr>
              <p:custDataLst>
                <p:tags r:id="rId19"/>
              </p:custDataLst>
            </p:nvPr>
          </p:nvSpPr>
          <p:spPr bwMode="gray">
            <a:xfrm>
              <a:off x="2008004" y="5295806"/>
              <a:ext cx="8218983" cy="333282"/>
            </a:xfrm>
            <a:prstGeom prst="rect">
              <a:avLst/>
            </a:prstGeom>
            <a:noFill/>
            <a:ln w="6350" cap="flat" cmpd="sng" algn="ctr">
              <a:solidFill>
                <a:srgbClr val="DEDEDE"/>
              </a:solidFill>
              <a:prstDash val="solid"/>
              <a:round/>
              <a:headEnd type="none" w="med" len="med"/>
              <a:tailEnd type="none" w="med" len="med"/>
            </a:ln>
            <a:effectLst/>
          </p:spPr>
          <p:txBody>
            <a:bodyPr vert="horz" wrap="none" lIns="90000" tIns="72000" rIns="90000" bIns="72000" numCol="1" rtlCol="0" anchor="ctr" anchorCtr="0" compatLnSpc="1">
              <a:prstTxWarp prst="textNoShape">
                <a:avLst/>
              </a:prstTxWarp>
            </a:bodyPr>
            <a:lstStyle/>
            <a:p>
              <a:pPr algn="ctr" fontAlgn="base">
                <a:spcBef>
                  <a:spcPct val="40000"/>
                </a:spcBef>
                <a:spcAft>
                  <a:spcPct val="0"/>
                </a:spcAft>
                <a:buClr>
                  <a:srgbClr val="CCCCCC"/>
                </a:buClr>
              </a:pPr>
              <a:endParaRPr lang="en-US" sz="1200" cap="all">
                <a:solidFill>
                  <a:srgbClr val="595959"/>
                </a:solidFill>
              </a:endParaRPr>
            </a:p>
          </p:txBody>
        </p:sp>
        <p:sp>
          <p:nvSpPr>
            <p:cNvPr id="33" name="Rectangle 54"/>
            <p:cNvSpPr>
              <a:spLocks noChangeArrowheads="1"/>
            </p:cNvSpPr>
            <p:nvPr>
              <p:custDataLst>
                <p:tags r:id="rId20"/>
              </p:custDataLst>
            </p:nvPr>
          </p:nvSpPr>
          <p:spPr bwMode="gray">
            <a:xfrm>
              <a:off x="2006156" y="5687760"/>
              <a:ext cx="2163480" cy="291198"/>
            </a:xfrm>
            <a:prstGeom prst="rect">
              <a:avLst/>
            </a:prstGeom>
            <a:noFill/>
            <a:ln w="9525" algn="ctr">
              <a:noFill/>
              <a:miter lim="800000"/>
              <a:headEnd/>
              <a:tailEnd/>
            </a:ln>
            <a:effectLst/>
          </p:spPr>
          <p:txBody>
            <a:bodyPr lIns="101600" tIns="46800" rIns="90000" bIns="46800" anchor="ctr"/>
            <a:lstStyle/>
            <a:p>
              <a:r>
                <a:rPr lang="en-US" sz="1200" dirty="0">
                  <a:solidFill>
                    <a:schemeClr val="accent2"/>
                  </a:solidFill>
                  <a:latin typeface="+mj-lt"/>
                </a:rPr>
                <a:t>Category</a:t>
              </a:r>
              <a:r>
                <a:rPr lang="en-US" sz="1200" b="1" dirty="0">
                  <a:solidFill>
                    <a:schemeClr val="accent2"/>
                  </a:solidFill>
                </a:rPr>
                <a:t> </a:t>
              </a:r>
            </a:p>
          </p:txBody>
        </p:sp>
        <p:sp>
          <p:nvSpPr>
            <p:cNvPr id="34" name="Rectangle 46"/>
            <p:cNvSpPr>
              <a:spLocks noChangeArrowheads="1"/>
            </p:cNvSpPr>
            <p:nvPr>
              <p:custDataLst>
                <p:tags r:id="rId21"/>
              </p:custDataLst>
            </p:nvPr>
          </p:nvSpPr>
          <p:spPr bwMode="gray">
            <a:xfrm>
              <a:off x="2006157" y="2410572"/>
              <a:ext cx="2149743" cy="291198"/>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35" name="Rectangle 46"/>
            <p:cNvSpPr>
              <a:spLocks noChangeArrowheads="1"/>
            </p:cNvSpPr>
            <p:nvPr>
              <p:custDataLst>
                <p:tags r:id="rId22"/>
              </p:custDataLst>
            </p:nvPr>
          </p:nvSpPr>
          <p:spPr bwMode="gray">
            <a:xfrm>
              <a:off x="2006157" y="4952282"/>
              <a:ext cx="2149743" cy="291198"/>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36" name="Rectangle 15"/>
            <p:cNvSpPr>
              <a:spLocks noChangeArrowheads="1"/>
            </p:cNvSpPr>
            <p:nvPr>
              <p:custDataLst>
                <p:tags r:id="rId23"/>
              </p:custDataLst>
            </p:nvPr>
          </p:nvSpPr>
          <p:spPr bwMode="gray">
            <a:xfrm>
              <a:off x="4155900" y="1183004"/>
              <a:ext cx="2274345" cy="304800"/>
            </a:xfrm>
            <a:prstGeom prst="rect">
              <a:avLst/>
            </a:prstGeom>
            <a:solidFill>
              <a:schemeClr val="accent1"/>
            </a:solidFill>
            <a:ln w="19050" cmpd="sng">
              <a:solidFill>
                <a:schemeClr val="bg1"/>
              </a:solidFill>
              <a:miter lim="800000"/>
              <a:headEnd/>
              <a:tailEnd/>
            </a:ln>
            <a:effectLst/>
          </p:spPr>
          <p:txBody>
            <a:bodyPr bIns="46800" anchor="ctr"/>
            <a:lstStyle/>
            <a:p>
              <a:pPr algn="ctr"/>
              <a:r>
                <a:rPr lang="en-US" sz="1200" cap="all" dirty="0">
                  <a:latin typeface="+mj-lt"/>
                </a:rPr>
                <a:t>2014</a:t>
              </a:r>
            </a:p>
          </p:txBody>
        </p:sp>
        <p:sp>
          <p:nvSpPr>
            <p:cNvPr id="37" name="Rectangle 16"/>
            <p:cNvSpPr>
              <a:spLocks noChangeArrowheads="1"/>
            </p:cNvSpPr>
            <p:nvPr>
              <p:custDataLst>
                <p:tags r:id="rId24"/>
              </p:custDataLst>
            </p:nvPr>
          </p:nvSpPr>
          <p:spPr bwMode="gray">
            <a:xfrm>
              <a:off x="6430244" y="1183004"/>
              <a:ext cx="3796742" cy="304800"/>
            </a:xfrm>
            <a:prstGeom prst="rect">
              <a:avLst/>
            </a:prstGeom>
            <a:solidFill>
              <a:schemeClr val="accent1"/>
            </a:solidFill>
            <a:ln w="19050" cmpd="sng">
              <a:solidFill>
                <a:schemeClr val="bg1"/>
              </a:solidFill>
              <a:miter lim="800000"/>
              <a:headEnd/>
              <a:tailEnd/>
            </a:ln>
            <a:effectLst/>
          </p:spPr>
          <p:txBody>
            <a:bodyPr bIns="46800" anchor="ctr"/>
            <a:lstStyle/>
            <a:p>
              <a:pPr algn="ctr"/>
              <a:r>
                <a:rPr lang="en-US" sz="1200" cap="all" dirty="0">
                  <a:latin typeface="+mj-lt"/>
                </a:rPr>
                <a:t>2015</a:t>
              </a:r>
            </a:p>
          </p:txBody>
        </p:sp>
        <p:sp>
          <p:nvSpPr>
            <p:cNvPr id="38" name="Rectangle 17"/>
            <p:cNvSpPr>
              <a:spLocks noChangeArrowheads="1"/>
            </p:cNvSpPr>
            <p:nvPr>
              <p:custDataLst>
                <p:tags r:id="rId25"/>
              </p:custDataLst>
            </p:nvPr>
          </p:nvSpPr>
          <p:spPr bwMode="gray">
            <a:xfrm>
              <a:off x="4169637" y="1498214"/>
              <a:ext cx="741913" cy="304800"/>
            </a:xfrm>
            <a:prstGeom prst="rect">
              <a:avLst/>
            </a:prstGeom>
            <a:solidFill>
              <a:srgbClr val="F2F2F2"/>
            </a:solidFill>
            <a:ln w="9525" algn="ctr">
              <a:solidFill>
                <a:schemeClr val="bg1"/>
              </a:solidFill>
              <a:miter lim="800000"/>
              <a:headEnd/>
              <a:tailEnd/>
            </a:ln>
            <a:effectLst/>
          </p:spPr>
          <p:txBody>
            <a:bodyPr lIns="0" tIns="46800" rIns="0" bIns="46800" anchor="ctr"/>
            <a:lstStyle/>
            <a:p>
              <a:pPr algn="ctr"/>
              <a:r>
                <a:rPr lang="en-US" sz="1200" dirty="0"/>
                <a:t>Oct</a:t>
              </a:r>
            </a:p>
          </p:txBody>
        </p:sp>
        <p:sp>
          <p:nvSpPr>
            <p:cNvPr id="39" name="Rectangle 69"/>
            <p:cNvSpPr>
              <a:spLocks noChangeArrowheads="1"/>
            </p:cNvSpPr>
            <p:nvPr>
              <p:custDataLst>
                <p:tags r:id="rId26"/>
              </p:custDataLst>
            </p:nvPr>
          </p:nvSpPr>
          <p:spPr bwMode="gray">
            <a:xfrm>
              <a:off x="7414316" y="5019281"/>
              <a:ext cx="1599263" cy="146304"/>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40" name="Rectangle 17"/>
            <p:cNvSpPr>
              <a:spLocks noChangeArrowheads="1"/>
            </p:cNvSpPr>
            <p:nvPr>
              <p:custDataLst>
                <p:tags r:id="rId27"/>
              </p:custDataLst>
            </p:nvPr>
          </p:nvSpPr>
          <p:spPr bwMode="gray">
            <a:xfrm>
              <a:off x="4915247" y="1498214"/>
              <a:ext cx="755650" cy="304800"/>
            </a:xfrm>
            <a:prstGeom prst="rect">
              <a:avLst/>
            </a:prstGeom>
            <a:solidFill>
              <a:srgbClr val="F2F2F2"/>
            </a:solidFill>
            <a:ln w="9525" algn="ctr">
              <a:solidFill>
                <a:schemeClr val="bg1"/>
              </a:solidFill>
              <a:miter lim="800000"/>
              <a:headEnd/>
              <a:tailEnd/>
            </a:ln>
            <a:effectLst/>
          </p:spPr>
          <p:txBody>
            <a:bodyPr lIns="0" tIns="46800" rIns="0" bIns="46800" anchor="ctr"/>
            <a:lstStyle/>
            <a:p>
              <a:pPr algn="ctr"/>
              <a:r>
                <a:rPr lang="en-US" sz="1200" dirty="0" err="1"/>
                <a:t>Nov</a:t>
              </a:r>
              <a:endParaRPr lang="en-US" sz="1200" dirty="0"/>
            </a:p>
          </p:txBody>
        </p:sp>
        <p:sp>
          <p:nvSpPr>
            <p:cNvPr id="41" name="Rectangle 17"/>
            <p:cNvSpPr>
              <a:spLocks noChangeArrowheads="1"/>
            </p:cNvSpPr>
            <p:nvPr>
              <p:custDataLst>
                <p:tags r:id="rId28"/>
              </p:custDataLst>
            </p:nvPr>
          </p:nvSpPr>
          <p:spPr bwMode="gray">
            <a:xfrm>
              <a:off x="5674595" y="1498214"/>
              <a:ext cx="755650" cy="304800"/>
            </a:xfrm>
            <a:prstGeom prst="rect">
              <a:avLst/>
            </a:prstGeom>
            <a:solidFill>
              <a:srgbClr val="F2F2F2"/>
            </a:solidFill>
            <a:ln w="9525" algn="ctr">
              <a:solidFill>
                <a:schemeClr val="bg1"/>
              </a:solidFill>
              <a:miter lim="800000"/>
              <a:headEnd/>
              <a:tailEnd/>
            </a:ln>
            <a:effectLst/>
          </p:spPr>
          <p:txBody>
            <a:bodyPr lIns="0" tIns="46800" rIns="0" bIns="46800" anchor="ctr"/>
            <a:lstStyle/>
            <a:p>
              <a:pPr algn="ctr"/>
              <a:r>
                <a:rPr lang="en-US" sz="1200" dirty="0" err="1"/>
                <a:t>Dec</a:t>
              </a:r>
              <a:endParaRPr lang="en-US" sz="1200" dirty="0"/>
            </a:p>
          </p:txBody>
        </p:sp>
        <p:sp>
          <p:nvSpPr>
            <p:cNvPr id="42" name="Rectangle 17"/>
            <p:cNvSpPr>
              <a:spLocks noChangeArrowheads="1"/>
            </p:cNvSpPr>
            <p:nvPr>
              <p:custDataLst>
                <p:tags r:id="rId29"/>
              </p:custDataLst>
            </p:nvPr>
          </p:nvSpPr>
          <p:spPr bwMode="gray">
            <a:xfrm>
              <a:off x="6433943" y="1498214"/>
              <a:ext cx="755650" cy="304800"/>
            </a:xfrm>
            <a:prstGeom prst="rect">
              <a:avLst/>
            </a:prstGeom>
            <a:solidFill>
              <a:srgbClr val="F2F2F2"/>
            </a:solidFill>
            <a:ln w="9525" algn="ctr">
              <a:solidFill>
                <a:schemeClr val="bg1"/>
              </a:solidFill>
              <a:miter lim="800000"/>
              <a:headEnd/>
              <a:tailEnd/>
            </a:ln>
            <a:effectLst/>
          </p:spPr>
          <p:txBody>
            <a:bodyPr lIns="0" tIns="46800" rIns="0" bIns="46800" anchor="ctr"/>
            <a:lstStyle/>
            <a:p>
              <a:pPr algn="ctr"/>
              <a:r>
                <a:rPr lang="en-US" sz="1200" dirty="0" err="1"/>
                <a:t>Jan</a:t>
              </a:r>
              <a:endParaRPr lang="en-US" sz="1200" dirty="0"/>
            </a:p>
          </p:txBody>
        </p:sp>
        <p:sp>
          <p:nvSpPr>
            <p:cNvPr id="43" name="Rectangle 17"/>
            <p:cNvSpPr>
              <a:spLocks noChangeArrowheads="1"/>
            </p:cNvSpPr>
            <p:nvPr>
              <p:custDataLst>
                <p:tags r:id="rId30"/>
              </p:custDataLst>
            </p:nvPr>
          </p:nvSpPr>
          <p:spPr bwMode="gray">
            <a:xfrm>
              <a:off x="7193291" y="1498214"/>
              <a:ext cx="755650" cy="304800"/>
            </a:xfrm>
            <a:prstGeom prst="rect">
              <a:avLst/>
            </a:prstGeom>
            <a:solidFill>
              <a:srgbClr val="F2F2F2"/>
            </a:solidFill>
            <a:ln w="9525" algn="ctr">
              <a:solidFill>
                <a:schemeClr val="bg1"/>
              </a:solidFill>
              <a:miter lim="800000"/>
              <a:headEnd/>
              <a:tailEnd/>
            </a:ln>
            <a:effectLst/>
          </p:spPr>
          <p:txBody>
            <a:bodyPr lIns="0" tIns="46800" rIns="0" bIns="46800" anchor="ctr"/>
            <a:lstStyle/>
            <a:p>
              <a:pPr algn="ctr"/>
              <a:r>
                <a:rPr lang="en-US" sz="1200" dirty="0"/>
                <a:t>Feb</a:t>
              </a:r>
            </a:p>
          </p:txBody>
        </p:sp>
        <p:sp>
          <p:nvSpPr>
            <p:cNvPr id="44" name="Rectangle 17"/>
            <p:cNvSpPr>
              <a:spLocks noChangeArrowheads="1"/>
            </p:cNvSpPr>
            <p:nvPr>
              <p:custDataLst>
                <p:tags r:id="rId31"/>
              </p:custDataLst>
            </p:nvPr>
          </p:nvSpPr>
          <p:spPr bwMode="gray">
            <a:xfrm>
              <a:off x="7952639" y="1498214"/>
              <a:ext cx="755650" cy="304800"/>
            </a:xfrm>
            <a:prstGeom prst="rect">
              <a:avLst/>
            </a:prstGeom>
            <a:solidFill>
              <a:srgbClr val="F2F2F2"/>
            </a:solidFill>
            <a:ln w="9525" algn="ctr">
              <a:solidFill>
                <a:schemeClr val="bg1"/>
              </a:solidFill>
              <a:miter lim="800000"/>
              <a:headEnd/>
              <a:tailEnd/>
            </a:ln>
            <a:effectLst/>
          </p:spPr>
          <p:txBody>
            <a:bodyPr lIns="0" tIns="46800" rIns="0" bIns="46800" anchor="ctr"/>
            <a:lstStyle/>
            <a:p>
              <a:pPr algn="ctr"/>
              <a:r>
                <a:rPr lang="en-US" sz="1200" dirty="0"/>
                <a:t>March</a:t>
              </a:r>
            </a:p>
          </p:txBody>
        </p:sp>
        <p:sp>
          <p:nvSpPr>
            <p:cNvPr id="45" name="Rectangle 17"/>
            <p:cNvSpPr>
              <a:spLocks noChangeArrowheads="1"/>
            </p:cNvSpPr>
            <p:nvPr>
              <p:custDataLst>
                <p:tags r:id="rId32"/>
              </p:custDataLst>
            </p:nvPr>
          </p:nvSpPr>
          <p:spPr bwMode="gray">
            <a:xfrm>
              <a:off x="8711987" y="1498214"/>
              <a:ext cx="755650" cy="304800"/>
            </a:xfrm>
            <a:prstGeom prst="rect">
              <a:avLst/>
            </a:prstGeom>
            <a:solidFill>
              <a:srgbClr val="F2F2F2"/>
            </a:solidFill>
            <a:ln w="9525" algn="ctr">
              <a:solidFill>
                <a:schemeClr val="bg1"/>
              </a:solidFill>
              <a:miter lim="800000"/>
              <a:headEnd/>
              <a:tailEnd/>
            </a:ln>
            <a:effectLst/>
          </p:spPr>
          <p:txBody>
            <a:bodyPr lIns="0" tIns="46800" rIns="0" bIns="46800" anchor="ctr"/>
            <a:lstStyle/>
            <a:p>
              <a:pPr algn="ctr"/>
              <a:r>
                <a:rPr lang="en-US" sz="1200" dirty="0"/>
                <a:t>April</a:t>
              </a:r>
            </a:p>
          </p:txBody>
        </p:sp>
        <p:sp>
          <p:nvSpPr>
            <p:cNvPr id="46" name="Rectangle 17"/>
            <p:cNvSpPr>
              <a:spLocks noChangeArrowheads="1"/>
            </p:cNvSpPr>
            <p:nvPr>
              <p:custDataLst>
                <p:tags r:id="rId33"/>
              </p:custDataLst>
            </p:nvPr>
          </p:nvSpPr>
          <p:spPr bwMode="gray">
            <a:xfrm>
              <a:off x="9471336" y="1498214"/>
              <a:ext cx="755650" cy="304800"/>
            </a:xfrm>
            <a:prstGeom prst="rect">
              <a:avLst/>
            </a:prstGeom>
            <a:solidFill>
              <a:srgbClr val="F2F2F2"/>
            </a:solidFill>
            <a:ln w="9525" algn="ctr">
              <a:solidFill>
                <a:schemeClr val="bg1"/>
              </a:solidFill>
              <a:miter lim="800000"/>
              <a:headEnd/>
              <a:tailEnd/>
            </a:ln>
            <a:effectLst/>
          </p:spPr>
          <p:txBody>
            <a:bodyPr lIns="0" tIns="46800" rIns="0" bIns="46800" anchor="ctr"/>
            <a:lstStyle/>
            <a:p>
              <a:pPr algn="ctr"/>
              <a:r>
                <a:rPr lang="en-US" sz="1200" dirty="0"/>
                <a:t>May</a:t>
              </a:r>
            </a:p>
          </p:txBody>
        </p:sp>
        <p:sp>
          <p:nvSpPr>
            <p:cNvPr id="47" name="Rectangle 62"/>
            <p:cNvSpPr>
              <a:spLocks noChangeArrowheads="1"/>
            </p:cNvSpPr>
            <p:nvPr>
              <p:custDataLst>
                <p:tags r:id="rId34"/>
              </p:custDataLst>
            </p:nvPr>
          </p:nvSpPr>
          <p:spPr bwMode="gray">
            <a:xfrm>
              <a:off x="5656654" y="3928716"/>
              <a:ext cx="747451" cy="146304"/>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48" name="Right Arrow 47"/>
            <p:cNvSpPr/>
            <p:nvPr/>
          </p:nvSpPr>
          <p:spPr>
            <a:xfrm>
              <a:off x="8577282" y="5706599"/>
              <a:ext cx="1649704" cy="29688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0" name="Rectangle 62"/>
            <p:cNvSpPr>
              <a:spLocks noChangeArrowheads="1"/>
            </p:cNvSpPr>
            <p:nvPr>
              <p:custDataLst>
                <p:tags r:id="rId35"/>
              </p:custDataLst>
            </p:nvPr>
          </p:nvSpPr>
          <p:spPr bwMode="gray">
            <a:xfrm>
              <a:off x="5026485" y="3144459"/>
              <a:ext cx="972209" cy="146304"/>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51" name="Rectangle 64"/>
            <p:cNvSpPr>
              <a:spLocks noChangeArrowheads="1"/>
            </p:cNvSpPr>
            <p:nvPr>
              <p:custDataLst>
                <p:tags r:id="rId36"/>
              </p:custDataLst>
            </p:nvPr>
          </p:nvSpPr>
          <p:spPr bwMode="gray">
            <a:xfrm>
              <a:off x="6934975" y="4318426"/>
              <a:ext cx="166289" cy="146304"/>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57" name="Rectangle 69"/>
            <p:cNvSpPr>
              <a:spLocks noChangeArrowheads="1"/>
            </p:cNvSpPr>
            <p:nvPr>
              <p:custDataLst>
                <p:tags r:id="rId37"/>
              </p:custDataLst>
            </p:nvPr>
          </p:nvSpPr>
          <p:spPr bwMode="gray">
            <a:xfrm>
              <a:off x="8251286" y="5392206"/>
              <a:ext cx="1221594" cy="146304"/>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58" name="Rectangle 62"/>
            <p:cNvSpPr>
              <a:spLocks noChangeArrowheads="1"/>
            </p:cNvSpPr>
            <p:nvPr>
              <p:custDataLst>
                <p:tags r:id="rId38"/>
              </p:custDataLst>
            </p:nvPr>
          </p:nvSpPr>
          <p:spPr bwMode="gray">
            <a:xfrm>
              <a:off x="4941788" y="2483019"/>
              <a:ext cx="2198271" cy="146304"/>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59" name="Rectangle 62"/>
            <p:cNvSpPr>
              <a:spLocks noChangeArrowheads="1"/>
            </p:cNvSpPr>
            <p:nvPr>
              <p:custDataLst>
                <p:tags r:id="rId39"/>
              </p:custDataLst>
            </p:nvPr>
          </p:nvSpPr>
          <p:spPr bwMode="gray">
            <a:xfrm>
              <a:off x="5411206" y="3545632"/>
              <a:ext cx="747451" cy="146304"/>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61" name="AutoShape 60"/>
            <p:cNvSpPr>
              <a:spLocks noChangeArrowheads="1"/>
            </p:cNvSpPr>
            <p:nvPr>
              <p:custDataLst>
                <p:tags r:id="rId40"/>
              </p:custDataLst>
            </p:nvPr>
          </p:nvSpPr>
          <p:spPr bwMode="gray">
            <a:xfrm>
              <a:off x="7037126" y="4319182"/>
              <a:ext cx="128277" cy="144795"/>
            </a:xfrm>
            <a:prstGeom prst="diamond">
              <a:avLst/>
            </a:prstGeom>
            <a:solidFill>
              <a:schemeClr val="accent2"/>
            </a:solidFill>
            <a:ln w="9525" algn="ctr">
              <a:noFill/>
              <a:miter lim="800000"/>
              <a:headEnd/>
              <a:tailEnd/>
            </a:ln>
            <a:effectLst/>
          </p:spPr>
          <p:txBody>
            <a:bodyPr wrap="none" lIns="378000" tIns="46800" rIns="90000" bIns="46800" anchor="ctr"/>
            <a:lstStyle/>
            <a:p>
              <a:r>
                <a:rPr lang="en-US" sz="1200" dirty="0">
                  <a:solidFill>
                    <a:schemeClr val="accent2"/>
                  </a:solidFill>
                </a:rPr>
                <a:t>Global Webcast</a:t>
              </a:r>
            </a:p>
          </p:txBody>
        </p:sp>
        <p:sp>
          <p:nvSpPr>
            <p:cNvPr id="62" name="AutoShape 60"/>
            <p:cNvSpPr>
              <a:spLocks noChangeArrowheads="1"/>
            </p:cNvSpPr>
            <p:nvPr>
              <p:custDataLst>
                <p:tags r:id="rId41"/>
              </p:custDataLst>
            </p:nvPr>
          </p:nvSpPr>
          <p:spPr bwMode="gray">
            <a:xfrm>
              <a:off x="5133082" y="2182587"/>
              <a:ext cx="128277" cy="144795"/>
            </a:xfrm>
            <a:prstGeom prst="diamond">
              <a:avLst/>
            </a:prstGeom>
            <a:solidFill>
              <a:schemeClr val="accent2"/>
            </a:solidFill>
            <a:ln w="9525" algn="ctr">
              <a:noFill/>
              <a:miter lim="800000"/>
              <a:headEnd/>
              <a:tailEnd/>
            </a:ln>
            <a:effectLst/>
          </p:spPr>
          <p:txBody>
            <a:bodyPr wrap="none" lIns="378000" tIns="46800" rIns="90000" bIns="46800" anchor="ctr"/>
            <a:lstStyle/>
            <a:p>
              <a:r>
                <a:rPr lang="en-US" sz="1200" dirty="0">
                  <a:solidFill>
                    <a:schemeClr val="accent2"/>
                  </a:solidFill>
                </a:rPr>
                <a:t>Global Webcast</a:t>
              </a:r>
            </a:p>
          </p:txBody>
        </p:sp>
      </p:grpSp>
    </p:spTree>
    <p:extLst>
      <p:ext uri="{BB962C8B-B14F-4D97-AF65-F5344CB8AC3E}">
        <p14:creationId xmlns:p14="http://schemas.microsoft.com/office/powerpoint/2010/main" val="255884293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frame</a:t>
            </a:r>
          </a:p>
        </p:txBody>
      </p:sp>
      <p:sp>
        <p:nvSpPr>
          <p:cNvPr id="3" name="Slide Number Placeholder 2"/>
          <p:cNvSpPr>
            <a:spLocks noGrp="1"/>
          </p:cNvSpPr>
          <p:nvPr>
            <p:ph type="sldNum" sz="quarter" idx="4"/>
          </p:nvPr>
        </p:nvSpPr>
        <p:spPr/>
        <p:txBody>
          <a:bodyPr/>
          <a:lstStyle/>
          <a:p>
            <a:fld id="{D32BAE6A-B452-4007-8177-56DD051636F9}" type="slidenum">
              <a:rPr lang="en-GB" smtClean="0"/>
              <a:pPr/>
              <a:t>19</a:t>
            </a:fld>
            <a:endParaRPr lang="en-GB" dirty="0"/>
          </a:p>
        </p:txBody>
      </p:sp>
      <p:grpSp>
        <p:nvGrpSpPr>
          <p:cNvPr id="4" name="Group 3"/>
          <p:cNvGrpSpPr/>
          <p:nvPr/>
        </p:nvGrpSpPr>
        <p:grpSpPr>
          <a:xfrm>
            <a:off x="507999" y="1528763"/>
            <a:ext cx="11171741" cy="4855791"/>
            <a:chOff x="2032001" y="1183004"/>
            <a:chExt cx="8194988" cy="4917908"/>
          </a:xfrm>
        </p:grpSpPr>
        <p:sp>
          <p:nvSpPr>
            <p:cNvPr id="9" name="Rectangle 34"/>
            <p:cNvSpPr>
              <a:spLocks noChangeArrowheads="1"/>
            </p:cNvSpPr>
            <p:nvPr>
              <p:custDataLst>
                <p:tags r:id="rId1"/>
              </p:custDataLst>
            </p:nvPr>
          </p:nvSpPr>
          <p:spPr bwMode="gray">
            <a:xfrm rot="16200000">
              <a:off x="5832565" y="-726570"/>
              <a:ext cx="602502" cy="8146711"/>
            </a:xfrm>
            <a:prstGeom prst="rect">
              <a:avLst/>
            </a:prstGeom>
            <a:solidFill>
              <a:srgbClr val="F2F2F2"/>
            </a:solidFill>
            <a:ln w="9525" algn="ctr">
              <a:noFill/>
              <a:miter lim="800000"/>
              <a:headEnd/>
              <a:tailEnd/>
            </a:ln>
            <a:effectLst/>
          </p:spPr>
          <p:txBody>
            <a:bodyPr lIns="90000" tIns="46800" rIns="90000" bIns="46800" anchor="ctr"/>
            <a:lstStyle/>
            <a:p>
              <a:endParaRPr lang="en-US" sz="1200" cap="all">
                <a:solidFill>
                  <a:srgbClr val="595959"/>
                </a:solidFill>
              </a:endParaRPr>
            </a:p>
          </p:txBody>
        </p:sp>
        <p:sp>
          <p:nvSpPr>
            <p:cNvPr id="10" name="Rectangle 34"/>
            <p:cNvSpPr>
              <a:spLocks noChangeArrowheads="1"/>
            </p:cNvSpPr>
            <p:nvPr>
              <p:custDataLst>
                <p:tags r:id="rId2"/>
              </p:custDataLst>
            </p:nvPr>
          </p:nvSpPr>
          <p:spPr bwMode="gray">
            <a:xfrm rot="16200000">
              <a:off x="5816868" y="-1947270"/>
              <a:ext cx="605437" cy="8175168"/>
            </a:xfrm>
            <a:prstGeom prst="rect">
              <a:avLst/>
            </a:prstGeom>
            <a:solidFill>
              <a:srgbClr val="F2F2F2"/>
            </a:solidFill>
            <a:ln w="9525" algn="ctr">
              <a:noFill/>
              <a:miter lim="800000"/>
              <a:headEnd/>
              <a:tailEnd/>
            </a:ln>
            <a:effectLst/>
          </p:spPr>
          <p:txBody>
            <a:bodyPr lIns="90000" tIns="46800" rIns="90000" bIns="46800" anchor="ctr"/>
            <a:lstStyle/>
            <a:p>
              <a:endParaRPr lang="en-US" sz="1200" cap="all">
                <a:solidFill>
                  <a:srgbClr val="595959"/>
                </a:solidFill>
              </a:endParaRPr>
            </a:p>
          </p:txBody>
        </p:sp>
        <p:sp>
          <p:nvSpPr>
            <p:cNvPr id="11" name="Rectangle 34"/>
            <p:cNvSpPr>
              <a:spLocks noChangeArrowheads="1"/>
            </p:cNvSpPr>
            <p:nvPr>
              <p:custDataLst>
                <p:tags r:id="rId3"/>
              </p:custDataLst>
            </p:nvPr>
          </p:nvSpPr>
          <p:spPr bwMode="gray">
            <a:xfrm rot="16200000">
              <a:off x="5824912" y="457632"/>
              <a:ext cx="602502" cy="8188319"/>
            </a:xfrm>
            <a:prstGeom prst="rect">
              <a:avLst/>
            </a:prstGeom>
            <a:solidFill>
              <a:srgbClr val="F2F2F2"/>
            </a:solidFill>
            <a:ln w="9525" algn="ctr">
              <a:noFill/>
              <a:miter lim="800000"/>
              <a:headEnd/>
              <a:tailEnd/>
            </a:ln>
            <a:effectLst/>
          </p:spPr>
          <p:txBody>
            <a:bodyPr lIns="90000" tIns="46800" rIns="90000" bIns="46800" anchor="ctr"/>
            <a:lstStyle/>
            <a:p>
              <a:endParaRPr lang="en-US" sz="1200" cap="all">
                <a:solidFill>
                  <a:srgbClr val="595959"/>
                </a:solidFill>
              </a:endParaRPr>
            </a:p>
          </p:txBody>
        </p:sp>
        <p:sp>
          <p:nvSpPr>
            <p:cNvPr id="15" name="Rectangle 34"/>
            <p:cNvSpPr>
              <a:spLocks noChangeArrowheads="1"/>
            </p:cNvSpPr>
            <p:nvPr>
              <p:custDataLst>
                <p:tags r:id="rId4"/>
              </p:custDataLst>
            </p:nvPr>
          </p:nvSpPr>
          <p:spPr bwMode="gray">
            <a:xfrm rot="16200000">
              <a:off x="5835162" y="1652386"/>
              <a:ext cx="588669" cy="8194984"/>
            </a:xfrm>
            <a:prstGeom prst="rect">
              <a:avLst/>
            </a:prstGeom>
            <a:solidFill>
              <a:srgbClr val="F2F2F2"/>
            </a:solidFill>
            <a:ln w="9525" algn="ctr">
              <a:noFill/>
              <a:miter lim="800000"/>
              <a:headEnd/>
              <a:tailEnd/>
            </a:ln>
            <a:effectLst/>
          </p:spPr>
          <p:txBody>
            <a:bodyPr lIns="90000" tIns="46800" rIns="90000" bIns="46800" anchor="ctr"/>
            <a:lstStyle/>
            <a:p>
              <a:endParaRPr lang="en-US" sz="1200" cap="all">
                <a:solidFill>
                  <a:srgbClr val="595959"/>
                </a:solidFill>
              </a:endParaRPr>
            </a:p>
          </p:txBody>
        </p:sp>
        <p:sp>
          <p:nvSpPr>
            <p:cNvPr id="17" name="Rectangle 44"/>
            <p:cNvSpPr>
              <a:spLocks noChangeArrowheads="1"/>
            </p:cNvSpPr>
            <p:nvPr>
              <p:custDataLst>
                <p:tags r:id="rId5"/>
              </p:custDataLst>
            </p:nvPr>
          </p:nvSpPr>
          <p:spPr bwMode="gray">
            <a:xfrm>
              <a:off x="2032003" y="1837596"/>
              <a:ext cx="2137633" cy="290576"/>
            </a:xfrm>
            <a:prstGeom prst="rect">
              <a:avLst/>
            </a:prstGeom>
            <a:noFill/>
            <a:ln w="9525" algn="ctr">
              <a:noFill/>
              <a:miter lim="800000"/>
              <a:headEnd/>
              <a:tailEnd/>
            </a:ln>
            <a:effectLst/>
          </p:spPr>
          <p:txBody>
            <a:bodyPr lIns="101600" tIns="46800" rIns="90000" bIns="46800" anchor="ctr"/>
            <a:lstStyle/>
            <a:p>
              <a:r>
                <a:rPr lang="en-US" sz="1200" dirty="0">
                  <a:solidFill>
                    <a:schemeClr val="accent2"/>
                  </a:solidFill>
                  <a:latin typeface="+mj-lt"/>
                </a:rPr>
                <a:t>Category </a:t>
              </a:r>
            </a:p>
          </p:txBody>
        </p:sp>
        <p:sp>
          <p:nvSpPr>
            <p:cNvPr id="18" name="Rectangle 46"/>
            <p:cNvSpPr>
              <a:spLocks noChangeArrowheads="1"/>
            </p:cNvSpPr>
            <p:nvPr>
              <p:custDataLst>
                <p:tags r:id="rId6"/>
              </p:custDataLst>
            </p:nvPr>
          </p:nvSpPr>
          <p:spPr bwMode="gray">
            <a:xfrm>
              <a:off x="2032003" y="2138097"/>
              <a:ext cx="2123896" cy="290576"/>
            </a:xfrm>
            <a:prstGeom prst="rect">
              <a:avLst/>
            </a:prstGeom>
            <a:noFill/>
            <a:ln w="9525" algn="ctr">
              <a:noFill/>
              <a:miter lim="800000"/>
              <a:headEnd/>
              <a:tailEnd/>
            </a:ln>
            <a:effectLst/>
          </p:spPr>
          <p:txBody>
            <a:bodyPr lIns="101600" tIns="46800" rIns="38100" bIns="46800" anchor="ctr"/>
            <a:lstStyle/>
            <a:p>
              <a:r>
                <a:rPr lang="en-US" sz="1000" dirty="0">
                  <a:solidFill>
                    <a:srgbClr val="535353"/>
                  </a:solidFill>
                </a:rPr>
                <a:t>Line</a:t>
              </a:r>
              <a:endParaRPr lang="en-US" sz="1000" cap="all" dirty="0">
                <a:solidFill>
                  <a:srgbClr val="535353"/>
                </a:solidFill>
              </a:endParaRPr>
            </a:p>
          </p:txBody>
        </p:sp>
        <p:sp>
          <p:nvSpPr>
            <p:cNvPr id="34" name="Rectangle 46"/>
            <p:cNvSpPr>
              <a:spLocks noChangeArrowheads="1"/>
            </p:cNvSpPr>
            <p:nvPr>
              <p:custDataLst>
                <p:tags r:id="rId7"/>
              </p:custDataLst>
            </p:nvPr>
          </p:nvSpPr>
          <p:spPr bwMode="gray">
            <a:xfrm>
              <a:off x="2032001" y="2443033"/>
              <a:ext cx="2123899" cy="290576"/>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36" name="Rectangle 15"/>
            <p:cNvSpPr>
              <a:spLocks noChangeArrowheads="1"/>
            </p:cNvSpPr>
            <p:nvPr>
              <p:custDataLst>
                <p:tags r:id="rId8"/>
              </p:custDataLst>
            </p:nvPr>
          </p:nvSpPr>
          <p:spPr bwMode="gray">
            <a:xfrm>
              <a:off x="4155900" y="1183004"/>
              <a:ext cx="2274345" cy="304800"/>
            </a:xfrm>
            <a:prstGeom prst="rect">
              <a:avLst/>
            </a:prstGeom>
            <a:solidFill>
              <a:schemeClr val="accent1"/>
            </a:solidFill>
            <a:ln w="19050" cmpd="sng">
              <a:solidFill>
                <a:schemeClr val="bg1"/>
              </a:solidFill>
              <a:miter lim="800000"/>
              <a:headEnd/>
              <a:tailEnd/>
            </a:ln>
            <a:effectLst/>
          </p:spPr>
          <p:txBody>
            <a:bodyPr bIns="46800" anchor="ctr"/>
            <a:lstStyle/>
            <a:p>
              <a:pPr algn="ctr"/>
              <a:r>
                <a:rPr lang="en-US" sz="1200" cap="all" dirty="0">
                  <a:latin typeface="+mj-lt"/>
                </a:rPr>
                <a:t>2014</a:t>
              </a:r>
            </a:p>
          </p:txBody>
        </p:sp>
        <p:sp>
          <p:nvSpPr>
            <p:cNvPr id="37" name="Rectangle 16"/>
            <p:cNvSpPr>
              <a:spLocks noChangeArrowheads="1"/>
            </p:cNvSpPr>
            <p:nvPr>
              <p:custDataLst>
                <p:tags r:id="rId9"/>
              </p:custDataLst>
            </p:nvPr>
          </p:nvSpPr>
          <p:spPr bwMode="gray">
            <a:xfrm>
              <a:off x="6430244" y="1183004"/>
              <a:ext cx="3796742" cy="304800"/>
            </a:xfrm>
            <a:prstGeom prst="rect">
              <a:avLst/>
            </a:prstGeom>
            <a:solidFill>
              <a:schemeClr val="accent1"/>
            </a:solidFill>
            <a:ln w="19050" cmpd="sng">
              <a:solidFill>
                <a:schemeClr val="bg1"/>
              </a:solidFill>
              <a:miter lim="800000"/>
              <a:headEnd/>
              <a:tailEnd/>
            </a:ln>
            <a:effectLst/>
          </p:spPr>
          <p:txBody>
            <a:bodyPr bIns="46800" anchor="ctr"/>
            <a:lstStyle/>
            <a:p>
              <a:pPr algn="ctr"/>
              <a:r>
                <a:rPr lang="en-US" sz="1200" cap="all" dirty="0"/>
                <a:t>2015</a:t>
              </a:r>
            </a:p>
          </p:txBody>
        </p:sp>
        <p:sp>
          <p:nvSpPr>
            <p:cNvPr id="38" name="Rectangle 17"/>
            <p:cNvSpPr>
              <a:spLocks noChangeArrowheads="1"/>
            </p:cNvSpPr>
            <p:nvPr>
              <p:custDataLst>
                <p:tags r:id="rId10"/>
              </p:custDataLst>
            </p:nvPr>
          </p:nvSpPr>
          <p:spPr bwMode="gray">
            <a:xfrm>
              <a:off x="4169637" y="1554915"/>
              <a:ext cx="741913" cy="202819"/>
            </a:xfrm>
            <a:prstGeom prst="rect">
              <a:avLst/>
            </a:prstGeom>
            <a:solidFill>
              <a:schemeClr val="bg1"/>
            </a:solidFill>
            <a:ln w="9525" algn="ctr">
              <a:solidFill>
                <a:schemeClr val="bg1"/>
              </a:solidFill>
              <a:miter lim="800000"/>
              <a:headEnd/>
              <a:tailEnd/>
            </a:ln>
            <a:effectLst/>
          </p:spPr>
          <p:txBody>
            <a:bodyPr lIns="0" tIns="46800" rIns="0" bIns="46800" anchor="ctr"/>
            <a:lstStyle/>
            <a:p>
              <a:pPr algn="ctr"/>
              <a:r>
                <a:rPr lang="en-US" sz="1000" dirty="0"/>
                <a:t>Oct</a:t>
              </a:r>
            </a:p>
          </p:txBody>
        </p:sp>
        <p:sp>
          <p:nvSpPr>
            <p:cNvPr id="40" name="Rectangle 17"/>
            <p:cNvSpPr>
              <a:spLocks noChangeArrowheads="1"/>
            </p:cNvSpPr>
            <p:nvPr>
              <p:custDataLst>
                <p:tags r:id="rId11"/>
              </p:custDataLst>
            </p:nvPr>
          </p:nvSpPr>
          <p:spPr bwMode="gray">
            <a:xfrm>
              <a:off x="4915247" y="1554915"/>
              <a:ext cx="755650" cy="202819"/>
            </a:xfrm>
            <a:prstGeom prst="rect">
              <a:avLst/>
            </a:prstGeom>
            <a:solidFill>
              <a:schemeClr val="bg1"/>
            </a:solidFill>
            <a:ln w="9525" algn="ctr">
              <a:solidFill>
                <a:schemeClr val="bg1"/>
              </a:solidFill>
              <a:miter lim="800000"/>
              <a:headEnd/>
              <a:tailEnd/>
            </a:ln>
            <a:effectLst/>
          </p:spPr>
          <p:txBody>
            <a:bodyPr lIns="0" tIns="46800" rIns="0" bIns="46800" anchor="ctr"/>
            <a:lstStyle/>
            <a:p>
              <a:pPr algn="ctr"/>
              <a:r>
                <a:rPr lang="en-US" sz="1000" dirty="0" err="1"/>
                <a:t>Nov</a:t>
              </a:r>
              <a:endParaRPr lang="en-US" sz="1000" dirty="0"/>
            </a:p>
          </p:txBody>
        </p:sp>
        <p:sp>
          <p:nvSpPr>
            <p:cNvPr id="41" name="Rectangle 17"/>
            <p:cNvSpPr>
              <a:spLocks noChangeArrowheads="1"/>
            </p:cNvSpPr>
            <p:nvPr>
              <p:custDataLst>
                <p:tags r:id="rId12"/>
              </p:custDataLst>
            </p:nvPr>
          </p:nvSpPr>
          <p:spPr bwMode="gray">
            <a:xfrm>
              <a:off x="5674595" y="1554915"/>
              <a:ext cx="755650" cy="202819"/>
            </a:xfrm>
            <a:prstGeom prst="rect">
              <a:avLst/>
            </a:prstGeom>
            <a:solidFill>
              <a:schemeClr val="bg1"/>
            </a:solidFill>
            <a:ln w="9525" algn="ctr">
              <a:solidFill>
                <a:schemeClr val="bg1"/>
              </a:solidFill>
              <a:miter lim="800000"/>
              <a:headEnd/>
              <a:tailEnd/>
            </a:ln>
            <a:effectLst/>
          </p:spPr>
          <p:txBody>
            <a:bodyPr lIns="0" tIns="46800" rIns="0" bIns="46800" anchor="ctr"/>
            <a:lstStyle/>
            <a:p>
              <a:pPr algn="ctr"/>
              <a:r>
                <a:rPr lang="en-US" sz="1000" dirty="0" err="1"/>
                <a:t>Dec</a:t>
              </a:r>
              <a:endParaRPr lang="en-US" sz="1000" dirty="0"/>
            </a:p>
          </p:txBody>
        </p:sp>
        <p:sp>
          <p:nvSpPr>
            <p:cNvPr id="42" name="Rectangle 17"/>
            <p:cNvSpPr>
              <a:spLocks noChangeArrowheads="1"/>
            </p:cNvSpPr>
            <p:nvPr>
              <p:custDataLst>
                <p:tags r:id="rId13"/>
              </p:custDataLst>
            </p:nvPr>
          </p:nvSpPr>
          <p:spPr bwMode="gray">
            <a:xfrm>
              <a:off x="6433943" y="1554915"/>
              <a:ext cx="755650" cy="202819"/>
            </a:xfrm>
            <a:prstGeom prst="rect">
              <a:avLst/>
            </a:prstGeom>
            <a:solidFill>
              <a:schemeClr val="bg1"/>
            </a:solidFill>
            <a:ln w="9525" algn="ctr">
              <a:solidFill>
                <a:schemeClr val="bg1"/>
              </a:solidFill>
              <a:miter lim="800000"/>
              <a:headEnd/>
              <a:tailEnd/>
            </a:ln>
            <a:effectLst/>
          </p:spPr>
          <p:txBody>
            <a:bodyPr lIns="0" tIns="46800" rIns="0" bIns="46800" anchor="ctr"/>
            <a:lstStyle/>
            <a:p>
              <a:pPr algn="ctr"/>
              <a:r>
                <a:rPr lang="en-US" sz="1000" dirty="0" err="1"/>
                <a:t>Jan</a:t>
              </a:r>
              <a:endParaRPr lang="en-US" sz="1000" dirty="0"/>
            </a:p>
          </p:txBody>
        </p:sp>
        <p:sp>
          <p:nvSpPr>
            <p:cNvPr id="43" name="Rectangle 17"/>
            <p:cNvSpPr>
              <a:spLocks noChangeArrowheads="1"/>
            </p:cNvSpPr>
            <p:nvPr>
              <p:custDataLst>
                <p:tags r:id="rId14"/>
              </p:custDataLst>
            </p:nvPr>
          </p:nvSpPr>
          <p:spPr bwMode="gray">
            <a:xfrm>
              <a:off x="7193291" y="1554915"/>
              <a:ext cx="755650" cy="202819"/>
            </a:xfrm>
            <a:prstGeom prst="rect">
              <a:avLst/>
            </a:prstGeom>
            <a:solidFill>
              <a:schemeClr val="bg1"/>
            </a:solidFill>
            <a:ln w="9525" algn="ctr">
              <a:solidFill>
                <a:schemeClr val="bg1"/>
              </a:solidFill>
              <a:miter lim="800000"/>
              <a:headEnd/>
              <a:tailEnd/>
            </a:ln>
            <a:effectLst/>
          </p:spPr>
          <p:txBody>
            <a:bodyPr lIns="0" tIns="46800" rIns="0" bIns="46800" anchor="ctr"/>
            <a:lstStyle/>
            <a:p>
              <a:pPr algn="ctr"/>
              <a:r>
                <a:rPr lang="en-US" sz="1000" dirty="0"/>
                <a:t>Feb</a:t>
              </a:r>
            </a:p>
          </p:txBody>
        </p:sp>
        <p:sp>
          <p:nvSpPr>
            <p:cNvPr id="44" name="Rectangle 17"/>
            <p:cNvSpPr>
              <a:spLocks noChangeArrowheads="1"/>
            </p:cNvSpPr>
            <p:nvPr>
              <p:custDataLst>
                <p:tags r:id="rId15"/>
              </p:custDataLst>
            </p:nvPr>
          </p:nvSpPr>
          <p:spPr bwMode="gray">
            <a:xfrm>
              <a:off x="7952639" y="1554915"/>
              <a:ext cx="755650" cy="202819"/>
            </a:xfrm>
            <a:prstGeom prst="rect">
              <a:avLst/>
            </a:prstGeom>
            <a:solidFill>
              <a:schemeClr val="bg1"/>
            </a:solidFill>
            <a:ln w="9525" algn="ctr">
              <a:solidFill>
                <a:schemeClr val="bg1"/>
              </a:solidFill>
              <a:miter lim="800000"/>
              <a:headEnd/>
              <a:tailEnd/>
            </a:ln>
            <a:effectLst/>
          </p:spPr>
          <p:txBody>
            <a:bodyPr lIns="0" tIns="46800" rIns="0" bIns="46800" anchor="ctr"/>
            <a:lstStyle/>
            <a:p>
              <a:pPr algn="ctr"/>
              <a:r>
                <a:rPr lang="en-US" sz="1000" dirty="0"/>
                <a:t>March</a:t>
              </a:r>
            </a:p>
          </p:txBody>
        </p:sp>
        <p:sp>
          <p:nvSpPr>
            <p:cNvPr id="45" name="Rectangle 17"/>
            <p:cNvSpPr>
              <a:spLocks noChangeArrowheads="1"/>
            </p:cNvSpPr>
            <p:nvPr>
              <p:custDataLst>
                <p:tags r:id="rId16"/>
              </p:custDataLst>
            </p:nvPr>
          </p:nvSpPr>
          <p:spPr bwMode="gray">
            <a:xfrm>
              <a:off x="8711987" y="1554915"/>
              <a:ext cx="755650" cy="202819"/>
            </a:xfrm>
            <a:prstGeom prst="rect">
              <a:avLst/>
            </a:prstGeom>
            <a:solidFill>
              <a:schemeClr val="bg1"/>
            </a:solidFill>
            <a:ln w="9525" algn="ctr">
              <a:solidFill>
                <a:schemeClr val="bg1"/>
              </a:solidFill>
              <a:miter lim="800000"/>
              <a:headEnd/>
              <a:tailEnd/>
            </a:ln>
            <a:effectLst/>
          </p:spPr>
          <p:txBody>
            <a:bodyPr lIns="0" tIns="46800" rIns="0" bIns="46800" anchor="ctr"/>
            <a:lstStyle/>
            <a:p>
              <a:pPr algn="ctr"/>
              <a:r>
                <a:rPr lang="en-US" sz="1000" dirty="0"/>
                <a:t>April</a:t>
              </a:r>
            </a:p>
          </p:txBody>
        </p:sp>
        <p:sp>
          <p:nvSpPr>
            <p:cNvPr id="46" name="Rectangle 17"/>
            <p:cNvSpPr>
              <a:spLocks noChangeArrowheads="1"/>
            </p:cNvSpPr>
            <p:nvPr>
              <p:custDataLst>
                <p:tags r:id="rId17"/>
              </p:custDataLst>
            </p:nvPr>
          </p:nvSpPr>
          <p:spPr bwMode="gray">
            <a:xfrm>
              <a:off x="9471336" y="1554915"/>
              <a:ext cx="755650" cy="202819"/>
            </a:xfrm>
            <a:prstGeom prst="rect">
              <a:avLst/>
            </a:prstGeom>
            <a:solidFill>
              <a:schemeClr val="bg1"/>
            </a:solidFill>
            <a:ln w="9525" algn="ctr">
              <a:solidFill>
                <a:schemeClr val="bg1"/>
              </a:solidFill>
              <a:miter lim="800000"/>
              <a:headEnd/>
              <a:tailEnd/>
            </a:ln>
            <a:effectLst/>
          </p:spPr>
          <p:txBody>
            <a:bodyPr lIns="0" tIns="46800" rIns="0" bIns="46800" anchor="ctr"/>
            <a:lstStyle/>
            <a:p>
              <a:pPr algn="ctr"/>
              <a:r>
                <a:rPr lang="en-US" sz="1000" dirty="0"/>
                <a:t>May</a:t>
              </a:r>
            </a:p>
          </p:txBody>
        </p:sp>
        <p:cxnSp>
          <p:nvCxnSpPr>
            <p:cNvPr id="5" name="Straight Connector 4"/>
            <p:cNvCxnSpPr>
              <a:stCxn id="38" idx="1"/>
            </p:cNvCxnSpPr>
            <p:nvPr/>
          </p:nvCxnSpPr>
          <p:spPr>
            <a:xfrm>
              <a:off x="4169636" y="15785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915247" y="15218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670897" y="15218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430244" y="15218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189593" y="15218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948941" y="15218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8708289" y="15218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9467637" y="15218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0226986" y="1521825"/>
              <a:ext cx="0" cy="4522387"/>
            </a:xfrm>
            <a:prstGeom prst="line">
              <a:avLst/>
            </a:prstGeom>
            <a:ln>
              <a:solidFill>
                <a:schemeClr val="tx2"/>
              </a:solidFill>
              <a:prstDash val="dot"/>
            </a:ln>
          </p:spPr>
          <p:style>
            <a:lnRef idx="1">
              <a:schemeClr val="accent1"/>
            </a:lnRef>
            <a:fillRef idx="0">
              <a:schemeClr val="accent1"/>
            </a:fillRef>
            <a:effectRef idx="0">
              <a:schemeClr val="accent1"/>
            </a:effectRef>
            <a:fontRef idx="minor">
              <a:schemeClr val="tx1"/>
            </a:fontRef>
          </p:style>
        </p:cxnSp>
        <p:sp>
          <p:nvSpPr>
            <p:cNvPr id="70" name="Rectangle 46"/>
            <p:cNvSpPr>
              <a:spLocks noChangeArrowheads="1"/>
            </p:cNvSpPr>
            <p:nvPr>
              <p:custDataLst>
                <p:tags r:id="rId18"/>
              </p:custDataLst>
            </p:nvPr>
          </p:nvSpPr>
          <p:spPr bwMode="gray">
            <a:xfrm>
              <a:off x="2032001" y="2754336"/>
              <a:ext cx="2123899" cy="290576"/>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71" name="Rectangle 46"/>
            <p:cNvSpPr>
              <a:spLocks noChangeArrowheads="1"/>
            </p:cNvSpPr>
            <p:nvPr>
              <p:custDataLst>
                <p:tags r:id="rId19"/>
              </p:custDataLst>
            </p:nvPr>
          </p:nvSpPr>
          <p:spPr bwMode="gray">
            <a:xfrm>
              <a:off x="2032003" y="3069361"/>
              <a:ext cx="2123896" cy="290576"/>
            </a:xfrm>
            <a:prstGeom prst="rect">
              <a:avLst/>
            </a:prstGeom>
            <a:noFill/>
            <a:ln w="9525" algn="ctr">
              <a:noFill/>
              <a:miter lim="800000"/>
              <a:headEnd/>
              <a:tailEnd/>
            </a:ln>
            <a:effectLst/>
          </p:spPr>
          <p:txBody>
            <a:bodyPr lIns="101600" tIns="46800" rIns="38100" bIns="46800" anchor="ctr"/>
            <a:lstStyle/>
            <a:p>
              <a:r>
                <a:rPr lang="en-US" sz="1000" dirty="0">
                  <a:solidFill>
                    <a:srgbClr val="535353"/>
                  </a:solidFill>
                </a:rPr>
                <a:t>Line</a:t>
              </a:r>
              <a:endParaRPr lang="en-US" sz="1000" cap="all" dirty="0">
                <a:solidFill>
                  <a:srgbClr val="535353"/>
                </a:solidFill>
              </a:endParaRPr>
            </a:p>
          </p:txBody>
        </p:sp>
        <p:sp>
          <p:nvSpPr>
            <p:cNvPr id="72" name="Rectangle 46"/>
            <p:cNvSpPr>
              <a:spLocks noChangeArrowheads="1"/>
            </p:cNvSpPr>
            <p:nvPr>
              <p:custDataLst>
                <p:tags r:id="rId20"/>
              </p:custDataLst>
            </p:nvPr>
          </p:nvSpPr>
          <p:spPr bwMode="gray">
            <a:xfrm>
              <a:off x="2032001" y="3648038"/>
              <a:ext cx="2123899" cy="290576"/>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73" name="Rectangle 46"/>
            <p:cNvSpPr>
              <a:spLocks noChangeArrowheads="1"/>
            </p:cNvSpPr>
            <p:nvPr>
              <p:custDataLst>
                <p:tags r:id="rId21"/>
              </p:custDataLst>
            </p:nvPr>
          </p:nvSpPr>
          <p:spPr bwMode="gray">
            <a:xfrm>
              <a:off x="2032001" y="3959341"/>
              <a:ext cx="2123899" cy="290576"/>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74" name="Rectangle 46"/>
            <p:cNvSpPr>
              <a:spLocks noChangeArrowheads="1"/>
            </p:cNvSpPr>
            <p:nvPr>
              <p:custDataLst>
                <p:tags r:id="rId22"/>
              </p:custDataLst>
            </p:nvPr>
          </p:nvSpPr>
          <p:spPr bwMode="gray">
            <a:xfrm>
              <a:off x="2032003" y="3356839"/>
              <a:ext cx="2123896" cy="290576"/>
            </a:xfrm>
            <a:prstGeom prst="rect">
              <a:avLst/>
            </a:prstGeom>
            <a:noFill/>
            <a:ln w="9525" algn="ctr">
              <a:noFill/>
              <a:miter lim="800000"/>
              <a:headEnd/>
              <a:tailEnd/>
            </a:ln>
            <a:effectLst/>
          </p:spPr>
          <p:txBody>
            <a:bodyPr lIns="101600" tIns="46800" rIns="38100" bIns="46800" anchor="ctr"/>
            <a:lstStyle/>
            <a:p>
              <a:r>
                <a:rPr lang="en-US" sz="1000" dirty="0">
                  <a:solidFill>
                    <a:srgbClr val="535353"/>
                  </a:solidFill>
                </a:rPr>
                <a:t>Line</a:t>
              </a:r>
              <a:endParaRPr lang="en-US" sz="1000" cap="all" dirty="0">
                <a:solidFill>
                  <a:srgbClr val="535353"/>
                </a:solidFill>
              </a:endParaRPr>
            </a:p>
          </p:txBody>
        </p:sp>
        <p:sp>
          <p:nvSpPr>
            <p:cNvPr id="75" name="Rectangle 44"/>
            <p:cNvSpPr>
              <a:spLocks noChangeArrowheads="1"/>
            </p:cNvSpPr>
            <p:nvPr>
              <p:custDataLst>
                <p:tags r:id="rId23"/>
              </p:custDataLst>
            </p:nvPr>
          </p:nvSpPr>
          <p:spPr bwMode="gray">
            <a:xfrm>
              <a:off x="2032003" y="4250539"/>
              <a:ext cx="2137633" cy="290576"/>
            </a:xfrm>
            <a:prstGeom prst="rect">
              <a:avLst/>
            </a:prstGeom>
            <a:noFill/>
            <a:ln w="9525" algn="ctr">
              <a:noFill/>
              <a:miter lim="800000"/>
              <a:headEnd/>
              <a:tailEnd/>
            </a:ln>
            <a:effectLst/>
          </p:spPr>
          <p:txBody>
            <a:bodyPr lIns="101600" tIns="46800" rIns="90000" bIns="46800" anchor="ctr"/>
            <a:lstStyle/>
            <a:p>
              <a:r>
                <a:rPr lang="en-US" sz="1200" dirty="0">
                  <a:solidFill>
                    <a:schemeClr val="accent2"/>
                  </a:solidFill>
                  <a:latin typeface="+mj-lt"/>
                </a:rPr>
                <a:t>Category </a:t>
              </a:r>
            </a:p>
          </p:txBody>
        </p:sp>
        <p:sp>
          <p:nvSpPr>
            <p:cNvPr id="76" name="Rectangle 46"/>
            <p:cNvSpPr>
              <a:spLocks noChangeArrowheads="1"/>
            </p:cNvSpPr>
            <p:nvPr>
              <p:custDataLst>
                <p:tags r:id="rId24"/>
              </p:custDataLst>
            </p:nvPr>
          </p:nvSpPr>
          <p:spPr bwMode="gray">
            <a:xfrm>
              <a:off x="2032003" y="4551040"/>
              <a:ext cx="2123896" cy="290576"/>
            </a:xfrm>
            <a:prstGeom prst="rect">
              <a:avLst/>
            </a:prstGeom>
            <a:noFill/>
            <a:ln w="9525" algn="ctr">
              <a:noFill/>
              <a:miter lim="800000"/>
              <a:headEnd/>
              <a:tailEnd/>
            </a:ln>
            <a:effectLst/>
          </p:spPr>
          <p:txBody>
            <a:bodyPr lIns="101600" tIns="46800" rIns="38100" bIns="46800" anchor="ctr"/>
            <a:lstStyle/>
            <a:p>
              <a:r>
                <a:rPr lang="en-US" sz="1000" dirty="0">
                  <a:solidFill>
                    <a:srgbClr val="535353"/>
                  </a:solidFill>
                </a:rPr>
                <a:t>Line</a:t>
              </a:r>
              <a:endParaRPr lang="en-US" sz="1000" cap="all" dirty="0">
                <a:solidFill>
                  <a:srgbClr val="535353"/>
                </a:solidFill>
              </a:endParaRPr>
            </a:p>
          </p:txBody>
        </p:sp>
        <p:sp>
          <p:nvSpPr>
            <p:cNvPr id="77" name="Rectangle 46"/>
            <p:cNvSpPr>
              <a:spLocks noChangeArrowheads="1"/>
            </p:cNvSpPr>
            <p:nvPr>
              <p:custDataLst>
                <p:tags r:id="rId25"/>
              </p:custDataLst>
            </p:nvPr>
          </p:nvSpPr>
          <p:spPr bwMode="gray">
            <a:xfrm>
              <a:off x="2032001" y="4855976"/>
              <a:ext cx="2123899" cy="290576"/>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78" name="Rectangle 46"/>
            <p:cNvSpPr>
              <a:spLocks noChangeArrowheads="1"/>
            </p:cNvSpPr>
            <p:nvPr>
              <p:custDataLst>
                <p:tags r:id="rId26"/>
              </p:custDataLst>
            </p:nvPr>
          </p:nvSpPr>
          <p:spPr bwMode="gray">
            <a:xfrm>
              <a:off x="2032001" y="5167279"/>
              <a:ext cx="2123899" cy="290576"/>
            </a:xfrm>
            <a:prstGeom prst="rect">
              <a:avLst/>
            </a:prstGeom>
            <a:noFill/>
            <a:ln w="9525" algn="ctr">
              <a:noFill/>
              <a:miter lim="800000"/>
              <a:headEnd/>
              <a:tailEnd/>
            </a:ln>
            <a:effectLst/>
          </p:spPr>
          <p:txBody>
            <a:bodyPr lIns="101600" tIns="46800" rIns="90000" bIns="46800" anchor="ctr"/>
            <a:lstStyle/>
            <a:p>
              <a:r>
                <a:rPr lang="en-US" sz="1000" dirty="0">
                  <a:solidFill>
                    <a:srgbClr val="535353"/>
                  </a:solidFill>
                </a:rPr>
                <a:t>Line</a:t>
              </a:r>
              <a:endParaRPr lang="en-US" sz="1000" cap="all" dirty="0">
                <a:solidFill>
                  <a:srgbClr val="535353"/>
                </a:solidFill>
              </a:endParaRPr>
            </a:p>
          </p:txBody>
        </p:sp>
        <p:sp>
          <p:nvSpPr>
            <p:cNvPr id="79" name="Rectangle 46"/>
            <p:cNvSpPr>
              <a:spLocks noChangeArrowheads="1"/>
            </p:cNvSpPr>
            <p:nvPr>
              <p:custDataLst>
                <p:tags r:id="rId27"/>
              </p:custDataLst>
            </p:nvPr>
          </p:nvSpPr>
          <p:spPr bwMode="gray">
            <a:xfrm>
              <a:off x="2032003" y="5482304"/>
              <a:ext cx="2123896" cy="290576"/>
            </a:xfrm>
            <a:prstGeom prst="rect">
              <a:avLst/>
            </a:prstGeom>
            <a:noFill/>
            <a:ln w="9525" algn="ctr">
              <a:noFill/>
              <a:miter lim="800000"/>
              <a:headEnd/>
              <a:tailEnd/>
            </a:ln>
            <a:effectLst/>
          </p:spPr>
          <p:txBody>
            <a:bodyPr lIns="101600" tIns="46800" rIns="38100" bIns="46800" anchor="ctr"/>
            <a:lstStyle/>
            <a:p>
              <a:r>
                <a:rPr lang="en-US" sz="1000" dirty="0">
                  <a:solidFill>
                    <a:srgbClr val="535353"/>
                  </a:solidFill>
                </a:rPr>
                <a:t>Line</a:t>
              </a:r>
              <a:endParaRPr lang="en-US" sz="1000" cap="all" dirty="0">
                <a:solidFill>
                  <a:srgbClr val="535353"/>
                </a:solidFill>
              </a:endParaRPr>
            </a:p>
          </p:txBody>
        </p:sp>
        <p:sp>
          <p:nvSpPr>
            <p:cNvPr id="82" name="Rectangle 46"/>
            <p:cNvSpPr>
              <a:spLocks noChangeArrowheads="1"/>
            </p:cNvSpPr>
            <p:nvPr>
              <p:custDataLst>
                <p:tags r:id="rId28"/>
              </p:custDataLst>
            </p:nvPr>
          </p:nvSpPr>
          <p:spPr bwMode="gray">
            <a:xfrm>
              <a:off x="2032003" y="5769782"/>
              <a:ext cx="2123896" cy="290576"/>
            </a:xfrm>
            <a:prstGeom prst="rect">
              <a:avLst/>
            </a:prstGeom>
            <a:noFill/>
            <a:ln w="9525" algn="ctr">
              <a:noFill/>
              <a:miter lim="800000"/>
              <a:headEnd/>
              <a:tailEnd/>
            </a:ln>
            <a:effectLst/>
          </p:spPr>
          <p:txBody>
            <a:bodyPr lIns="101600" tIns="46800" rIns="38100" bIns="46800" anchor="ctr"/>
            <a:lstStyle/>
            <a:p>
              <a:r>
                <a:rPr lang="en-US" sz="1000" dirty="0">
                  <a:solidFill>
                    <a:srgbClr val="535353"/>
                  </a:solidFill>
                </a:rPr>
                <a:t>Line</a:t>
              </a:r>
              <a:endParaRPr lang="en-US" sz="1000" cap="all" dirty="0">
                <a:solidFill>
                  <a:srgbClr val="535353"/>
                </a:solidFill>
              </a:endParaRPr>
            </a:p>
          </p:txBody>
        </p:sp>
        <p:sp>
          <p:nvSpPr>
            <p:cNvPr id="83" name="Rectangle 62"/>
            <p:cNvSpPr>
              <a:spLocks noChangeArrowheads="1"/>
            </p:cNvSpPr>
            <p:nvPr>
              <p:custDataLst>
                <p:tags r:id="rId29"/>
              </p:custDataLst>
            </p:nvPr>
          </p:nvSpPr>
          <p:spPr bwMode="gray">
            <a:xfrm>
              <a:off x="4235673" y="2539320"/>
              <a:ext cx="2198271" cy="127000"/>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84" name="Rectangle 62"/>
            <p:cNvSpPr>
              <a:spLocks noChangeArrowheads="1"/>
            </p:cNvSpPr>
            <p:nvPr>
              <p:custDataLst>
                <p:tags r:id="rId30"/>
              </p:custDataLst>
            </p:nvPr>
          </p:nvSpPr>
          <p:spPr bwMode="gray">
            <a:xfrm>
              <a:off x="6430244" y="3151149"/>
              <a:ext cx="3041092" cy="127000"/>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85" name="Rectangle 62"/>
            <p:cNvSpPr>
              <a:spLocks noChangeArrowheads="1"/>
            </p:cNvSpPr>
            <p:nvPr>
              <p:custDataLst>
                <p:tags r:id="rId31"/>
              </p:custDataLst>
            </p:nvPr>
          </p:nvSpPr>
          <p:spPr bwMode="gray">
            <a:xfrm>
              <a:off x="6430244" y="4632828"/>
              <a:ext cx="3041092" cy="127000"/>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sp>
          <p:nvSpPr>
            <p:cNvPr id="86" name="Rectangle 62"/>
            <p:cNvSpPr>
              <a:spLocks noChangeArrowheads="1"/>
            </p:cNvSpPr>
            <p:nvPr>
              <p:custDataLst>
                <p:tags r:id="rId32"/>
              </p:custDataLst>
            </p:nvPr>
          </p:nvSpPr>
          <p:spPr bwMode="gray">
            <a:xfrm>
              <a:off x="7948941" y="4937764"/>
              <a:ext cx="1522395" cy="127000"/>
            </a:xfrm>
            <a:prstGeom prst="rect">
              <a:avLst/>
            </a:prstGeom>
            <a:solidFill>
              <a:schemeClr val="accent1"/>
            </a:solidFill>
            <a:ln w="9525" algn="ctr">
              <a:noFill/>
              <a:miter lim="800000"/>
              <a:headEnd/>
              <a:tailEnd/>
            </a:ln>
            <a:effectLst/>
          </p:spPr>
          <p:txBody>
            <a:bodyPr wrap="none" lIns="90000" tIns="46800" rIns="90000" bIns="46800" anchor="ctr"/>
            <a:lstStyle/>
            <a:p>
              <a:endParaRPr lang="en-US" sz="1200" cap="all">
                <a:solidFill>
                  <a:srgbClr val="595959"/>
                </a:solidFill>
              </a:endParaRPr>
            </a:p>
          </p:txBody>
        </p:sp>
      </p:grpSp>
    </p:spTree>
    <p:extLst>
      <p:ext uri="{BB962C8B-B14F-4D97-AF65-F5344CB8AC3E}">
        <p14:creationId xmlns:p14="http://schemas.microsoft.com/office/powerpoint/2010/main" val="336460641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2</a:t>
            </a:fld>
            <a:endParaRPr lang="en-GB" dirty="0"/>
          </a:p>
        </p:txBody>
      </p:sp>
      <p:grpSp>
        <p:nvGrpSpPr>
          <p:cNvPr id="4" name="Group 3"/>
          <p:cNvGrpSpPr/>
          <p:nvPr/>
        </p:nvGrpSpPr>
        <p:grpSpPr>
          <a:xfrm>
            <a:off x="508000" y="1522496"/>
            <a:ext cx="11171238" cy="4837029"/>
            <a:chOff x="2032000" y="1204996"/>
            <a:chExt cx="8128001" cy="4754247"/>
          </a:xfrm>
        </p:grpSpPr>
        <p:sp>
          <p:nvSpPr>
            <p:cNvPr id="28" name="TextBox 27"/>
            <p:cNvSpPr txBox="1"/>
            <p:nvPr/>
          </p:nvSpPr>
          <p:spPr>
            <a:xfrm>
              <a:off x="6184361" y="1524000"/>
              <a:ext cx="3975640" cy="19265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p:txBody>
        </p:sp>
        <p:sp>
          <p:nvSpPr>
            <p:cNvPr id="13" name="TextBox 12"/>
            <p:cNvSpPr txBox="1"/>
            <p:nvPr/>
          </p:nvSpPr>
          <p:spPr>
            <a:xfrm>
              <a:off x="2032000" y="4032647"/>
              <a:ext cx="3979105" cy="19265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p:txBody>
        </p:sp>
        <p:sp>
          <p:nvSpPr>
            <p:cNvPr id="15" name="TextBox 14"/>
            <p:cNvSpPr txBox="1"/>
            <p:nvPr/>
          </p:nvSpPr>
          <p:spPr>
            <a:xfrm>
              <a:off x="6184361" y="4032647"/>
              <a:ext cx="3975640" cy="19265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p:txBody>
        </p:sp>
        <p:sp>
          <p:nvSpPr>
            <p:cNvPr id="18" name="TextBox 17"/>
            <p:cNvSpPr txBox="1"/>
            <p:nvPr/>
          </p:nvSpPr>
          <p:spPr>
            <a:xfrm>
              <a:off x="2032000" y="1522496"/>
              <a:ext cx="3979104" cy="1928100"/>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p:txBody>
        </p:sp>
        <p:sp>
          <p:nvSpPr>
            <p:cNvPr id="5" name="TextBox 4"/>
            <p:cNvSpPr txBox="1"/>
            <p:nvPr/>
          </p:nvSpPr>
          <p:spPr>
            <a:xfrm>
              <a:off x="2032000" y="1204996"/>
              <a:ext cx="3979104"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sp>
          <p:nvSpPr>
            <p:cNvPr id="27" name="TextBox 26"/>
            <p:cNvSpPr txBox="1"/>
            <p:nvPr/>
          </p:nvSpPr>
          <p:spPr>
            <a:xfrm>
              <a:off x="6184359" y="1204996"/>
              <a:ext cx="3975641"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sp>
          <p:nvSpPr>
            <p:cNvPr id="12" name="TextBox 11"/>
            <p:cNvSpPr txBox="1"/>
            <p:nvPr/>
          </p:nvSpPr>
          <p:spPr>
            <a:xfrm>
              <a:off x="2032000" y="3723393"/>
              <a:ext cx="3979104"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sp>
          <p:nvSpPr>
            <p:cNvPr id="14" name="TextBox 13"/>
            <p:cNvSpPr txBox="1"/>
            <p:nvPr/>
          </p:nvSpPr>
          <p:spPr>
            <a:xfrm>
              <a:off x="6184359" y="3723393"/>
              <a:ext cx="3975641"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grpSp>
    </p:spTree>
    <p:extLst>
      <p:ext uri="{BB962C8B-B14F-4D97-AF65-F5344CB8AC3E}">
        <p14:creationId xmlns:p14="http://schemas.microsoft.com/office/powerpoint/2010/main" val="1040911635"/>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1" name="Rectangle 139"/>
          <p:cNvSpPr>
            <a:spLocks noGrp="1"/>
          </p:cNvSpPr>
          <p:nvPr>
            <p:ph type="title"/>
            <p:custDataLst>
              <p:tags r:id="rId1"/>
            </p:custDataLst>
          </p:nvPr>
        </p:nvSpPr>
        <p:spPr/>
        <p:txBody>
          <a:bodyPr/>
          <a:lstStyle/>
          <a:p>
            <a:r>
              <a:rPr lang="en-GB" dirty="0"/>
              <a:t>Gantt project diagram</a:t>
            </a:r>
          </a:p>
        </p:txBody>
      </p:sp>
      <p:grpSp>
        <p:nvGrpSpPr>
          <p:cNvPr id="2" name="Group 1"/>
          <p:cNvGrpSpPr/>
          <p:nvPr/>
        </p:nvGrpSpPr>
        <p:grpSpPr>
          <a:xfrm>
            <a:off x="508001" y="1528763"/>
            <a:ext cx="11171238" cy="4830762"/>
            <a:chOff x="361951" y="1478280"/>
            <a:chExt cx="8424863" cy="4718686"/>
          </a:xfrm>
        </p:grpSpPr>
        <p:sp>
          <p:nvSpPr>
            <p:cNvPr id="72" name="Rectangle 143"/>
            <p:cNvSpPr>
              <a:spLocks noChangeArrowheads="1"/>
            </p:cNvSpPr>
            <p:nvPr>
              <p:custDataLst>
                <p:tags r:id="rId2"/>
              </p:custDataLst>
            </p:nvPr>
          </p:nvSpPr>
          <p:spPr bwMode="gray">
            <a:xfrm>
              <a:off x="2197101" y="1478280"/>
              <a:ext cx="5210175" cy="382906"/>
            </a:xfrm>
            <a:prstGeom prst="rect">
              <a:avLst/>
            </a:prstGeom>
            <a:solidFill>
              <a:schemeClr val="accent1"/>
            </a:solidFill>
            <a:ln w="9525">
              <a:noFill/>
              <a:miter lim="800000"/>
              <a:headEnd/>
              <a:tailEnd/>
            </a:ln>
            <a:effectLst/>
          </p:spPr>
          <p:txBody>
            <a:bodyPr bIns="46800" anchor="ctr"/>
            <a:lstStyle/>
            <a:p>
              <a:pPr lvl="0">
                <a:defRPr/>
              </a:pPr>
              <a:r>
                <a:rPr lang="en-US" sz="1200" dirty="0"/>
                <a:t>Year</a:t>
              </a:r>
            </a:p>
          </p:txBody>
        </p:sp>
        <p:sp>
          <p:nvSpPr>
            <p:cNvPr id="73" name="Rectangle 144"/>
            <p:cNvSpPr>
              <a:spLocks noChangeArrowheads="1"/>
            </p:cNvSpPr>
            <p:nvPr>
              <p:custDataLst>
                <p:tags r:id="rId3"/>
              </p:custDataLst>
            </p:nvPr>
          </p:nvSpPr>
          <p:spPr bwMode="gray">
            <a:xfrm>
              <a:off x="7478713" y="1478280"/>
              <a:ext cx="1308100" cy="382906"/>
            </a:xfrm>
            <a:prstGeom prst="rect">
              <a:avLst/>
            </a:prstGeom>
            <a:solidFill>
              <a:schemeClr val="accent1"/>
            </a:solidFill>
            <a:ln w="9525">
              <a:noFill/>
              <a:miter lim="800000"/>
              <a:headEnd/>
              <a:tailEnd/>
            </a:ln>
            <a:effectLst/>
          </p:spPr>
          <p:txBody>
            <a:bodyPr bIns="46800" anchor="ctr"/>
            <a:lstStyle/>
            <a:p>
              <a:pPr lvl="0">
                <a:defRPr/>
              </a:pPr>
              <a:r>
                <a:rPr lang="en-US" sz="1200" dirty="0"/>
                <a:t>Year</a:t>
              </a:r>
            </a:p>
          </p:txBody>
        </p:sp>
        <p:sp>
          <p:nvSpPr>
            <p:cNvPr id="74" name="Rectangle 145"/>
            <p:cNvSpPr>
              <a:spLocks noChangeArrowheads="1"/>
            </p:cNvSpPr>
            <p:nvPr>
              <p:custDataLst>
                <p:tags r:id="rId4"/>
              </p:custDataLst>
            </p:nvPr>
          </p:nvSpPr>
          <p:spPr bwMode="gray">
            <a:xfrm>
              <a:off x="2197101" y="1920240"/>
              <a:ext cx="417513" cy="295276"/>
            </a:xfrm>
            <a:prstGeom prst="rect">
              <a:avLst/>
            </a:prstGeom>
            <a:solidFill>
              <a:schemeClr val="bg1">
                <a:lumMod val="95000"/>
              </a:schemeClr>
            </a:solidFill>
            <a:ln w="9525" algn="ctr">
              <a:solidFill>
                <a:schemeClr val="bg1"/>
              </a:solidFill>
              <a:miter lim="800000"/>
              <a:headEnd/>
              <a:tailEnd/>
            </a:ln>
            <a:effectLst/>
          </p:spPr>
          <p:txBody>
            <a:bodyPr lIns="0" tIns="46800" rIns="0" bIns="46800" anchor="ctr"/>
            <a:lstStyle/>
            <a:p>
              <a:pPr lvl="0" algn="ctr">
                <a:defRPr/>
              </a:pPr>
              <a:r>
                <a:rPr lang="en-US" sz="1200" dirty="0"/>
                <a:t>Jan</a:t>
              </a:r>
            </a:p>
          </p:txBody>
        </p:sp>
        <p:sp>
          <p:nvSpPr>
            <p:cNvPr id="75" name="Rectangle 146"/>
            <p:cNvSpPr>
              <a:spLocks noChangeArrowheads="1"/>
            </p:cNvSpPr>
            <p:nvPr>
              <p:custDataLst>
                <p:tags r:id="rId5"/>
              </p:custDataLst>
            </p:nvPr>
          </p:nvSpPr>
          <p:spPr bwMode="gray">
            <a:xfrm>
              <a:off x="2613026" y="1920240"/>
              <a:ext cx="436563" cy="295276"/>
            </a:xfrm>
            <a:prstGeom prst="rect">
              <a:avLst/>
            </a:prstGeom>
            <a:solidFill>
              <a:schemeClr val="bg1"/>
            </a:solidFill>
            <a:ln w="9525" algn="ctr">
              <a:solidFill>
                <a:schemeClr val="bg1"/>
              </a:solidFill>
              <a:miter lim="800000"/>
              <a:headEnd/>
              <a:tailEnd/>
            </a:ln>
            <a:effectLst/>
          </p:spPr>
          <p:txBody>
            <a:bodyPr lIns="0" tIns="46800" rIns="0" bIns="46800" anchor="ctr"/>
            <a:lstStyle/>
            <a:p>
              <a:pPr lvl="0" algn="ctr">
                <a:defRPr/>
              </a:pPr>
              <a:r>
                <a:rPr lang="en-US" sz="1200" dirty="0"/>
                <a:t>Feb</a:t>
              </a:r>
            </a:p>
          </p:txBody>
        </p:sp>
        <p:sp>
          <p:nvSpPr>
            <p:cNvPr id="76" name="Rectangle 147"/>
            <p:cNvSpPr>
              <a:spLocks noChangeArrowheads="1"/>
            </p:cNvSpPr>
            <p:nvPr>
              <p:custDataLst>
                <p:tags r:id="rId6"/>
              </p:custDataLst>
            </p:nvPr>
          </p:nvSpPr>
          <p:spPr bwMode="gray">
            <a:xfrm>
              <a:off x="3048000" y="1920240"/>
              <a:ext cx="438150" cy="295276"/>
            </a:xfrm>
            <a:prstGeom prst="rect">
              <a:avLst/>
            </a:prstGeom>
            <a:solidFill>
              <a:schemeClr val="bg1">
                <a:lumMod val="95000"/>
              </a:schemeClr>
            </a:solidFill>
            <a:ln w="9525" algn="ctr">
              <a:solidFill>
                <a:schemeClr val="bg1"/>
              </a:solidFill>
              <a:miter lim="800000"/>
              <a:headEnd/>
              <a:tailEnd/>
            </a:ln>
            <a:effectLst/>
          </p:spPr>
          <p:txBody>
            <a:bodyPr lIns="0" tIns="46800" rIns="0" bIns="46800" anchor="ctr"/>
            <a:lstStyle/>
            <a:p>
              <a:pPr lvl="0" algn="ctr">
                <a:defRPr/>
              </a:pPr>
              <a:r>
                <a:rPr lang="en-US" sz="1200" dirty="0"/>
                <a:t>Mar</a:t>
              </a:r>
            </a:p>
          </p:txBody>
        </p:sp>
        <p:sp>
          <p:nvSpPr>
            <p:cNvPr id="77" name="Rectangle 148"/>
            <p:cNvSpPr>
              <a:spLocks noChangeArrowheads="1"/>
            </p:cNvSpPr>
            <p:nvPr>
              <p:custDataLst>
                <p:tags r:id="rId7"/>
              </p:custDataLst>
            </p:nvPr>
          </p:nvSpPr>
          <p:spPr bwMode="gray">
            <a:xfrm>
              <a:off x="3486151" y="1920240"/>
              <a:ext cx="434975" cy="295276"/>
            </a:xfrm>
            <a:prstGeom prst="rect">
              <a:avLst/>
            </a:prstGeom>
            <a:solidFill>
              <a:schemeClr val="bg1"/>
            </a:solidFill>
            <a:ln w="9525" algn="ctr">
              <a:solidFill>
                <a:schemeClr val="bg1"/>
              </a:solidFill>
              <a:miter lim="800000"/>
              <a:headEnd/>
              <a:tailEnd/>
            </a:ln>
            <a:effectLst/>
          </p:spPr>
          <p:txBody>
            <a:bodyPr lIns="0" tIns="46800" rIns="0" bIns="46800" anchor="ctr"/>
            <a:lstStyle/>
            <a:p>
              <a:pPr lvl="0" algn="ctr">
                <a:defRPr/>
              </a:pPr>
              <a:r>
                <a:rPr lang="en-US" sz="1200" dirty="0"/>
                <a:t>Apr</a:t>
              </a:r>
            </a:p>
          </p:txBody>
        </p:sp>
        <p:sp>
          <p:nvSpPr>
            <p:cNvPr id="78" name="Rectangle 149"/>
            <p:cNvSpPr>
              <a:spLocks noChangeArrowheads="1"/>
            </p:cNvSpPr>
            <p:nvPr>
              <p:custDataLst>
                <p:tags r:id="rId8"/>
              </p:custDataLst>
            </p:nvPr>
          </p:nvSpPr>
          <p:spPr bwMode="gray">
            <a:xfrm>
              <a:off x="3921126" y="1920240"/>
              <a:ext cx="436563" cy="295276"/>
            </a:xfrm>
            <a:prstGeom prst="rect">
              <a:avLst/>
            </a:prstGeom>
            <a:solidFill>
              <a:schemeClr val="bg1">
                <a:lumMod val="95000"/>
              </a:schemeClr>
            </a:solidFill>
            <a:ln w="9525" algn="ctr">
              <a:solidFill>
                <a:schemeClr val="bg1"/>
              </a:solidFill>
              <a:miter lim="800000"/>
              <a:headEnd/>
              <a:tailEnd/>
            </a:ln>
            <a:effectLst/>
          </p:spPr>
          <p:txBody>
            <a:bodyPr lIns="0" tIns="46800" rIns="0" bIns="46800" anchor="ctr"/>
            <a:lstStyle/>
            <a:p>
              <a:pPr lvl="0" algn="ctr">
                <a:defRPr/>
              </a:pPr>
              <a:r>
                <a:rPr lang="en-US" sz="1200" dirty="0"/>
                <a:t>May</a:t>
              </a:r>
            </a:p>
          </p:txBody>
        </p:sp>
        <p:sp>
          <p:nvSpPr>
            <p:cNvPr id="79" name="Rectangle 150"/>
            <p:cNvSpPr>
              <a:spLocks noChangeArrowheads="1"/>
            </p:cNvSpPr>
            <p:nvPr>
              <p:custDataLst>
                <p:tags r:id="rId9"/>
              </p:custDataLst>
            </p:nvPr>
          </p:nvSpPr>
          <p:spPr bwMode="gray">
            <a:xfrm>
              <a:off x="4356100" y="1920240"/>
              <a:ext cx="438150" cy="295276"/>
            </a:xfrm>
            <a:prstGeom prst="rect">
              <a:avLst/>
            </a:prstGeom>
            <a:solidFill>
              <a:schemeClr val="bg1"/>
            </a:solidFill>
            <a:ln w="9525" algn="ctr">
              <a:solidFill>
                <a:schemeClr val="bg1"/>
              </a:solidFill>
              <a:miter lim="800000"/>
              <a:headEnd/>
              <a:tailEnd/>
            </a:ln>
            <a:effectLst/>
          </p:spPr>
          <p:txBody>
            <a:bodyPr lIns="0" tIns="46800" rIns="0" bIns="46800" anchor="ctr"/>
            <a:lstStyle/>
            <a:p>
              <a:pPr lvl="0" algn="ctr">
                <a:defRPr/>
              </a:pPr>
              <a:r>
                <a:rPr lang="en-US" sz="1200" dirty="0"/>
                <a:t>Jun</a:t>
              </a:r>
            </a:p>
          </p:txBody>
        </p:sp>
        <p:sp>
          <p:nvSpPr>
            <p:cNvPr id="80" name="Rectangle 151"/>
            <p:cNvSpPr>
              <a:spLocks noChangeArrowheads="1"/>
            </p:cNvSpPr>
            <p:nvPr>
              <p:custDataLst>
                <p:tags r:id="rId10"/>
              </p:custDataLst>
            </p:nvPr>
          </p:nvSpPr>
          <p:spPr bwMode="gray">
            <a:xfrm>
              <a:off x="4791076" y="1920240"/>
              <a:ext cx="436563" cy="295276"/>
            </a:xfrm>
            <a:prstGeom prst="rect">
              <a:avLst/>
            </a:prstGeom>
            <a:solidFill>
              <a:schemeClr val="bg1">
                <a:lumMod val="95000"/>
              </a:schemeClr>
            </a:solidFill>
            <a:ln w="9525" algn="ctr">
              <a:solidFill>
                <a:schemeClr val="bg1"/>
              </a:solidFill>
              <a:miter lim="800000"/>
              <a:headEnd/>
              <a:tailEnd/>
            </a:ln>
            <a:effectLst/>
          </p:spPr>
          <p:txBody>
            <a:bodyPr lIns="0" tIns="46800" rIns="0" bIns="46800" anchor="ctr"/>
            <a:lstStyle/>
            <a:p>
              <a:pPr lvl="0" algn="ctr">
                <a:defRPr/>
              </a:pPr>
              <a:r>
                <a:rPr lang="en-US" sz="1200" dirty="0"/>
                <a:t>Jul</a:t>
              </a:r>
            </a:p>
          </p:txBody>
        </p:sp>
        <p:sp>
          <p:nvSpPr>
            <p:cNvPr id="81" name="Rectangle 152"/>
            <p:cNvSpPr>
              <a:spLocks noChangeArrowheads="1"/>
            </p:cNvSpPr>
            <p:nvPr>
              <p:custDataLst>
                <p:tags r:id="rId11"/>
              </p:custDataLst>
            </p:nvPr>
          </p:nvSpPr>
          <p:spPr bwMode="gray">
            <a:xfrm>
              <a:off x="5227638" y="1920240"/>
              <a:ext cx="436562" cy="295276"/>
            </a:xfrm>
            <a:prstGeom prst="rect">
              <a:avLst/>
            </a:prstGeom>
            <a:solidFill>
              <a:schemeClr val="bg1"/>
            </a:solidFill>
            <a:ln w="9525" algn="ctr">
              <a:solidFill>
                <a:schemeClr val="bg1"/>
              </a:solidFill>
              <a:miter lim="800000"/>
              <a:headEnd/>
              <a:tailEnd/>
            </a:ln>
            <a:effectLst/>
          </p:spPr>
          <p:txBody>
            <a:bodyPr lIns="0" tIns="46800" rIns="0" bIns="46800" anchor="ctr"/>
            <a:lstStyle/>
            <a:p>
              <a:pPr lvl="0" algn="ctr">
                <a:defRPr/>
              </a:pPr>
              <a:r>
                <a:rPr lang="en-US" sz="1200" dirty="0"/>
                <a:t>Aug</a:t>
              </a:r>
            </a:p>
          </p:txBody>
        </p:sp>
        <p:sp>
          <p:nvSpPr>
            <p:cNvPr id="82" name="Rectangle 153"/>
            <p:cNvSpPr>
              <a:spLocks noChangeArrowheads="1"/>
            </p:cNvSpPr>
            <p:nvPr>
              <p:custDataLst>
                <p:tags r:id="rId12"/>
              </p:custDataLst>
            </p:nvPr>
          </p:nvSpPr>
          <p:spPr bwMode="gray">
            <a:xfrm>
              <a:off x="5662613" y="1920240"/>
              <a:ext cx="438150" cy="295276"/>
            </a:xfrm>
            <a:prstGeom prst="rect">
              <a:avLst/>
            </a:prstGeom>
            <a:solidFill>
              <a:schemeClr val="bg1">
                <a:lumMod val="95000"/>
              </a:schemeClr>
            </a:solidFill>
            <a:ln w="9525" algn="ctr">
              <a:solidFill>
                <a:schemeClr val="bg1"/>
              </a:solidFill>
              <a:miter lim="800000"/>
              <a:headEnd/>
              <a:tailEnd/>
            </a:ln>
            <a:effectLst/>
          </p:spPr>
          <p:txBody>
            <a:bodyPr lIns="0" tIns="46800" rIns="0" bIns="46800" anchor="ctr"/>
            <a:lstStyle/>
            <a:p>
              <a:pPr lvl="0" algn="ctr">
                <a:defRPr/>
              </a:pPr>
              <a:r>
                <a:rPr lang="en-US" sz="1200" dirty="0"/>
                <a:t>Sep</a:t>
              </a:r>
            </a:p>
          </p:txBody>
        </p:sp>
        <p:sp>
          <p:nvSpPr>
            <p:cNvPr id="83" name="Rectangle 154"/>
            <p:cNvSpPr>
              <a:spLocks noChangeArrowheads="1"/>
            </p:cNvSpPr>
            <p:nvPr>
              <p:custDataLst>
                <p:tags r:id="rId13"/>
              </p:custDataLst>
            </p:nvPr>
          </p:nvSpPr>
          <p:spPr bwMode="gray">
            <a:xfrm>
              <a:off x="6099176" y="1920240"/>
              <a:ext cx="436563" cy="295276"/>
            </a:xfrm>
            <a:prstGeom prst="rect">
              <a:avLst/>
            </a:prstGeom>
            <a:solidFill>
              <a:schemeClr val="bg1"/>
            </a:solidFill>
            <a:ln w="9525" algn="ctr">
              <a:solidFill>
                <a:schemeClr val="bg1"/>
              </a:solidFill>
              <a:miter lim="800000"/>
              <a:headEnd/>
              <a:tailEnd/>
            </a:ln>
            <a:effectLst/>
          </p:spPr>
          <p:txBody>
            <a:bodyPr lIns="0" tIns="46800" rIns="0" bIns="46800" anchor="ctr"/>
            <a:lstStyle/>
            <a:p>
              <a:pPr lvl="0" algn="ctr">
                <a:defRPr/>
              </a:pPr>
              <a:r>
                <a:rPr lang="en-US" sz="1200" dirty="0"/>
                <a:t>Oct</a:t>
              </a:r>
            </a:p>
          </p:txBody>
        </p:sp>
        <p:sp>
          <p:nvSpPr>
            <p:cNvPr id="84" name="Rectangle 155"/>
            <p:cNvSpPr>
              <a:spLocks noChangeArrowheads="1"/>
            </p:cNvSpPr>
            <p:nvPr>
              <p:custDataLst>
                <p:tags r:id="rId14"/>
              </p:custDataLst>
            </p:nvPr>
          </p:nvSpPr>
          <p:spPr bwMode="gray">
            <a:xfrm>
              <a:off x="6534151" y="1920240"/>
              <a:ext cx="436563" cy="295276"/>
            </a:xfrm>
            <a:prstGeom prst="rect">
              <a:avLst/>
            </a:prstGeom>
            <a:solidFill>
              <a:schemeClr val="bg1">
                <a:lumMod val="95000"/>
              </a:schemeClr>
            </a:solidFill>
            <a:ln w="9525" algn="ctr">
              <a:solidFill>
                <a:schemeClr val="bg1"/>
              </a:solidFill>
              <a:miter lim="800000"/>
              <a:headEnd/>
              <a:tailEnd/>
            </a:ln>
            <a:effectLst/>
          </p:spPr>
          <p:txBody>
            <a:bodyPr lIns="0" tIns="46800" rIns="0" bIns="46800" anchor="ctr"/>
            <a:lstStyle/>
            <a:p>
              <a:pPr lvl="0" algn="ctr">
                <a:defRPr/>
              </a:pPr>
              <a:r>
                <a:rPr lang="en-US" sz="1200" dirty="0"/>
                <a:t>Nov</a:t>
              </a:r>
            </a:p>
          </p:txBody>
        </p:sp>
        <p:sp>
          <p:nvSpPr>
            <p:cNvPr id="85" name="Rectangle 156"/>
            <p:cNvSpPr>
              <a:spLocks noChangeArrowheads="1"/>
            </p:cNvSpPr>
            <p:nvPr>
              <p:custDataLst>
                <p:tags r:id="rId15"/>
              </p:custDataLst>
            </p:nvPr>
          </p:nvSpPr>
          <p:spPr bwMode="gray">
            <a:xfrm>
              <a:off x="6969125" y="1920240"/>
              <a:ext cx="438150" cy="295276"/>
            </a:xfrm>
            <a:prstGeom prst="rect">
              <a:avLst/>
            </a:prstGeom>
            <a:solidFill>
              <a:schemeClr val="bg1"/>
            </a:solidFill>
            <a:ln w="9525" algn="ctr">
              <a:solidFill>
                <a:schemeClr val="bg1"/>
              </a:solidFill>
              <a:miter lim="800000"/>
              <a:headEnd/>
              <a:tailEnd/>
            </a:ln>
            <a:effectLst/>
          </p:spPr>
          <p:txBody>
            <a:bodyPr lIns="0" tIns="46800" rIns="0" bIns="46800" anchor="ctr"/>
            <a:lstStyle/>
            <a:p>
              <a:pPr lvl="0" algn="ctr">
                <a:defRPr/>
              </a:pPr>
              <a:r>
                <a:rPr lang="en-US" sz="1200" dirty="0"/>
                <a:t>Dec</a:t>
              </a:r>
            </a:p>
          </p:txBody>
        </p:sp>
        <p:sp>
          <p:nvSpPr>
            <p:cNvPr id="86" name="Rectangle 157"/>
            <p:cNvSpPr>
              <a:spLocks noChangeArrowheads="1"/>
            </p:cNvSpPr>
            <p:nvPr>
              <p:custDataLst>
                <p:tags r:id="rId16"/>
              </p:custDataLst>
            </p:nvPr>
          </p:nvSpPr>
          <p:spPr bwMode="gray">
            <a:xfrm>
              <a:off x="7478713" y="1920240"/>
              <a:ext cx="436562" cy="295276"/>
            </a:xfrm>
            <a:prstGeom prst="rect">
              <a:avLst/>
            </a:prstGeom>
            <a:solidFill>
              <a:schemeClr val="bg1">
                <a:lumMod val="95000"/>
              </a:schemeClr>
            </a:solidFill>
            <a:ln w="9525" algn="ctr">
              <a:solidFill>
                <a:schemeClr val="bg1"/>
              </a:solidFill>
              <a:miter lim="800000"/>
              <a:headEnd/>
              <a:tailEnd/>
            </a:ln>
            <a:effectLst/>
          </p:spPr>
          <p:txBody>
            <a:bodyPr lIns="0" tIns="46800" rIns="0" bIns="46800" anchor="ctr"/>
            <a:lstStyle/>
            <a:p>
              <a:pPr lvl="0" algn="ctr">
                <a:defRPr/>
              </a:pPr>
              <a:r>
                <a:rPr lang="en-US" sz="1200" dirty="0"/>
                <a:t>Jan</a:t>
              </a:r>
            </a:p>
          </p:txBody>
        </p:sp>
        <p:sp>
          <p:nvSpPr>
            <p:cNvPr id="87" name="Rectangle 158"/>
            <p:cNvSpPr>
              <a:spLocks noChangeArrowheads="1"/>
            </p:cNvSpPr>
            <p:nvPr>
              <p:custDataLst>
                <p:tags r:id="rId17"/>
              </p:custDataLst>
            </p:nvPr>
          </p:nvSpPr>
          <p:spPr bwMode="gray">
            <a:xfrm>
              <a:off x="7912100" y="1920240"/>
              <a:ext cx="438150" cy="295276"/>
            </a:xfrm>
            <a:prstGeom prst="rect">
              <a:avLst/>
            </a:prstGeom>
            <a:solidFill>
              <a:schemeClr val="bg1"/>
            </a:solidFill>
            <a:ln w="9525" algn="ctr">
              <a:solidFill>
                <a:schemeClr val="bg1"/>
              </a:solidFill>
              <a:miter lim="800000"/>
              <a:headEnd/>
              <a:tailEnd/>
            </a:ln>
            <a:effectLst/>
          </p:spPr>
          <p:txBody>
            <a:bodyPr lIns="0" tIns="46800" rIns="0" bIns="46800" anchor="ctr"/>
            <a:lstStyle/>
            <a:p>
              <a:pPr lvl="0" algn="ctr">
                <a:defRPr/>
              </a:pPr>
              <a:r>
                <a:rPr lang="en-US" sz="1200" dirty="0"/>
                <a:t>Feb</a:t>
              </a:r>
            </a:p>
          </p:txBody>
        </p:sp>
        <p:sp>
          <p:nvSpPr>
            <p:cNvPr id="88" name="Rectangle 159"/>
            <p:cNvSpPr>
              <a:spLocks noChangeArrowheads="1"/>
            </p:cNvSpPr>
            <p:nvPr>
              <p:custDataLst>
                <p:tags r:id="rId18"/>
              </p:custDataLst>
            </p:nvPr>
          </p:nvSpPr>
          <p:spPr bwMode="gray">
            <a:xfrm>
              <a:off x="8350251" y="1920240"/>
              <a:ext cx="436563" cy="295276"/>
            </a:xfrm>
            <a:prstGeom prst="rect">
              <a:avLst/>
            </a:prstGeom>
            <a:solidFill>
              <a:schemeClr val="bg1">
                <a:lumMod val="95000"/>
              </a:schemeClr>
            </a:solidFill>
            <a:ln w="9525" algn="ctr">
              <a:solidFill>
                <a:schemeClr val="bg1"/>
              </a:solidFill>
              <a:miter lim="800000"/>
              <a:headEnd/>
              <a:tailEnd/>
            </a:ln>
            <a:effectLst/>
          </p:spPr>
          <p:txBody>
            <a:bodyPr lIns="0" tIns="46800" rIns="0" bIns="46800" anchor="ctr"/>
            <a:lstStyle/>
            <a:p>
              <a:pPr lvl="0" algn="ctr">
                <a:defRPr/>
              </a:pPr>
              <a:r>
                <a:rPr lang="en-US" sz="1200" dirty="0"/>
                <a:t>Mar</a:t>
              </a:r>
            </a:p>
          </p:txBody>
        </p:sp>
        <p:sp>
          <p:nvSpPr>
            <p:cNvPr id="101" name="Rectangle 160"/>
            <p:cNvSpPr>
              <a:spLocks noChangeArrowheads="1"/>
            </p:cNvSpPr>
            <p:nvPr>
              <p:custDataLst>
                <p:tags r:id="rId19"/>
              </p:custDataLst>
            </p:nvPr>
          </p:nvSpPr>
          <p:spPr bwMode="gray">
            <a:xfrm>
              <a:off x="361951" y="1920240"/>
              <a:ext cx="1762125" cy="295276"/>
            </a:xfrm>
            <a:prstGeom prst="rect">
              <a:avLst/>
            </a:prstGeom>
            <a:noFill/>
            <a:ln w="9525" algn="ctr">
              <a:solidFill>
                <a:schemeClr val="bg1"/>
              </a:solidFill>
              <a:miter lim="800000"/>
              <a:headEnd/>
              <a:tailEnd/>
            </a:ln>
            <a:effectLst/>
          </p:spPr>
          <p:txBody>
            <a:bodyPr lIns="90000" tIns="46800" rIns="90000" bIns="46800" anchor="ctr"/>
            <a:lstStyle/>
            <a:p>
              <a:pPr lvl="0">
                <a:defRPr/>
              </a:pPr>
              <a:r>
                <a:rPr lang="en-US" sz="1200" dirty="0"/>
                <a:t>Activities</a:t>
              </a:r>
            </a:p>
          </p:txBody>
        </p:sp>
        <p:sp>
          <p:nvSpPr>
            <p:cNvPr id="60" name="Rectangle 161"/>
            <p:cNvSpPr/>
            <p:nvPr>
              <p:custDataLst>
                <p:tags r:id="rId20"/>
              </p:custDataLst>
            </p:nvPr>
          </p:nvSpPr>
          <p:spPr bwMode="auto">
            <a:xfrm>
              <a:off x="2197101" y="1920240"/>
              <a:ext cx="5210175" cy="295276"/>
            </a:xfrm>
            <a:prstGeom prst="rect">
              <a:avLst/>
            </a:prstGeom>
            <a:noFill/>
            <a:ln w="9525" cap="sq" cmpd="sng" algn="ctr">
              <a:solidFill>
                <a:schemeClr val="accent3"/>
              </a:solidFill>
              <a:prstDash val="solid"/>
              <a:miter lim="800000"/>
              <a:headEnd type="none" w="med" len="med"/>
              <a:tailEnd type="none" w="med" len="med"/>
            </a:ln>
            <a:effectLst/>
          </p:spPr>
          <p:txBody>
            <a:bodyPr lIns="0" tIns="72000" rIns="0" bIns="72000"/>
            <a:lstStyle/>
            <a:p>
              <a:pPr fontAlgn="base">
                <a:spcBef>
                  <a:spcPct val="40000"/>
                </a:spcBef>
                <a:spcAft>
                  <a:spcPct val="0"/>
                </a:spcAft>
              </a:pPr>
              <a:endParaRPr lang="de-DE" sz="1200" dirty="0"/>
            </a:p>
          </p:txBody>
        </p:sp>
        <p:sp>
          <p:nvSpPr>
            <p:cNvPr id="61" name="Rectangle 162"/>
            <p:cNvSpPr/>
            <p:nvPr>
              <p:custDataLst>
                <p:tags r:id="rId21"/>
              </p:custDataLst>
            </p:nvPr>
          </p:nvSpPr>
          <p:spPr bwMode="auto">
            <a:xfrm>
              <a:off x="7478713" y="1920240"/>
              <a:ext cx="1308100" cy="295276"/>
            </a:xfrm>
            <a:prstGeom prst="rect">
              <a:avLst/>
            </a:prstGeom>
            <a:noFill/>
            <a:ln w="9525" cap="sq" cmpd="sng" algn="ctr">
              <a:solidFill>
                <a:schemeClr val="accent3"/>
              </a:solidFill>
              <a:prstDash val="solid"/>
              <a:miter lim="800000"/>
              <a:headEnd type="none" w="med" len="med"/>
              <a:tailEnd type="none" w="med" len="med"/>
            </a:ln>
            <a:effectLst/>
          </p:spPr>
          <p:txBody>
            <a:bodyPr lIns="0" tIns="72000" rIns="0" bIns="72000"/>
            <a:lstStyle/>
            <a:p>
              <a:pPr fontAlgn="base">
                <a:spcBef>
                  <a:spcPct val="40000"/>
                </a:spcBef>
                <a:spcAft>
                  <a:spcPct val="0"/>
                </a:spcAft>
              </a:pPr>
              <a:endParaRPr lang="de-DE" sz="1200" dirty="0"/>
            </a:p>
          </p:txBody>
        </p:sp>
        <p:sp>
          <p:nvSpPr>
            <p:cNvPr id="65" name="Rectangle 163"/>
            <p:cNvSpPr>
              <a:spLocks noChangeArrowheads="1"/>
            </p:cNvSpPr>
            <p:nvPr>
              <p:custDataLst>
                <p:tags r:id="rId22"/>
              </p:custDataLst>
            </p:nvPr>
          </p:nvSpPr>
          <p:spPr bwMode="gray">
            <a:xfrm>
              <a:off x="3048000" y="2215516"/>
              <a:ext cx="438150" cy="3981450"/>
            </a:xfrm>
            <a:prstGeom prst="rect">
              <a:avLst/>
            </a:prstGeom>
            <a:solidFill>
              <a:schemeClr val="bg1">
                <a:lumMod val="95000"/>
              </a:schemeClr>
            </a:solidFill>
            <a:ln w="9525" algn="ctr">
              <a:noFill/>
              <a:miter lim="800000"/>
              <a:headEnd/>
              <a:tailEnd/>
            </a:ln>
            <a:effectLst/>
          </p:spPr>
          <p:txBody>
            <a:bodyPr lIns="90000" tIns="46800" rIns="90000" bIns="46800" anchor="ctr"/>
            <a:lstStyle/>
            <a:p>
              <a:pPr>
                <a:defRPr/>
              </a:pPr>
              <a:endParaRPr lang="en-US" sz="1200" dirty="0"/>
            </a:p>
          </p:txBody>
        </p:sp>
        <p:sp>
          <p:nvSpPr>
            <p:cNvPr id="64" name="Rectangle 164"/>
            <p:cNvSpPr>
              <a:spLocks noChangeArrowheads="1"/>
            </p:cNvSpPr>
            <p:nvPr>
              <p:custDataLst>
                <p:tags r:id="rId23"/>
              </p:custDataLst>
            </p:nvPr>
          </p:nvSpPr>
          <p:spPr bwMode="gray">
            <a:xfrm>
              <a:off x="2197101" y="2215516"/>
              <a:ext cx="415925" cy="3981450"/>
            </a:xfrm>
            <a:prstGeom prst="rect">
              <a:avLst/>
            </a:prstGeom>
            <a:solidFill>
              <a:schemeClr val="bg1">
                <a:lumMod val="95000"/>
              </a:schemeClr>
            </a:solidFill>
            <a:ln w="9525" algn="ctr">
              <a:noFill/>
              <a:miter lim="800000"/>
              <a:headEnd/>
              <a:tailEnd/>
            </a:ln>
            <a:effectLst/>
          </p:spPr>
          <p:txBody>
            <a:bodyPr lIns="90000" tIns="46800" rIns="90000" bIns="46800" anchor="ctr"/>
            <a:lstStyle/>
            <a:p>
              <a:pPr>
                <a:defRPr/>
              </a:pPr>
              <a:endParaRPr lang="en-US" sz="1200" dirty="0"/>
            </a:p>
          </p:txBody>
        </p:sp>
        <p:sp>
          <p:nvSpPr>
            <p:cNvPr id="66" name="Rectangle 165"/>
            <p:cNvSpPr>
              <a:spLocks noChangeArrowheads="1"/>
            </p:cNvSpPr>
            <p:nvPr>
              <p:custDataLst>
                <p:tags r:id="rId24"/>
              </p:custDataLst>
            </p:nvPr>
          </p:nvSpPr>
          <p:spPr bwMode="gray">
            <a:xfrm>
              <a:off x="3921126" y="2215516"/>
              <a:ext cx="434975" cy="3981450"/>
            </a:xfrm>
            <a:prstGeom prst="rect">
              <a:avLst/>
            </a:prstGeom>
            <a:solidFill>
              <a:schemeClr val="bg1">
                <a:lumMod val="95000"/>
              </a:schemeClr>
            </a:solidFill>
            <a:ln w="9525" algn="ctr">
              <a:noFill/>
              <a:miter lim="800000"/>
              <a:headEnd/>
              <a:tailEnd/>
            </a:ln>
            <a:effectLst/>
          </p:spPr>
          <p:txBody>
            <a:bodyPr lIns="90000" tIns="46800" rIns="90000" bIns="46800" anchor="ctr"/>
            <a:lstStyle/>
            <a:p>
              <a:pPr>
                <a:defRPr/>
              </a:pPr>
              <a:endParaRPr lang="en-US" sz="1200" dirty="0"/>
            </a:p>
          </p:txBody>
        </p:sp>
        <p:sp>
          <p:nvSpPr>
            <p:cNvPr id="67" name="Rectangle 166"/>
            <p:cNvSpPr>
              <a:spLocks noChangeArrowheads="1"/>
            </p:cNvSpPr>
            <p:nvPr>
              <p:custDataLst>
                <p:tags r:id="rId25"/>
              </p:custDataLst>
            </p:nvPr>
          </p:nvSpPr>
          <p:spPr bwMode="gray">
            <a:xfrm>
              <a:off x="4792664" y="2215516"/>
              <a:ext cx="434975" cy="3981450"/>
            </a:xfrm>
            <a:prstGeom prst="rect">
              <a:avLst/>
            </a:prstGeom>
            <a:solidFill>
              <a:schemeClr val="bg1">
                <a:lumMod val="95000"/>
              </a:schemeClr>
            </a:solidFill>
            <a:ln w="9525" algn="ctr">
              <a:noFill/>
              <a:miter lim="800000"/>
              <a:headEnd/>
              <a:tailEnd/>
            </a:ln>
            <a:effectLst/>
          </p:spPr>
          <p:txBody>
            <a:bodyPr lIns="90000" tIns="46800" rIns="90000" bIns="46800" anchor="ctr"/>
            <a:lstStyle/>
            <a:p>
              <a:pPr>
                <a:defRPr/>
              </a:pPr>
              <a:endParaRPr lang="en-US" sz="1200" dirty="0"/>
            </a:p>
          </p:txBody>
        </p:sp>
        <p:sp>
          <p:nvSpPr>
            <p:cNvPr id="68" name="Rectangle 167"/>
            <p:cNvSpPr>
              <a:spLocks noChangeArrowheads="1"/>
            </p:cNvSpPr>
            <p:nvPr>
              <p:custDataLst>
                <p:tags r:id="rId26"/>
              </p:custDataLst>
            </p:nvPr>
          </p:nvSpPr>
          <p:spPr bwMode="gray">
            <a:xfrm>
              <a:off x="5664202" y="2215516"/>
              <a:ext cx="436563" cy="3981450"/>
            </a:xfrm>
            <a:prstGeom prst="rect">
              <a:avLst/>
            </a:prstGeom>
            <a:solidFill>
              <a:schemeClr val="bg1">
                <a:lumMod val="95000"/>
              </a:schemeClr>
            </a:solidFill>
            <a:ln w="9525" algn="ctr">
              <a:noFill/>
              <a:miter lim="800000"/>
              <a:headEnd/>
              <a:tailEnd/>
            </a:ln>
            <a:effectLst/>
          </p:spPr>
          <p:txBody>
            <a:bodyPr lIns="90000" tIns="46800" rIns="90000" bIns="46800" anchor="ctr"/>
            <a:lstStyle/>
            <a:p>
              <a:pPr>
                <a:defRPr/>
              </a:pPr>
              <a:endParaRPr lang="en-US" sz="1200" dirty="0"/>
            </a:p>
          </p:txBody>
        </p:sp>
        <p:sp>
          <p:nvSpPr>
            <p:cNvPr id="69" name="Rectangle 168"/>
            <p:cNvSpPr>
              <a:spLocks noChangeArrowheads="1"/>
            </p:cNvSpPr>
            <p:nvPr>
              <p:custDataLst>
                <p:tags r:id="rId27"/>
              </p:custDataLst>
            </p:nvPr>
          </p:nvSpPr>
          <p:spPr bwMode="gray">
            <a:xfrm>
              <a:off x="6535739" y="2215516"/>
              <a:ext cx="434975" cy="3981450"/>
            </a:xfrm>
            <a:prstGeom prst="rect">
              <a:avLst/>
            </a:prstGeom>
            <a:solidFill>
              <a:schemeClr val="bg1">
                <a:lumMod val="95000"/>
              </a:schemeClr>
            </a:solidFill>
            <a:ln w="9525" algn="ctr">
              <a:noFill/>
              <a:miter lim="800000"/>
              <a:headEnd/>
              <a:tailEnd/>
            </a:ln>
            <a:effectLst/>
          </p:spPr>
          <p:txBody>
            <a:bodyPr lIns="90000" tIns="46800" rIns="90000" bIns="46800" anchor="ctr"/>
            <a:lstStyle/>
            <a:p>
              <a:pPr>
                <a:defRPr/>
              </a:pPr>
              <a:endParaRPr lang="en-US" sz="1200" dirty="0"/>
            </a:p>
          </p:txBody>
        </p:sp>
        <p:sp>
          <p:nvSpPr>
            <p:cNvPr id="70" name="Rectangle 169"/>
            <p:cNvSpPr>
              <a:spLocks noChangeArrowheads="1"/>
            </p:cNvSpPr>
            <p:nvPr>
              <p:custDataLst>
                <p:tags r:id="rId28"/>
              </p:custDataLst>
            </p:nvPr>
          </p:nvSpPr>
          <p:spPr bwMode="gray">
            <a:xfrm>
              <a:off x="7480301" y="2215516"/>
              <a:ext cx="434975" cy="3981450"/>
            </a:xfrm>
            <a:prstGeom prst="rect">
              <a:avLst/>
            </a:prstGeom>
            <a:solidFill>
              <a:schemeClr val="bg1">
                <a:lumMod val="95000"/>
              </a:schemeClr>
            </a:solidFill>
            <a:ln w="9525" algn="ctr">
              <a:noFill/>
              <a:miter lim="800000"/>
              <a:headEnd/>
              <a:tailEnd/>
            </a:ln>
            <a:effectLst/>
          </p:spPr>
          <p:txBody>
            <a:bodyPr lIns="90000" tIns="46800" rIns="90000" bIns="46800" anchor="ctr"/>
            <a:lstStyle/>
            <a:p>
              <a:pPr>
                <a:defRPr/>
              </a:pPr>
              <a:endParaRPr lang="en-US" sz="1200" dirty="0"/>
            </a:p>
          </p:txBody>
        </p:sp>
        <p:sp>
          <p:nvSpPr>
            <p:cNvPr id="71" name="Rectangle 170"/>
            <p:cNvSpPr>
              <a:spLocks noChangeArrowheads="1"/>
            </p:cNvSpPr>
            <p:nvPr>
              <p:custDataLst>
                <p:tags r:id="rId29"/>
              </p:custDataLst>
            </p:nvPr>
          </p:nvSpPr>
          <p:spPr bwMode="gray">
            <a:xfrm>
              <a:off x="8351839" y="2215516"/>
              <a:ext cx="434975" cy="3981450"/>
            </a:xfrm>
            <a:prstGeom prst="rect">
              <a:avLst/>
            </a:prstGeom>
            <a:solidFill>
              <a:schemeClr val="bg1">
                <a:lumMod val="95000"/>
              </a:schemeClr>
            </a:solidFill>
            <a:ln w="9525" algn="ctr">
              <a:noFill/>
              <a:miter lim="800000"/>
              <a:headEnd/>
              <a:tailEnd/>
            </a:ln>
            <a:effectLst/>
          </p:spPr>
          <p:txBody>
            <a:bodyPr lIns="90000" tIns="46800" rIns="90000" bIns="46800" anchor="ctr"/>
            <a:lstStyle/>
            <a:p>
              <a:pPr>
                <a:defRPr/>
              </a:pPr>
              <a:endParaRPr lang="en-US" sz="1200" dirty="0"/>
            </a:p>
          </p:txBody>
        </p:sp>
        <p:sp>
          <p:nvSpPr>
            <p:cNvPr id="63" name="Rectangle 171"/>
            <p:cNvSpPr>
              <a:spLocks noChangeArrowheads="1"/>
            </p:cNvSpPr>
            <p:nvPr>
              <p:custDataLst>
                <p:tags r:id="rId30"/>
              </p:custDataLst>
            </p:nvPr>
          </p:nvSpPr>
          <p:spPr bwMode="gray">
            <a:xfrm>
              <a:off x="361951" y="2510791"/>
              <a:ext cx="1762125" cy="293370"/>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89" name="Rectangle 172"/>
            <p:cNvSpPr>
              <a:spLocks noChangeArrowheads="1"/>
            </p:cNvSpPr>
            <p:nvPr>
              <p:custDataLst>
                <p:tags r:id="rId31"/>
              </p:custDataLst>
            </p:nvPr>
          </p:nvSpPr>
          <p:spPr bwMode="gray">
            <a:xfrm>
              <a:off x="361951" y="2215516"/>
              <a:ext cx="1744663" cy="295274"/>
            </a:xfrm>
            <a:prstGeom prst="rect">
              <a:avLst/>
            </a:prstGeom>
            <a:noFill/>
            <a:ln w="9525" algn="ctr">
              <a:noFill/>
              <a:miter lim="800000"/>
              <a:headEnd/>
              <a:tailEnd/>
            </a:ln>
            <a:effectLst/>
          </p:spPr>
          <p:txBody>
            <a:bodyPr lIns="90000" tIns="46800" rIns="90000" bIns="46800" anchor="ctr"/>
            <a:lstStyle/>
            <a:p>
              <a:pPr lvl="0">
                <a:defRPr/>
              </a:pPr>
              <a:r>
                <a:rPr lang="en-US" sz="1200" dirty="0"/>
                <a:t>Phase 1</a:t>
              </a:r>
            </a:p>
          </p:txBody>
        </p:sp>
        <p:sp>
          <p:nvSpPr>
            <p:cNvPr id="90" name="Rectangle 173"/>
            <p:cNvSpPr>
              <a:spLocks noChangeArrowheads="1"/>
            </p:cNvSpPr>
            <p:nvPr>
              <p:custDataLst>
                <p:tags r:id="rId32"/>
              </p:custDataLst>
            </p:nvPr>
          </p:nvSpPr>
          <p:spPr bwMode="gray">
            <a:xfrm>
              <a:off x="361951" y="2804160"/>
              <a:ext cx="1762125" cy="295276"/>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91" name="Rectangle 174"/>
            <p:cNvSpPr>
              <a:spLocks noChangeArrowheads="1"/>
            </p:cNvSpPr>
            <p:nvPr>
              <p:custDataLst>
                <p:tags r:id="rId33"/>
              </p:custDataLst>
            </p:nvPr>
          </p:nvSpPr>
          <p:spPr bwMode="gray">
            <a:xfrm>
              <a:off x="361951" y="3101341"/>
              <a:ext cx="1762125" cy="293370"/>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92" name="Rectangle 175"/>
            <p:cNvSpPr>
              <a:spLocks noChangeArrowheads="1"/>
            </p:cNvSpPr>
            <p:nvPr>
              <p:custDataLst>
                <p:tags r:id="rId34"/>
              </p:custDataLst>
            </p:nvPr>
          </p:nvSpPr>
          <p:spPr bwMode="gray">
            <a:xfrm>
              <a:off x="361951" y="3394711"/>
              <a:ext cx="1762125" cy="293370"/>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93" name="Rectangle 176"/>
            <p:cNvSpPr>
              <a:spLocks noChangeArrowheads="1"/>
            </p:cNvSpPr>
            <p:nvPr>
              <p:custDataLst>
                <p:tags r:id="rId35"/>
              </p:custDataLst>
            </p:nvPr>
          </p:nvSpPr>
          <p:spPr bwMode="gray">
            <a:xfrm>
              <a:off x="361951" y="4057650"/>
              <a:ext cx="1762125" cy="295276"/>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94" name="Rectangle 177"/>
            <p:cNvSpPr>
              <a:spLocks noChangeArrowheads="1"/>
            </p:cNvSpPr>
            <p:nvPr>
              <p:custDataLst>
                <p:tags r:id="rId36"/>
              </p:custDataLst>
            </p:nvPr>
          </p:nvSpPr>
          <p:spPr bwMode="gray">
            <a:xfrm>
              <a:off x="361951" y="3764281"/>
              <a:ext cx="1744663" cy="293370"/>
            </a:xfrm>
            <a:prstGeom prst="rect">
              <a:avLst/>
            </a:prstGeom>
            <a:noFill/>
            <a:ln w="9525" algn="ctr">
              <a:noFill/>
              <a:miter lim="800000"/>
              <a:headEnd/>
              <a:tailEnd/>
            </a:ln>
            <a:effectLst/>
          </p:spPr>
          <p:txBody>
            <a:bodyPr lIns="90000" tIns="46800" rIns="90000" bIns="46800" anchor="ctr"/>
            <a:lstStyle/>
            <a:p>
              <a:pPr lvl="0">
                <a:defRPr/>
              </a:pPr>
              <a:r>
                <a:rPr lang="en-US" sz="1200" dirty="0"/>
                <a:t>Phase 2</a:t>
              </a:r>
            </a:p>
          </p:txBody>
        </p:sp>
        <p:sp>
          <p:nvSpPr>
            <p:cNvPr id="95" name="Rectangle 178"/>
            <p:cNvSpPr>
              <a:spLocks noChangeArrowheads="1"/>
            </p:cNvSpPr>
            <p:nvPr>
              <p:custDataLst>
                <p:tags r:id="rId37"/>
              </p:custDataLst>
            </p:nvPr>
          </p:nvSpPr>
          <p:spPr bwMode="gray">
            <a:xfrm>
              <a:off x="361951" y="4352927"/>
              <a:ext cx="1762125" cy="293370"/>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96" name="Rectangle 179"/>
            <p:cNvSpPr>
              <a:spLocks noChangeArrowheads="1"/>
            </p:cNvSpPr>
            <p:nvPr>
              <p:custDataLst>
                <p:tags r:id="rId38"/>
              </p:custDataLst>
            </p:nvPr>
          </p:nvSpPr>
          <p:spPr bwMode="gray">
            <a:xfrm>
              <a:off x="361951" y="4648201"/>
              <a:ext cx="1762125" cy="293370"/>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97" name="Rectangle 180"/>
            <p:cNvSpPr>
              <a:spLocks noChangeArrowheads="1"/>
            </p:cNvSpPr>
            <p:nvPr>
              <p:custDataLst>
                <p:tags r:id="rId39"/>
              </p:custDataLst>
            </p:nvPr>
          </p:nvSpPr>
          <p:spPr bwMode="gray">
            <a:xfrm>
              <a:off x="361951" y="4941569"/>
              <a:ext cx="1762125" cy="295276"/>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98" name="Rectangle 181"/>
            <p:cNvSpPr>
              <a:spLocks noChangeArrowheads="1"/>
            </p:cNvSpPr>
            <p:nvPr>
              <p:custDataLst>
                <p:tags r:id="rId40"/>
              </p:custDataLst>
            </p:nvPr>
          </p:nvSpPr>
          <p:spPr bwMode="gray">
            <a:xfrm>
              <a:off x="361951" y="5608320"/>
              <a:ext cx="1762125" cy="295276"/>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99" name="Rectangle 182"/>
            <p:cNvSpPr>
              <a:spLocks noChangeArrowheads="1"/>
            </p:cNvSpPr>
            <p:nvPr>
              <p:custDataLst>
                <p:tags r:id="rId41"/>
              </p:custDataLst>
            </p:nvPr>
          </p:nvSpPr>
          <p:spPr bwMode="gray">
            <a:xfrm>
              <a:off x="361951" y="5314951"/>
              <a:ext cx="1744663" cy="293370"/>
            </a:xfrm>
            <a:prstGeom prst="rect">
              <a:avLst/>
            </a:prstGeom>
            <a:noFill/>
            <a:ln w="9525" algn="ctr">
              <a:noFill/>
              <a:miter lim="800000"/>
              <a:headEnd/>
              <a:tailEnd/>
            </a:ln>
            <a:effectLst/>
          </p:spPr>
          <p:txBody>
            <a:bodyPr lIns="90000" tIns="46800" rIns="90000" bIns="46800" anchor="ctr"/>
            <a:lstStyle/>
            <a:p>
              <a:pPr lvl="0">
                <a:defRPr/>
              </a:pPr>
              <a:r>
                <a:rPr lang="en-US" sz="1200" dirty="0"/>
                <a:t>Phase 3</a:t>
              </a:r>
            </a:p>
          </p:txBody>
        </p:sp>
        <p:sp>
          <p:nvSpPr>
            <p:cNvPr id="100" name="Rectangle 183"/>
            <p:cNvSpPr>
              <a:spLocks noChangeArrowheads="1"/>
            </p:cNvSpPr>
            <p:nvPr>
              <p:custDataLst>
                <p:tags r:id="rId42"/>
              </p:custDataLst>
            </p:nvPr>
          </p:nvSpPr>
          <p:spPr bwMode="gray">
            <a:xfrm>
              <a:off x="361951" y="5903596"/>
              <a:ext cx="1762125" cy="293370"/>
            </a:xfrm>
            <a:prstGeom prst="rect">
              <a:avLst/>
            </a:prstGeom>
            <a:noFill/>
            <a:ln w="9525" algn="ctr">
              <a:noFill/>
              <a:miter lim="800000"/>
              <a:headEnd/>
              <a:tailEnd/>
            </a:ln>
            <a:effectLst/>
          </p:spPr>
          <p:txBody>
            <a:bodyPr lIns="90000" tIns="46800" rIns="90000" bIns="46800" anchor="ctr"/>
            <a:lstStyle/>
            <a:p>
              <a:pPr lvl="0">
                <a:defRPr/>
              </a:pPr>
              <a:r>
                <a:rPr lang="en-US" sz="1200" dirty="0"/>
                <a:t>…</a:t>
              </a:r>
            </a:p>
          </p:txBody>
        </p:sp>
        <p:sp>
          <p:nvSpPr>
            <p:cNvPr id="102" name="AutoShape 184"/>
            <p:cNvSpPr>
              <a:spLocks noChangeArrowheads="1"/>
            </p:cNvSpPr>
            <p:nvPr>
              <p:custDataLst>
                <p:tags r:id="rId43"/>
              </p:custDataLst>
            </p:nvPr>
          </p:nvSpPr>
          <p:spPr bwMode="gray">
            <a:xfrm>
              <a:off x="2832101" y="2289810"/>
              <a:ext cx="144463" cy="146686"/>
            </a:xfrm>
            <a:prstGeom prst="diamond">
              <a:avLst/>
            </a:prstGeom>
            <a:solidFill>
              <a:schemeClr val="accent2"/>
            </a:solidFill>
            <a:ln w="9525" algn="ctr">
              <a:noFill/>
              <a:miter lim="800000"/>
              <a:headEnd/>
              <a:tailEnd/>
            </a:ln>
            <a:effectLst/>
          </p:spPr>
          <p:txBody>
            <a:bodyPr wrap="none" lIns="378000" tIns="46800" rIns="90000" bIns="46800" anchor="ctr"/>
            <a:lstStyle/>
            <a:p>
              <a:pPr lvl="0">
                <a:defRPr/>
              </a:pPr>
              <a:r>
                <a:rPr lang="en-US" sz="1200" dirty="0"/>
                <a:t>Milestone</a:t>
              </a:r>
            </a:p>
          </p:txBody>
        </p:sp>
        <p:sp>
          <p:nvSpPr>
            <p:cNvPr id="103" name="AutoShape 185"/>
            <p:cNvSpPr>
              <a:spLocks noChangeArrowheads="1"/>
            </p:cNvSpPr>
            <p:nvPr>
              <p:custDataLst>
                <p:tags r:id="rId44"/>
              </p:custDataLst>
            </p:nvPr>
          </p:nvSpPr>
          <p:spPr bwMode="gray">
            <a:xfrm>
              <a:off x="4286251" y="3838576"/>
              <a:ext cx="144463" cy="146684"/>
            </a:xfrm>
            <a:prstGeom prst="diamond">
              <a:avLst/>
            </a:prstGeom>
            <a:solidFill>
              <a:schemeClr val="accent2"/>
            </a:solidFill>
            <a:ln w="9525" algn="ctr">
              <a:noFill/>
              <a:miter lim="800000"/>
              <a:headEnd/>
              <a:tailEnd/>
            </a:ln>
            <a:effectLst/>
          </p:spPr>
          <p:txBody>
            <a:bodyPr wrap="none" lIns="378000" tIns="46800" rIns="90000" bIns="46800" anchor="ctr"/>
            <a:lstStyle/>
            <a:p>
              <a:pPr lvl="0">
                <a:defRPr/>
              </a:pPr>
              <a:r>
                <a:rPr lang="en-US" sz="1200" dirty="0"/>
                <a:t>Milestone</a:t>
              </a:r>
            </a:p>
          </p:txBody>
        </p:sp>
        <p:sp>
          <p:nvSpPr>
            <p:cNvPr id="104" name="AutoShape 186"/>
            <p:cNvSpPr>
              <a:spLocks noChangeArrowheads="1"/>
            </p:cNvSpPr>
            <p:nvPr>
              <p:custDataLst>
                <p:tags r:id="rId45"/>
              </p:custDataLst>
            </p:nvPr>
          </p:nvSpPr>
          <p:spPr bwMode="gray">
            <a:xfrm>
              <a:off x="2832101" y="5385436"/>
              <a:ext cx="144463" cy="146684"/>
            </a:xfrm>
            <a:prstGeom prst="diamond">
              <a:avLst/>
            </a:prstGeom>
            <a:solidFill>
              <a:schemeClr val="accent2"/>
            </a:solidFill>
            <a:ln w="9525" algn="ctr">
              <a:noFill/>
              <a:miter lim="800000"/>
              <a:headEnd/>
              <a:tailEnd/>
            </a:ln>
            <a:effectLst/>
          </p:spPr>
          <p:txBody>
            <a:bodyPr wrap="none" lIns="378000" tIns="46800" rIns="90000" bIns="46800" anchor="ctr"/>
            <a:lstStyle/>
            <a:p>
              <a:pPr lvl="0">
                <a:defRPr/>
              </a:pPr>
              <a:r>
                <a:rPr lang="en-US" sz="1200" dirty="0"/>
                <a:t>Milestone</a:t>
              </a:r>
            </a:p>
          </p:txBody>
        </p:sp>
        <p:sp>
          <p:nvSpPr>
            <p:cNvPr id="106" name="Rectangle 187"/>
            <p:cNvSpPr>
              <a:spLocks noChangeArrowheads="1"/>
            </p:cNvSpPr>
            <p:nvPr>
              <p:custDataLst>
                <p:tags r:id="rId46"/>
              </p:custDataLst>
            </p:nvPr>
          </p:nvSpPr>
          <p:spPr bwMode="gray">
            <a:xfrm>
              <a:off x="2686051" y="2880360"/>
              <a:ext cx="2543175" cy="146686"/>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07" name="Rectangle 188"/>
            <p:cNvSpPr>
              <a:spLocks noChangeArrowheads="1"/>
            </p:cNvSpPr>
            <p:nvPr>
              <p:custDataLst>
                <p:tags r:id="rId47"/>
              </p:custDataLst>
            </p:nvPr>
          </p:nvSpPr>
          <p:spPr bwMode="gray">
            <a:xfrm>
              <a:off x="3921125" y="3469006"/>
              <a:ext cx="1743075" cy="148590"/>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08" name="Rectangle 189"/>
            <p:cNvSpPr>
              <a:spLocks noChangeArrowheads="1"/>
            </p:cNvSpPr>
            <p:nvPr>
              <p:custDataLst>
                <p:tags r:id="rId48"/>
              </p:custDataLst>
            </p:nvPr>
          </p:nvSpPr>
          <p:spPr bwMode="gray">
            <a:xfrm>
              <a:off x="2686051" y="4131946"/>
              <a:ext cx="2543175" cy="148590"/>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09" name="Rectangle 190"/>
            <p:cNvSpPr>
              <a:spLocks noChangeArrowheads="1"/>
            </p:cNvSpPr>
            <p:nvPr>
              <p:custDataLst>
                <p:tags r:id="rId49"/>
              </p:custDataLst>
            </p:nvPr>
          </p:nvSpPr>
          <p:spPr bwMode="gray">
            <a:xfrm>
              <a:off x="4356101" y="4427220"/>
              <a:ext cx="1744663" cy="146686"/>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10" name="Rectangle 191"/>
            <p:cNvSpPr>
              <a:spLocks noChangeArrowheads="1"/>
            </p:cNvSpPr>
            <p:nvPr>
              <p:custDataLst>
                <p:tags r:id="rId50"/>
              </p:custDataLst>
            </p:nvPr>
          </p:nvSpPr>
          <p:spPr bwMode="gray">
            <a:xfrm>
              <a:off x="2251075" y="4722496"/>
              <a:ext cx="1670050" cy="148590"/>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11" name="Rectangle 192"/>
            <p:cNvSpPr>
              <a:spLocks noChangeArrowheads="1"/>
            </p:cNvSpPr>
            <p:nvPr>
              <p:custDataLst>
                <p:tags r:id="rId51"/>
              </p:custDataLst>
            </p:nvPr>
          </p:nvSpPr>
          <p:spPr bwMode="gray">
            <a:xfrm>
              <a:off x="6519863" y="5017771"/>
              <a:ext cx="1395412" cy="133350"/>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12" name="Rectangle 193"/>
            <p:cNvSpPr>
              <a:spLocks noChangeArrowheads="1"/>
            </p:cNvSpPr>
            <p:nvPr>
              <p:custDataLst>
                <p:tags r:id="rId52"/>
              </p:custDataLst>
            </p:nvPr>
          </p:nvSpPr>
          <p:spPr bwMode="gray">
            <a:xfrm>
              <a:off x="4792664" y="5682616"/>
              <a:ext cx="1743075" cy="144780"/>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13" name="Rectangle 194"/>
            <p:cNvSpPr>
              <a:spLocks noChangeArrowheads="1"/>
            </p:cNvSpPr>
            <p:nvPr>
              <p:custDataLst>
                <p:tags r:id="rId53"/>
              </p:custDataLst>
            </p:nvPr>
          </p:nvSpPr>
          <p:spPr bwMode="gray">
            <a:xfrm>
              <a:off x="5229225" y="5975986"/>
              <a:ext cx="2179638" cy="148590"/>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16" name="Rectangle 195"/>
            <p:cNvSpPr>
              <a:spLocks noChangeArrowheads="1"/>
            </p:cNvSpPr>
            <p:nvPr>
              <p:custDataLst>
                <p:tags r:id="rId54"/>
              </p:custDataLst>
            </p:nvPr>
          </p:nvSpPr>
          <p:spPr bwMode="gray">
            <a:xfrm>
              <a:off x="4792664" y="3173731"/>
              <a:ext cx="1743075" cy="148590"/>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54" name="Rectangle 196"/>
            <p:cNvSpPr>
              <a:spLocks noChangeArrowheads="1"/>
            </p:cNvSpPr>
            <p:nvPr>
              <p:custDataLst>
                <p:tags r:id="rId55"/>
              </p:custDataLst>
            </p:nvPr>
          </p:nvSpPr>
          <p:spPr bwMode="gray">
            <a:xfrm>
              <a:off x="2197100" y="2590801"/>
              <a:ext cx="1296988" cy="148590"/>
            </a:xfrm>
            <a:prstGeom prst="rect">
              <a:avLst/>
            </a:prstGeom>
            <a:solidFill>
              <a:schemeClr val="accent2"/>
            </a:solidFill>
            <a:ln w="9525" algn="ctr">
              <a:noFill/>
              <a:miter lim="800000"/>
              <a:headEnd/>
              <a:tailEnd/>
            </a:ln>
            <a:effectLst/>
          </p:spPr>
          <p:txBody>
            <a:bodyPr wrap="none" lIns="90000" tIns="46800" rIns="90000" bIns="46800" anchor="ctr"/>
            <a:lstStyle/>
            <a:p>
              <a:pPr>
                <a:defRPr/>
              </a:pPr>
              <a:endParaRPr lang="en-US" sz="1200" dirty="0"/>
            </a:p>
          </p:txBody>
        </p:sp>
        <p:sp>
          <p:nvSpPr>
            <p:cNvPr id="155" name="Rectangle 197"/>
            <p:cNvSpPr/>
            <p:nvPr>
              <p:custDataLst>
                <p:tags r:id="rId56"/>
              </p:custDataLst>
            </p:nvPr>
          </p:nvSpPr>
          <p:spPr bwMode="gray">
            <a:xfrm>
              <a:off x="361951" y="3762376"/>
              <a:ext cx="8424863" cy="1463040"/>
            </a:xfrm>
            <a:prstGeom prst="rect">
              <a:avLst/>
            </a:prstGeom>
            <a:noFill/>
            <a:ln w="9525" cap="flat" cmpd="sng" algn="ctr">
              <a:solidFill>
                <a:schemeClr val="tx2"/>
              </a:solidFill>
              <a:prstDash val="solid"/>
              <a:round/>
              <a:headEnd type="none" w="med" len="med"/>
              <a:tailEnd type="none" w="med" len="med"/>
            </a:ln>
            <a:effectLst/>
          </p:spPr>
          <p:txBody>
            <a:bodyPr wrap="none" lIns="90000" tIns="72000" rIns="90000" bIns="72000" anchor="ctr"/>
            <a:lstStyle/>
            <a:p>
              <a:pPr algn="ctr" fontAlgn="base">
                <a:spcBef>
                  <a:spcPct val="40000"/>
                </a:spcBef>
                <a:spcAft>
                  <a:spcPct val="0"/>
                </a:spcAft>
              </a:pPr>
              <a:endParaRPr lang="en-GB" sz="1200" dirty="0"/>
            </a:p>
          </p:txBody>
        </p:sp>
        <p:sp>
          <p:nvSpPr>
            <p:cNvPr id="157" name="Rectangle 198"/>
            <p:cNvSpPr/>
            <p:nvPr>
              <p:custDataLst>
                <p:tags r:id="rId57"/>
              </p:custDataLst>
            </p:nvPr>
          </p:nvSpPr>
          <p:spPr bwMode="gray">
            <a:xfrm>
              <a:off x="361951" y="5297806"/>
              <a:ext cx="8424863" cy="899160"/>
            </a:xfrm>
            <a:prstGeom prst="rect">
              <a:avLst/>
            </a:prstGeom>
            <a:noFill/>
            <a:ln w="9525" cap="flat" cmpd="sng" algn="ctr">
              <a:solidFill>
                <a:schemeClr val="tx2"/>
              </a:solidFill>
              <a:prstDash val="solid"/>
              <a:round/>
              <a:headEnd type="none" w="med" len="med"/>
              <a:tailEnd type="none" w="med" len="med"/>
            </a:ln>
            <a:effectLst/>
          </p:spPr>
          <p:txBody>
            <a:bodyPr wrap="none" lIns="90000" tIns="72000" rIns="90000" bIns="72000" anchor="ctr"/>
            <a:lstStyle/>
            <a:p>
              <a:pPr algn="ctr" fontAlgn="base">
                <a:spcBef>
                  <a:spcPct val="40000"/>
                </a:spcBef>
                <a:spcAft>
                  <a:spcPct val="0"/>
                </a:spcAft>
              </a:pPr>
              <a:endParaRPr lang="en-GB" sz="1200" dirty="0"/>
            </a:p>
          </p:txBody>
        </p:sp>
        <p:sp>
          <p:nvSpPr>
            <p:cNvPr id="156" name="Rectangle 199"/>
            <p:cNvSpPr/>
            <p:nvPr>
              <p:custDataLst>
                <p:tags r:id="rId58"/>
              </p:custDataLst>
            </p:nvPr>
          </p:nvSpPr>
          <p:spPr bwMode="gray">
            <a:xfrm>
              <a:off x="361951" y="2215516"/>
              <a:ext cx="8424863" cy="1472564"/>
            </a:xfrm>
            <a:prstGeom prst="rect">
              <a:avLst/>
            </a:prstGeom>
            <a:noFill/>
            <a:ln w="9525" cap="flat" cmpd="sng" algn="ctr">
              <a:solidFill>
                <a:schemeClr val="tx2"/>
              </a:solidFill>
              <a:prstDash val="solid"/>
              <a:round/>
              <a:headEnd type="none" w="med" len="med"/>
              <a:tailEnd type="none" w="med" len="med"/>
            </a:ln>
            <a:effectLst/>
          </p:spPr>
          <p:txBody>
            <a:bodyPr wrap="none" lIns="90000" tIns="72000" rIns="90000" bIns="72000" anchor="ctr"/>
            <a:lstStyle/>
            <a:p>
              <a:pPr algn="ctr" fontAlgn="base">
                <a:spcBef>
                  <a:spcPct val="40000"/>
                </a:spcBef>
                <a:spcAft>
                  <a:spcPct val="0"/>
                </a:spcAft>
              </a:pPr>
              <a:endParaRPr lang="en-GB" sz="1200" dirty="0"/>
            </a:p>
          </p:txBody>
        </p:sp>
      </p:grpSp>
    </p:spTree>
    <p:extLst>
      <p:ext uri="{BB962C8B-B14F-4D97-AF65-F5344CB8AC3E}">
        <p14:creationId xmlns:p14="http://schemas.microsoft.com/office/powerpoint/2010/main" val="3276413136"/>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1058" name="Rectangle 2"/>
          <p:cNvSpPr>
            <a:spLocks noGrp="1" noChangeArrowheads="1"/>
          </p:cNvSpPr>
          <p:nvPr>
            <p:ph type="title"/>
          </p:nvPr>
        </p:nvSpPr>
        <p:spPr/>
        <p:txBody>
          <a:bodyPr>
            <a:normAutofit/>
          </a:bodyPr>
          <a:lstStyle/>
          <a:p>
            <a:r>
              <a:rPr lang="en-GB" b="1" dirty="0" err="1"/>
              <a:t>Afam</a:t>
            </a:r>
            <a:r>
              <a:rPr lang="en-GB" b="1" dirty="0"/>
              <a:t> VI GT13E2 MXL Capital Spares buy back – Time Plan</a:t>
            </a:r>
            <a:endParaRPr lang="en-GB" dirty="0"/>
          </a:p>
        </p:txBody>
      </p:sp>
      <p:grpSp>
        <p:nvGrpSpPr>
          <p:cNvPr id="76821" name="Group 21"/>
          <p:cNvGrpSpPr>
            <a:grpSpLocks/>
          </p:cNvGrpSpPr>
          <p:nvPr/>
        </p:nvGrpSpPr>
        <p:grpSpPr bwMode="auto">
          <a:xfrm>
            <a:off x="4170716" y="1527717"/>
            <a:ext cx="7508521" cy="4831808"/>
            <a:chOff x="2280" y="1243"/>
            <a:chExt cx="3697" cy="2043"/>
          </a:xfrm>
        </p:grpSpPr>
        <p:grpSp>
          <p:nvGrpSpPr>
            <p:cNvPr id="76822" name="Group 22"/>
            <p:cNvGrpSpPr>
              <a:grpSpLocks/>
            </p:cNvGrpSpPr>
            <p:nvPr/>
          </p:nvGrpSpPr>
          <p:grpSpPr bwMode="auto">
            <a:xfrm>
              <a:off x="2280" y="1253"/>
              <a:ext cx="3697" cy="2033"/>
              <a:chOff x="2119" y="1253"/>
              <a:chExt cx="3382" cy="2033"/>
            </a:xfrm>
          </p:grpSpPr>
          <p:sp>
            <p:nvSpPr>
              <p:cNvPr id="941065" name="Rectangle 26"/>
              <p:cNvSpPr>
                <a:spLocks noChangeArrowheads="1"/>
              </p:cNvSpPr>
              <p:nvPr/>
            </p:nvSpPr>
            <p:spPr bwMode="gray">
              <a:xfrm>
                <a:off x="2119" y="1253"/>
                <a:ext cx="284"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66" name="Rectangle 27"/>
              <p:cNvSpPr>
                <a:spLocks noChangeArrowheads="1"/>
              </p:cNvSpPr>
              <p:nvPr/>
            </p:nvSpPr>
            <p:spPr bwMode="gray">
              <a:xfrm>
                <a:off x="2401" y="1253"/>
                <a:ext cx="281"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67" name="Rectangle 28"/>
              <p:cNvSpPr>
                <a:spLocks noChangeArrowheads="1"/>
              </p:cNvSpPr>
              <p:nvPr/>
            </p:nvSpPr>
            <p:spPr bwMode="gray">
              <a:xfrm>
                <a:off x="2682" y="1253"/>
                <a:ext cx="283"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68" name="Rectangle 29"/>
              <p:cNvSpPr>
                <a:spLocks noChangeArrowheads="1"/>
              </p:cNvSpPr>
              <p:nvPr/>
            </p:nvSpPr>
            <p:spPr bwMode="gray">
              <a:xfrm>
                <a:off x="2965" y="1253"/>
                <a:ext cx="283"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69" name="Rectangle 30"/>
              <p:cNvSpPr>
                <a:spLocks noChangeArrowheads="1"/>
              </p:cNvSpPr>
              <p:nvPr/>
            </p:nvSpPr>
            <p:spPr bwMode="gray">
              <a:xfrm>
                <a:off x="3244" y="1253"/>
                <a:ext cx="281"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70" name="Rectangle 31"/>
              <p:cNvSpPr>
                <a:spLocks noChangeArrowheads="1"/>
              </p:cNvSpPr>
              <p:nvPr/>
            </p:nvSpPr>
            <p:spPr bwMode="gray">
              <a:xfrm>
                <a:off x="3526" y="1253"/>
                <a:ext cx="282"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71" name="Rectangle 32"/>
              <p:cNvSpPr>
                <a:spLocks noChangeArrowheads="1"/>
              </p:cNvSpPr>
              <p:nvPr/>
            </p:nvSpPr>
            <p:spPr bwMode="gray">
              <a:xfrm>
                <a:off x="3808" y="1253"/>
                <a:ext cx="284"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72" name="Rectangle 33"/>
              <p:cNvSpPr>
                <a:spLocks noChangeArrowheads="1"/>
              </p:cNvSpPr>
              <p:nvPr/>
            </p:nvSpPr>
            <p:spPr bwMode="gray">
              <a:xfrm>
                <a:off x="4091" y="1253"/>
                <a:ext cx="282"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73" name="Rectangle 34"/>
              <p:cNvSpPr>
                <a:spLocks noChangeArrowheads="1"/>
              </p:cNvSpPr>
              <p:nvPr/>
            </p:nvSpPr>
            <p:spPr bwMode="gray">
              <a:xfrm>
                <a:off x="4372" y="1253"/>
                <a:ext cx="282"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74" name="Rectangle 35"/>
              <p:cNvSpPr>
                <a:spLocks noChangeArrowheads="1"/>
              </p:cNvSpPr>
              <p:nvPr/>
            </p:nvSpPr>
            <p:spPr bwMode="gray">
              <a:xfrm>
                <a:off x="4653" y="1253"/>
                <a:ext cx="284"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75" name="Rectangle 36"/>
              <p:cNvSpPr>
                <a:spLocks noChangeArrowheads="1"/>
              </p:cNvSpPr>
              <p:nvPr/>
            </p:nvSpPr>
            <p:spPr bwMode="gray">
              <a:xfrm>
                <a:off x="4937" y="1253"/>
                <a:ext cx="282"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sp>
            <p:nvSpPr>
              <p:cNvPr id="941076" name="Rectangle 37"/>
              <p:cNvSpPr>
                <a:spLocks noChangeArrowheads="1"/>
              </p:cNvSpPr>
              <p:nvPr/>
            </p:nvSpPr>
            <p:spPr bwMode="gray">
              <a:xfrm>
                <a:off x="5219" y="1253"/>
                <a:ext cx="282" cy="2033"/>
              </a:xfrm>
              <a:prstGeom prst="rect">
                <a:avLst/>
              </a:prstGeom>
              <a:solidFill>
                <a:srgbClr val="FFFFFF"/>
              </a:solidFill>
              <a:ln w="9525">
                <a:solidFill>
                  <a:schemeClr val="bg2"/>
                </a:solidFill>
                <a:miter lim="800000"/>
                <a:headEnd/>
                <a:tailEnd/>
              </a:ln>
              <a:effectLst/>
              <a:extLst/>
            </p:spPr>
            <p:txBody>
              <a:bodyPr wrap="none" tIns="91440" anchor="ctr"/>
              <a:lstStyle/>
              <a:p>
                <a:pPr>
                  <a:defRPr/>
                </a:pPr>
                <a:endParaRPr lang="en-GB" sz="1200" b="1">
                  <a:solidFill>
                    <a:schemeClr val="bg1"/>
                  </a:solidFill>
                </a:endParaRPr>
              </a:p>
            </p:txBody>
          </p:sp>
        </p:grpSp>
        <p:sp>
          <p:nvSpPr>
            <p:cNvPr id="76823" name="Rectangle 23"/>
            <p:cNvSpPr>
              <a:spLocks noChangeArrowheads="1"/>
            </p:cNvSpPr>
            <p:nvPr/>
          </p:nvSpPr>
          <p:spPr bwMode="gray">
            <a:xfrm>
              <a:off x="2280" y="1243"/>
              <a:ext cx="1232"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dirty="0">
                  <a:solidFill>
                    <a:schemeClr val="bg1"/>
                  </a:solidFill>
                </a:rPr>
                <a:t>June 2018</a:t>
              </a:r>
            </a:p>
          </p:txBody>
        </p:sp>
        <p:sp>
          <p:nvSpPr>
            <p:cNvPr id="76824" name="Rectangle 24"/>
            <p:cNvSpPr>
              <a:spLocks noChangeArrowheads="1"/>
            </p:cNvSpPr>
            <p:nvPr/>
          </p:nvSpPr>
          <p:spPr bwMode="gray">
            <a:xfrm>
              <a:off x="3510" y="1243"/>
              <a:ext cx="1238"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dirty="0">
                  <a:solidFill>
                    <a:schemeClr val="bg1"/>
                  </a:solidFill>
                </a:rPr>
                <a:t>July 2018</a:t>
              </a:r>
            </a:p>
          </p:txBody>
        </p:sp>
        <p:sp>
          <p:nvSpPr>
            <p:cNvPr id="76825" name="Rectangle 25"/>
            <p:cNvSpPr>
              <a:spLocks noChangeArrowheads="1"/>
            </p:cNvSpPr>
            <p:nvPr/>
          </p:nvSpPr>
          <p:spPr bwMode="gray">
            <a:xfrm>
              <a:off x="4743" y="1243"/>
              <a:ext cx="1232"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dirty="0">
                  <a:solidFill>
                    <a:schemeClr val="bg1"/>
                  </a:solidFill>
                </a:rPr>
                <a:t>Aug 2018</a:t>
              </a:r>
            </a:p>
          </p:txBody>
        </p:sp>
      </p:grpSp>
      <p:sp>
        <p:nvSpPr>
          <p:cNvPr id="44" name="Rectangle 23"/>
          <p:cNvSpPr>
            <a:spLocks noChangeArrowheads="1"/>
          </p:cNvSpPr>
          <p:nvPr/>
        </p:nvSpPr>
        <p:spPr bwMode="gray">
          <a:xfrm>
            <a:off x="617072" y="1971927"/>
            <a:ext cx="3577966" cy="4275554"/>
          </a:xfrm>
          <a:prstGeom prst="rect">
            <a:avLst/>
          </a:prstGeom>
          <a:noFill/>
          <a:ln w="9525">
            <a:noFill/>
            <a:miter lim="800000"/>
            <a:headEnd/>
            <a:tailEnd/>
          </a:ln>
        </p:spPr>
        <p:txBody>
          <a:bodyPr tIns="91440"/>
          <a:lstStyle/>
          <a:p>
            <a:pPr lvl="0" algn="r" fontAlgn="base">
              <a:lnSpc>
                <a:spcPts val="1920"/>
              </a:lnSpc>
              <a:spcBef>
                <a:spcPct val="0"/>
              </a:spcBef>
              <a:spcAft>
                <a:spcPct val="0"/>
              </a:spcAft>
            </a:pPr>
            <a:r>
              <a:rPr lang="en-US" sz="1200" dirty="0">
                <a:solidFill>
                  <a:srgbClr val="000000"/>
                </a:solidFill>
              </a:rPr>
              <a:t>Sponsor commitment and sign off</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US" sz="1200" dirty="0">
                <a:solidFill>
                  <a:srgbClr val="000000"/>
                </a:solidFill>
              </a:rPr>
              <a:t>Take inventory of the spares to be sold</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US" sz="1200" dirty="0">
                <a:solidFill>
                  <a:srgbClr val="000000"/>
                </a:solidFill>
              </a:rPr>
              <a:t>Establish the process for direct sale back to GE</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US" sz="1200" dirty="0">
                <a:solidFill>
                  <a:srgbClr val="000000"/>
                </a:solidFill>
              </a:rPr>
              <a:t>Obtain negotiation mandate of between 30% and 65% of the acquisition cost</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Secure NAPIMS approval</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US" sz="1200" dirty="0">
                <a:solidFill>
                  <a:srgbClr val="000000"/>
                </a:solidFill>
              </a:rPr>
              <a:t>Negotiate with GEION and agree payment terms &amp; condition</a:t>
            </a:r>
          </a:p>
          <a:p>
            <a:pPr lvl="0" algn="r" fontAlgn="base">
              <a:lnSpc>
                <a:spcPts val="1920"/>
              </a:lnSpc>
              <a:spcBef>
                <a:spcPct val="0"/>
              </a:spcBef>
              <a:spcAft>
                <a:spcPct val="0"/>
              </a:spcAft>
            </a:pPr>
            <a:r>
              <a:rPr lang="en-US" sz="1200" dirty="0">
                <a:solidFill>
                  <a:srgbClr val="000000"/>
                </a:solidFill>
              </a:rPr>
              <a:t>Secure a firm offer and get SPDC MTB acceptance</a:t>
            </a:r>
          </a:p>
        </p:txBody>
      </p:sp>
      <p:sp>
        <p:nvSpPr>
          <p:cNvPr id="56" name="Rectangle 8"/>
          <p:cNvSpPr>
            <a:spLocks noChangeArrowheads="1"/>
          </p:cNvSpPr>
          <p:nvPr/>
        </p:nvSpPr>
        <p:spPr bwMode="gray">
          <a:xfrm>
            <a:off x="6432015" y="3676088"/>
            <a:ext cx="1495181"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7" name="Rectangle 9"/>
          <p:cNvSpPr>
            <a:spLocks noChangeArrowheads="1"/>
          </p:cNvSpPr>
          <p:nvPr/>
        </p:nvSpPr>
        <p:spPr bwMode="gray">
          <a:xfrm>
            <a:off x="4195039" y="2055959"/>
            <a:ext cx="1216989"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8" name="Rectangle 10"/>
          <p:cNvSpPr>
            <a:spLocks noChangeArrowheads="1"/>
          </p:cNvSpPr>
          <p:nvPr/>
        </p:nvSpPr>
        <p:spPr bwMode="gray">
          <a:xfrm>
            <a:off x="4515899" y="2573634"/>
            <a:ext cx="1501775"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9" name="Rectangle 11"/>
          <p:cNvSpPr>
            <a:spLocks noChangeArrowheads="1"/>
          </p:cNvSpPr>
          <p:nvPr/>
        </p:nvSpPr>
        <p:spPr bwMode="gray">
          <a:xfrm>
            <a:off x="4515899" y="3091309"/>
            <a:ext cx="2156980"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60" name="Rectangle 12"/>
          <p:cNvSpPr>
            <a:spLocks noChangeArrowheads="1"/>
          </p:cNvSpPr>
          <p:nvPr/>
        </p:nvSpPr>
        <p:spPr bwMode="gray">
          <a:xfrm>
            <a:off x="7934962" y="4222804"/>
            <a:ext cx="616094"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61" name="Rectangle 13"/>
          <p:cNvSpPr>
            <a:spLocks noChangeArrowheads="1"/>
          </p:cNvSpPr>
          <p:nvPr/>
        </p:nvSpPr>
        <p:spPr bwMode="gray">
          <a:xfrm>
            <a:off x="8434566" y="4773748"/>
            <a:ext cx="748600"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62" name="Rectangle 14"/>
          <p:cNvSpPr>
            <a:spLocks noChangeArrowheads="1"/>
          </p:cNvSpPr>
          <p:nvPr/>
        </p:nvSpPr>
        <p:spPr bwMode="gray">
          <a:xfrm>
            <a:off x="9289186" y="5190764"/>
            <a:ext cx="2181206" cy="268423"/>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66" name="Rectangle 24"/>
          <p:cNvSpPr>
            <a:spLocks noChangeArrowheads="1"/>
          </p:cNvSpPr>
          <p:nvPr/>
        </p:nvSpPr>
        <p:spPr bwMode="gray">
          <a:xfrm>
            <a:off x="508000" y="1528854"/>
            <a:ext cx="3685856" cy="466490"/>
          </a:xfrm>
          <a:prstGeom prst="rect">
            <a:avLst/>
          </a:prstGeom>
          <a:solidFill>
            <a:schemeClr val="accent1"/>
          </a:solidFill>
          <a:ln w="12700">
            <a:solidFill>
              <a:srgbClr val="FFFFFF"/>
            </a:solidFill>
            <a:miter lim="800000"/>
            <a:headEnd/>
            <a:tailEnd/>
          </a:ln>
          <a:effectLst/>
          <a:extLst/>
        </p:spPr>
        <p:txBody>
          <a:bodyPr lIns="92075" tIns="91440" rIns="92075" bIns="91440" anchor="ctr"/>
          <a:lstStyle/>
          <a:p>
            <a:pPr lvl="0" algn="r">
              <a:spcBef>
                <a:spcPct val="0"/>
              </a:spcBef>
              <a:defRPr/>
            </a:pPr>
            <a:r>
              <a:rPr lang="en-GB" sz="1200" dirty="0"/>
              <a:t>Activities</a:t>
            </a:r>
          </a:p>
        </p:txBody>
      </p:sp>
    </p:spTree>
    <p:extLst>
      <p:ext uri="{BB962C8B-B14F-4D97-AF65-F5344CB8AC3E}">
        <p14:creationId xmlns:p14="http://schemas.microsoft.com/office/powerpoint/2010/main" val="3575052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3106" name="Rectangle 2"/>
          <p:cNvSpPr>
            <a:spLocks noGrp="1" noChangeArrowheads="1"/>
          </p:cNvSpPr>
          <p:nvPr>
            <p:ph type="title"/>
          </p:nvPr>
        </p:nvSpPr>
        <p:spPr/>
        <p:txBody>
          <a:bodyPr>
            <a:normAutofit/>
          </a:bodyPr>
          <a:lstStyle/>
          <a:p>
            <a:r>
              <a:rPr lang="en-GB" dirty="0"/>
              <a:t>Six-month Gantt project diagram</a:t>
            </a:r>
          </a:p>
        </p:txBody>
      </p:sp>
      <p:grpSp>
        <p:nvGrpSpPr>
          <p:cNvPr id="77846" name="Group 22"/>
          <p:cNvGrpSpPr>
            <a:grpSpLocks/>
          </p:cNvGrpSpPr>
          <p:nvPr/>
        </p:nvGrpSpPr>
        <p:grpSpPr bwMode="auto">
          <a:xfrm>
            <a:off x="4164363" y="1528750"/>
            <a:ext cx="7514875" cy="4830776"/>
            <a:chOff x="2119" y="1240"/>
            <a:chExt cx="3957" cy="2044"/>
          </a:xfrm>
        </p:grpSpPr>
        <p:sp>
          <p:nvSpPr>
            <p:cNvPr id="943112" name="Rectangle 23"/>
            <p:cNvSpPr>
              <a:spLocks noChangeArrowheads="1"/>
            </p:cNvSpPr>
            <p:nvPr/>
          </p:nvSpPr>
          <p:spPr bwMode="gray">
            <a:xfrm>
              <a:off x="4092" y="1251"/>
              <a:ext cx="166"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13" name="Rectangle 24"/>
            <p:cNvSpPr>
              <a:spLocks noChangeArrowheads="1"/>
            </p:cNvSpPr>
            <p:nvPr/>
          </p:nvSpPr>
          <p:spPr bwMode="gray">
            <a:xfrm>
              <a:off x="4258"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14" name="Rectangle 25"/>
            <p:cNvSpPr>
              <a:spLocks noChangeArrowheads="1"/>
            </p:cNvSpPr>
            <p:nvPr/>
          </p:nvSpPr>
          <p:spPr bwMode="gray">
            <a:xfrm>
              <a:off x="4423"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15" name="Rectangle 26"/>
            <p:cNvSpPr>
              <a:spLocks noChangeArrowheads="1"/>
            </p:cNvSpPr>
            <p:nvPr/>
          </p:nvSpPr>
          <p:spPr bwMode="gray">
            <a:xfrm>
              <a:off x="4588"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16" name="Rectangle 27"/>
            <p:cNvSpPr>
              <a:spLocks noChangeArrowheads="1"/>
            </p:cNvSpPr>
            <p:nvPr/>
          </p:nvSpPr>
          <p:spPr bwMode="gray">
            <a:xfrm>
              <a:off x="4751"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17" name="Rectangle 28"/>
            <p:cNvSpPr>
              <a:spLocks noChangeArrowheads="1"/>
            </p:cNvSpPr>
            <p:nvPr/>
          </p:nvSpPr>
          <p:spPr bwMode="gray">
            <a:xfrm>
              <a:off x="4916"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18" name="Rectangle 29"/>
            <p:cNvSpPr>
              <a:spLocks noChangeArrowheads="1"/>
            </p:cNvSpPr>
            <p:nvPr/>
          </p:nvSpPr>
          <p:spPr bwMode="gray">
            <a:xfrm>
              <a:off x="5081"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19" name="Rectangle 30"/>
            <p:cNvSpPr>
              <a:spLocks noChangeArrowheads="1"/>
            </p:cNvSpPr>
            <p:nvPr/>
          </p:nvSpPr>
          <p:spPr bwMode="gray">
            <a:xfrm>
              <a:off x="5245" y="1251"/>
              <a:ext cx="166"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20" name="Rectangle 31"/>
            <p:cNvSpPr>
              <a:spLocks noChangeArrowheads="1"/>
            </p:cNvSpPr>
            <p:nvPr/>
          </p:nvSpPr>
          <p:spPr bwMode="gray">
            <a:xfrm>
              <a:off x="5411" y="1251"/>
              <a:ext cx="164"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21" name="Rectangle 32"/>
            <p:cNvSpPr>
              <a:spLocks noChangeArrowheads="1"/>
            </p:cNvSpPr>
            <p:nvPr/>
          </p:nvSpPr>
          <p:spPr bwMode="gray">
            <a:xfrm>
              <a:off x="5575" y="1251"/>
              <a:ext cx="166"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22" name="Rectangle 33"/>
            <p:cNvSpPr>
              <a:spLocks noChangeArrowheads="1"/>
            </p:cNvSpPr>
            <p:nvPr/>
          </p:nvSpPr>
          <p:spPr bwMode="gray">
            <a:xfrm>
              <a:off x="5741"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23" name="Rectangle 34"/>
            <p:cNvSpPr>
              <a:spLocks noChangeArrowheads="1"/>
            </p:cNvSpPr>
            <p:nvPr/>
          </p:nvSpPr>
          <p:spPr bwMode="gray">
            <a:xfrm>
              <a:off x="5906" y="1251"/>
              <a:ext cx="164"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77859" name="Rectangle 35"/>
            <p:cNvSpPr>
              <a:spLocks noChangeArrowheads="1"/>
            </p:cNvSpPr>
            <p:nvPr/>
          </p:nvSpPr>
          <p:spPr bwMode="gray">
            <a:xfrm>
              <a:off x="4093" y="1240"/>
              <a:ext cx="659"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dirty="0" err="1">
                  <a:solidFill>
                    <a:schemeClr val="bg1"/>
                  </a:solidFill>
                </a:rPr>
                <a:t>MMMM</a:t>
              </a:r>
              <a:r>
                <a:rPr lang="en-GB" sz="1200" dirty="0">
                  <a:solidFill>
                    <a:schemeClr val="bg1"/>
                  </a:solidFill>
                </a:rPr>
                <a:t> </a:t>
              </a:r>
              <a:r>
                <a:rPr lang="en-GB" sz="1200" dirty="0" err="1">
                  <a:solidFill>
                    <a:schemeClr val="bg1"/>
                  </a:solidFill>
                </a:rPr>
                <a:t>YY</a:t>
              </a:r>
              <a:endParaRPr lang="en-GB" sz="1200" dirty="0">
                <a:solidFill>
                  <a:schemeClr val="bg1"/>
                </a:solidFill>
              </a:endParaRPr>
            </a:p>
          </p:txBody>
        </p:sp>
        <p:sp>
          <p:nvSpPr>
            <p:cNvPr id="77860" name="Rectangle 36"/>
            <p:cNvSpPr>
              <a:spLocks noChangeArrowheads="1"/>
            </p:cNvSpPr>
            <p:nvPr/>
          </p:nvSpPr>
          <p:spPr bwMode="gray">
            <a:xfrm>
              <a:off x="4751" y="1240"/>
              <a:ext cx="662"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a:solidFill>
                    <a:schemeClr val="bg1"/>
                  </a:solidFill>
                </a:rPr>
                <a:t>MMMM YY</a:t>
              </a:r>
            </a:p>
          </p:txBody>
        </p:sp>
        <p:sp>
          <p:nvSpPr>
            <p:cNvPr id="77861" name="Rectangle 37"/>
            <p:cNvSpPr>
              <a:spLocks noChangeArrowheads="1"/>
            </p:cNvSpPr>
            <p:nvPr/>
          </p:nvSpPr>
          <p:spPr bwMode="gray">
            <a:xfrm>
              <a:off x="5411" y="1240"/>
              <a:ext cx="665"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a:solidFill>
                    <a:schemeClr val="bg1"/>
                  </a:solidFill>
                </a:rPr>
                <a:t>MMMM YY</a:t>
              </a:r>
            </a:p>
          </p:txBody>
        </p:sp>
        <p:sp>
          <p:nvSpPr>
            <p:cNvPr id="943127" name="Rectangle 38"/>
            <p:cNvSpPr>
              <a:spLocks noChangeArrowheads="1"/>
            </p:cNvSpPr>
            <p:nvPr/>
          </p:nvSpPr>
          <p:spPr bwMode="gray">
            <a:xfrm>
              <a:off x="2119" y="1251"/>
              <a:ext cx="166"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28" name="Rectangle 39"/>
            <p:cNvSpPr>
              <a:spLocks noChangeArrowheads="1"/>
            </p:cNvSpPr>
            <p:nvPr/>
          </p:nvSpPr>
          <p:spPr bwMode="gray">
            <a:xfrm>
              <a:off x="2284"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29" name="Rectangle 40"/>
            <p:cNvSpPr>
              <a:spLocks noChangeArrowheads="1"/>
            </p:cNvSpPr>
            <p:nvPr/>
          </p:nvSpPr>
          <p:spPr bwMode="gray">
            <a:xfrm>
              <a:off x="2449" y="1251"/>
              <a:ext cx="164"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0" name="Rectangle 41"/>
            <p:cNvSpPr>
              <a:spLocks noChangeArrowheads="1"/>
            </p:cNvSpPr>
            <p:nvPr/>
          </p:nvSpPr>
          <p:spPr bwMode="gray">
            <a:xfrm>
              <a:off x="2613"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1" name="Rectangle 42"/>
            <p:cNvSpPr>
              <a:spLocks noChangeArrowheads="1"/>
            </p:cNvSpPr>
            <p:nvPr/>
          </p:nvSpPr>
          <p:spPr bwMode="gray">
            <a:xfrm>
              <a:off x="2776"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2" name="Rectangle 43"/>
            <p:cNvSpPr>
              <a:spLocks noChangeArrowheads="1"/>
            </p:cNvSpPr>
            <p:nvPr/>
          </p:nvSpPr>
          <p:spPr bwMode="gray">
            <a:xfrm>
              <a:off x="2941"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3" name="Rectangle 44"/>
            <p:cNvSpPr>
              <a:spLocks noChangeArrowheads="1"/>
            </p:cNvSpPr>
            <p:nvPr/>
          </p:nvSpPr>
          <p:spPr bwMode="gray">
            <a:xfrm>
              <a:off x="3107" y="1251"/>
              <a:ext cx="166"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4" name="Rectangle 45"/>
            <p:cNvSpPr>
              <a:spLocks noChangeArrowheads="1"/>
            </p:cNvSpPr>
            <p:nvPr/>
          </p:nvSpPr>
          <p:spPr bwMode="gray">
            <a:xfrm>
              <a:off x="3272" y="1251"/>
              <a:ext cx="166"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5" name="Rectangle 46"/>
            <p:cNvSpPr>
              <a:spLocks noChangeArrowheads="1"/>
            </p:cNvSpPr>
            <p:nvPr/>
          </p:nvSpPr>
          <p:spPr bwMode="gray">
            <a:xfrm>
              <a:off x="3437" y="1251"/>
              <a:ext cx="164"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6" name="Rectangle 47"/>
            <p:cNvSpPr>
              <a:spLocks noChangeArrowheads="1"/>
            </p:cNvSpPr>
            <p:nvPr/>
          </p:nvSpPr>
          <p:spPr bwMode="gray">
            <a:xfrm>
              <a:off x="3601"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7" name="Rectangle 48"/>
            <p:cNvSpPr>
              <a:spLocks noChangeArrowheads="1"/>
            </p:cNvSpPr>
            <p:nvPr/>
          </p:nvSpPr>
          <p:spPr bwMode="gray">
            <a:xfrm>
              <a:off x="3766"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3138" name="Rectangle 49"/>
            <p:cNvSpPr>
              <a:spLocks noChangeArrowheads="1"/>
            </p:cNvSpPr>
            <p:nvPr/>
          </p:nvSpPr>
          <p:spPr bwMode="gray">
            <a:xfrm>
              <a:off x="3932" y="1251"/>
              <a:ext cx="165"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77874" name="Rectangle 50"/>
            <p:cNvSpPr>
              <a:spLocks noChangeArrowheads="1"/>
            </p:cNvSpPr>
            <p:nvPr/>
          </p:nvSpPr>
          <p:spPr bwMode="gray">
            <a:xfrm>
              <a:off x="2119" y="1240"/>
              <a:ext cx="659"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dirty="0" err="1">
                  <a:solidFill>
                    <a:schemeClr val="bg1"/>
                  </a:solidFill>
                </a:rPr>
                <a:t>MMMM</a:t>
              </a:r>
              <a:r>
                <a:rPr lang="en-GB" sz="1200" dirty="0">
                  <a:solidFill>
                    <a:schemeClr val="bg1"/>
                  </a:solidFill>
                </a:rPr>
                <a:t> </a:t>
              </a:r>
              <a:r>
                <a:rPr lang="en-GB" sz="1200" dirty="0" err="1">
                  <a:solidFill>
                    <a:schemeClr val="bg1"/>
                  </a:solidFill>
                </a:rPr>
                <a:t>YY</a:t>
              </a:r>
              <a:endParaRPr lang="en-GB" sz="1200" dirty="0">
                <a:solidFill>
                  <a:schemeClr val="bg1"/>
                </a:solidFill>
              </a:endParaRPr>
            </a:p>
          </p:txBody>
        </p:sp>
        <p:sp>
          <p:nvSpPr>
            <p:cNvPr id="77875" name="Rectangle 51"/>
            <p:cNvSpPr>
              <a:spLocks noChangeArrowheads="1"/>
            </p:cNvSpPr>
            <p:nvPr/>
          </p:nvSpPr>
          <p:spPr bwMode="gray">
            <a:xfrm>
              <a:off x="2777" y="1240"/>
              <a:ext cx="662"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dirty="0" err="1">
                  <a:solidFill>
                    <a:schemeClr val="bg1"/>
                  </a:solidFill>
                </a:rPr>
                <a:t>MMMM</a:t>
              </a:r>
              <a:r>
                <a:rPr lang="en-GB" sz="1200" dirty="0">
                  <a:solidFill>
                    <a:schemeClr val="bg1"/>
                  </a:solidFill>
                </a:rPr>
                <a:t> </a:t>
              </a:r>
              <a:r>
                <a:rPr lang="en-GB" sz="1200" dirty="0" err="1">
                  <a:solidFill>
                    <a:schemeClr val="bg1"/>
                  </a:solidFill>
                </a:rPr>
                <a:t>YY</a:t>
              </a:r>
              <a:endParaRPr lang="en-GB" sz="1200" dirty="0">
                <a:solidFill>
                  <a:schemeClr val="bg1"/>
                </a:solidFill>
              </a:endParaRPr>
            </a:p>
          </p:txBody>
        </p:sp>
        <p:sp>
          <p:nvSpPr>
            <p:cNvPr id="77876" name="Rectangle 52"/>
            <p:cNvSpPr>
              <a:spLocks noChangeArrowheads="1"/>
            </p:cNvSpPr>
            <p:nvPr/>
          </p:nvSpPr>
          <p:spPr bwMode="gray">
            <a:xfrm>
              <a:off x="3437" y="1240"/>
              <a:ext cx="659" cy="191"/>
            </a:xfrm>
            <a:prstGeom prst="rect">
              <a:avLst/>
            </a:prstGeom>
            <a:solidFill>
              <a:schemeClr val="tx2"/>
            </a:solidFill>
            <a:ln w="12700">
              <a:solidFill>
                <a:srgbClr val="FFFFFF"/>
              </a:solidFill>
              <a:miter lim="800000"/>
              <a:headEnd/>
              <a:tailEnd/>
            </a:ln>
          </p:spPr>
          <p:txBody>
            <a:bodyPr lIns="92075" tIns="91440" rIns="92075" bIns="91440" anchor="ctr" anchorCtr="1"/>
            <a:lstStyle/>
            <a:p>
              <a:pPr lvl="0" fontAlgn="base">
                <a:spcBef>
                  <a:spcPct val="0"/>
                </a:spcBef>
                <a:spcAft>
                  <a:spcPct val="0"/>
                </a:spcAft>
              </a:pPr>
              <a:r>
                <a:rPr lang="en-GB" sz="1200" dirty="0" err="1">
                  <a:solidFill>
                    <a:schemeClr val="bg1"/>
                  </a:solidFill>
                </a:rPr>
                <a:t>MMMM</a:t>
              </a:r>
              <a:r>
                <a:rPr lang="en-GB" sz="1200" dirty="0">
                  <a:solidFill>
                    <a:schemeClr val="bg1"/>
                  </a:solidFill>
                </a:rPr>
                <a:t> </a:t>
              </a:r>
              <a:r>
                <a:rPr lang="en-GB" sz="1200" dirty="0" err="1">
                  <a:solidFill>
                    <a:schemeClr val="bg1"/>
                  </a:solidFill>
                </a:rPr>
                <a:t>YY</a:t>
              </a:r>
              <a:endParaRPr lang="en-GB" sz="1200" dirty="0">
                <a:solidFill>
                  <a:schemeClr val="bg1"/>
                </a:solidFill>
              </a:endParaRPr>
            </a:p>
          </p:txBody>
        </p:sp>
      </p:grpSp>
      <p:sp>
        <p:nvSpPr>
          <p:cNvPr id="99" name="Rectangle 23"/>
          <p:cNvSpPr>
            <a:spLocks noChangeArrowheads="1"/>
          </p:cNvSpPr>
          <p:nvPr/>
        </p:nvSpPr>
        <p:spPr bwMode="gray">
          <a:xfrm>
            <a:off x="617072" y="1971927"/>
            <a:ext cx="3577966" cy="4275554"/>
          </a:xfrm>
          <a:prstGeom prst="rect">
            <a:avLst/>
          </a:prstGeom>
          <a:noFill/>
          <a:ln w="9525">
            <a:noFill/>
            <a:miter lim="800000"/>
            <a:headEnd/>
            <a:tailEnd/>
          </a:ln>
        </p:spPr>
        <p:txBody>
          <a:bodyPr tIns="91440"/>
          <a:lstStyle/>
          <a:p>
            <a:pPr lvl="0" algn="r" fontAlgn="base">
              <a:lnSpc>
                <a:spcPts val="1920"/>
              </a:lnSpc>
              <a:spcBef>
                <a:spcPct val="0"/>
              </a:spcBef>
              <a:spcAft>
                <a:spcPct val="0"/>
              </a:spcAft>
            </a:pPr>
            <a:r>
              <a:rPr lang="en-GB" sz="1200" dirty="0">
                <a:solidFill>
                  <a:srgbClr val="000000"/>
                </a:solidFill>
              </a:rPr>
              <a:t>Refine approach</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Develop hypotheses</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Conduct marketspace scans</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Interviews and internal assessment</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Identify business model opportunities</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Develop opportunity profiles</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Develop path forward</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Key phase milestones</a:t>
            </a:r>
          </a:p>
        </p:txBody>
      </p:sp>
      <p:sp>
        <p:nvSpPr>
          <p:cNvPr id="100" name="Rectangle 8"/>
          <p:cNvSpPr>
            <a:spLocks noChangeArrowheads="1"/>
          </p:cNvSpPr>
          <p:nvPr/>
        </p:nvSpPr>
        <p:spPr bwMode="gray">
          <a:xfrm>
            <a:off x="4195039" y="3676088"/>
            <a:ext cx="5454617"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101" name="Rectangle 9"/>
          <p:cNvSpPr>
            <a:spLocks noChangeArrowheads="1"/>
          </p:cNvSpPr>
          <p:nvPr/>
        </p:nvSpPr>
        <p:spPr bwMode="gray">
          <a:xfrm>
            <a:off x="4195039" y="2055959"/>
            <a:ext cx="1216989"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102" name="Rectangle 10"/>
          <p:cNvSpPr>
            <a:spLocks noChangeArrowheads="1"/>
          </p:cNvSpPr>
          <p:nvPr/>
        </p:nvSpPr>
        <p:spPr bwMode="gray">
          <a:xfrm>
            <a:off x="4515899" y="2573634"/>
            <a:ext cx="1501775"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103" name="Rectangle 11"/>
          <p:cNvSpPr>
            <a:spLocks noChangeArrowheads="1"/>
          </p:cNvSpPr>
          <p:nvPr/>
        </p:nvSpPr>
        <p:spPr bwMode="gray">
          <a:xfrm>
            <a:off x="4195039" y="3127257"/>
            <a:ext cx="4250918"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104" name="Rectangle 12"/>
          <p:cNvSpPr>
            <a:spLocks noChangeArrowheads="1"/>
          </p:cNvSpPr>
          <p:nvPr/>
        </p:nvSpPr>
        <p:spPr bwMode="gray">
          <a:xfrm>
            <a:off x="7247954" y="4224918"/>
            <a:ext cx="3622489"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105" name="Rectangle 13"/>
          <p:cNvSpPr>
            <a:spLocks noChangeArrowheads="1"/>
          </p:cNvSpPr>
          <p:nvPr/>
        </p:nvSpPr>
        <p:spPr bwMode="gray">
          <a:xfrm>
            <a:off x="8434566" y="4773748"/>
            <a:ext cx="3039624"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106" name="Rectangle 14"/>
          <p:cNvSpPr>
            <a:spLocks noChangeArrowheads="1"/>
          </p:cNvSpPr>
          <p:nvPr/>
        </p:nvSpPr>
        <p:spPr bwMode="gray">
          <a:xfrm>
            <a:off x="9662946" y="5324976"/>
            <a:ext cx="1807446" cy="268423"/>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107" name="AutoShape 15"/>
          <p:cNvSpPr>
            <a:spLocks noChangeArrowheads="1"/>
          </p:cNvSpPr>
          <p:nvPr/>
        </p:nvSpPr>
        <p:spPr bwMode="gray">
          <a:xfrm>
            <a:off x="4675380" y="5809096"/>
            <a:ext cx="341744" cy="371478"/>
          </a:xfrm>
          <a:prstGeom prst="diamond">
            <a:avLst/>
          </a:prstGeom>
          <a:solidFill>
            <a:srgbClr val="CACACA"/>
          </a:solidFill>
          <a:ln w="9525">
            <a:noFill/>
            <a:miter lim="800000"/>
            <a:headEnd/>
            <a:tailEnd/>
          </a:ln>
        </p:spPr>
        <p:txBody>
          <a:bodyPr wrap="none" anchor="ctr"/>
          <a:lstStyle/>
          <a:p>
            <a:pPr fontAlgn="base">
              <a:spcBef>
                <a:spcPct val="0"/>
              </a:spcBef>
              <a:spcAft>
                <a:spcPct val="0"/>
              </a:spcAft>
            </a:pPr>
            <a:endParaRPr lang="en-GB" sz="1200"/>
          </a:p>
        </p:txBody>
      </p:sp>
      <p:sp>
        <p:nvSpPr>
          <p:cNvPr id="108" name="AutoShape 16"/>
          <p:cNvSpPr>
            <a:spLocks noChangeArrowheads="1"/>
          </p:cNvSpPr>
          <p:nvPr/>
        </p:nvSpPr>
        <p:spPr bwMode="gray">
          <a:xfrm>
            <a:off x="7160618" y="5809096"/>
            <a:ext cx="341744" cy="371478"/>
          </a:xfrm>
          <a:prstGeom prst="diamond">
            <a:avLst/>
          </a:prstGeom>
          <a:solidFill>
            <a:srgbClr val="CACACA"/>
          </a:solidFill>
          <a:ln w="9525">
            <a:noFill/>
            <a:miter lim="800000"/>
            <a:headEnd/>
            <a:tailEnd/>
          </a:ln>
        </p:spPr>
        <p:txBody>
          <a:bodyPr wrap="none" anchor="ctr"/>
          <a:lstStyle/>
          <a:p>
            <a:pPr fontAlgn="base">
              <a:spcBef>
                <a:spcPct val="0"/>
              </a:spcBef>
              <a:spcAft>
                <a:spcPct val="0"/>
              </a:spcAft>
            </a:pPr>
            <a:endParaRPr lang="en-GB" sz="1200"/>
          </a:p>
        </p:txBody>
      </p:sp>
      <p:sp>
        <p:nvSpPr>
          <p:cNvPr id="109" name="AutoShape 17"/>
          <p:cNvSpPr>
            <a:spLocks noChangeArrowheads="1"/>
          </p:cNvSpPr>
          <p:nvPr/>
        </p:nvSpPr>
        <p:spPr bwMode="gray">
          <a:xfrm>
            <a:off x="9442711" y="5809096"/>
            <a:ext cx="341744" cy="371478"/>
          </a:xfrm>
          <a:prstGeom prst="diamond">
            <a:avLst/>
          </a:prstGeom>
          <a:solidFill>
            <a:srgbClr val="CACACA"/>
          </a:solidFill>
          <a:ln w="9525">
            <a:noFill/>
            <a:miter lim="800000"/>
            <a:headEnd/>
            <a:tailEnd/>
          </a:ln>
        </p:spPr>
        <p:txBody>
          <a:bodyPr wrap="none" anchor="ctr"/>
          <a:lstStyle/>
          <a:p>
            <a:pPr fontAlgn="base">
              <a:spcBef>
                <a:spcPct val="0"/>
              </a:spcBef>
              <a:spcAft>
                <a:spcPct val="0"/>
              </a:spcAft>
            </a:pPr>
            <a:endParaRPr lang="en-GB" sz="1200"/>
          </a:p>
        </p:txBody>
      </p:sp>
      <p:sp>
        <p:nvSpPr>
          <p:cNvPr id="110" name="AutoShape 18"/>
          <p:cNvSpPr>
            <a:spLocks noChangeArrowheads="1"/>
          </p:cNvSpPr>
          <p:nvPr/>
        </p:nvSpPr>
        <p:spPr bwMode="gray">
          <a:xfrm>
            <a:off x="11324202" y="5823477"/>
            <a:ext cx="341744" cy="371478"/>
          </a:xfrm>
          <a:prstGeom prst="diamond">
            <a:avLst/>
          </a:prstGeom>
          <a:solidFill>
            <a:srgbClr val="CACACA"/>
          </a:solidFill>
          <a:ln w="9525">
            <a:noFill/>
            <a:miter lim="800000"/>
            <a:headEnd/>
            <a:tailEnd/>
          </a:ln>
        </p:spPr>
        <p:txBody>
          <a:bodyPr wrap="none" anchor="ctr"/>
          <a:lstStyle/>
          <a:p>
            <a:pPr fontAlgn="base">
              <a:spcBef>
                <a:spcPct val="0"/>
              </a:spcBef>
              <a:spcAft>
                <a:spcPct val="0"/>
              </a:spcAft>
            </a:pPr>
            <a:endParaRPr lang="en-GB" sz="1200"/>
          </a:p>
        </p:txBody>
      </p:sp>
      <p:cxnSp>
        <p:nvCxnSpPr>
          <p:cNvPr id="111" name="AutoShape 19"/>
          <p:cNvCxnSpPr>
            <a:cxnSpLocks noChangeShapeType="1"/>
          </p:cNvCxnSpPr>
          <p:nvPr/>
        </p:nvCxnSpPr>
        <p:spPr bwMode="auto">
          <a:xfrm>
            <a:off x="6015776" y="2712639"/>
            <a:ext cx="1232178" cy="1648888"/>
          </a:xfrm>
          <a:prstGeom prst="bentConnector3">
            <a:avLst>
              <a:gd name="adj1" fmla="val 50000"/>
            </a:avLst>
          </a:prstGeom>
          <a:noFill/>
          <a:ln w="19050">
            <a:solidFill>
              <a:schemeClr val="accent2"/>
            </a:solidFill>
            <a:miter lim="800000"/>
            <a:headEnd/>
            <a:tailEnd type="triangle" w="med" len="med"/>
          </a:ln>
        </p:spPr>
      </p:cxnSp>
      <p:sp>
        <p:nvSpPr>
          <p:cNvPr id="112" name="AutoShape 6"/>
          <p:cNvSpPr>
            <a:spLocks noChangeArrowheads="1"/>
          </p:cNvSpPr>
          <p:nvPr/>
        </p:nvSpPr>
        <p:spPr bwMode="gray">
          <a:xfrm>
            <a:off x="5288622" y="1990587"/>
            <a:ext cx="322758" cy="351756"/>
          </a:xfrm>
          <a:prstGeom prst="diamond">
            <a:avLst/>
          </a:prstGeom>
          <a:solidFill>
            <a:schemeClr val="accent2"/>
          </a:solidFill>
          <a:ln w="9525">
            <a:noFill/>
            <a:miter lim="800000"/>
            <a:headEnd/>
            <a:tailEnd/>
          </a:ln>
        </p:spPr>
        <p:txBody>
          <a:bodyPr wrap="none" anchor="ctr"/>
          <a:lstStyle/>
          <a:p>
            <a:pPr fontAlgn="base">
              <a:spcBef>
                <a:spcPct val="0"/>
              </a:spcBef>
              <a:spcAft>
                <a:spcPct val="0"/>
              </a:spcAft>
            </a:pPr>
            <a:endParaRPr lang="en-GB" sz="1200"/>
          </a:p>
        </p:txBody>
      </p:sp>
      <p:sp>
        <p:nvSpPr>
          <p:cNvPr id="113" name="AutoShape 7"/>
          <p:cNvSpPr>
            <a:spLocks noChangeArrowheads="1"/>
          </p:cNvSpPr>
          <p:nvPr/>
        </p:nvSpPr>
        <p:spPr bwMode="gray">
          <a:xfrm>
            <a:off x="8284578" y="3088805"/>
            <a:ext cx="322758" cy="351756"/>
          </a:xfrm>
          <a:prstGeom prst="diamond">
            <a:avLst/>
          </a:prstGeom>
          <a:solidFill>
            <a:schemeClr val="accent2"/>
          </a:solidFill>
          <a:ln w="9525">
            <a:noFill/>
            <a:miter lim="800000"/>
            <a:headEnd/>
            <a:tailEnd/>
          </a:ln>
        </p:spPr>
        <p:txBody>
          <a:bodyPr wrap="none" anchor="ctr"/>
          <a:lstStyle/>
          <a:p>
            <a:pPr fontAlgn="base">
              <a:spcBef>
                <a:spcPct val="0"/>
              </a:spcBef>
              <a:spcAft>
                <a:spcPct val="0"/>
              </a:spcAft>
            </a:pPr>
            <a:endParaRPr lang="en-GB" sz="1200"/>
          </a:p>
        </p:txBody>
      </p:sp>
      <p:sp>
        <p:nvSpPr>
          <p:cNvPr id="114" name="Rectangle 24"/>
          <p:cNvSpPr>
            <a:spLocks noChangeArrowheads="1"/>
          </p:cNvSpPr>
          <p:nvPr/>
        </p:nvSpPr>
        <p:spPr bwMode="gray">
          <a:xfrm>
            <a:off x="508000" y="1528854"/>
            <a:ext cx="3685856" cy="466490"/>
          </a:xfrm>
          <a:prstGeom prst="rect">
            <a:avLst/>
          </a:prstGeom>
          <a:solidFill>
            <a:schemeClr val="accent1"/>
          </a:solidFill>
          <a:ln w="12700">
            <a:solidFill>
              <a:srgbClr val="FFFFFF"/>
            </a:solidFill>
            <a:miter lim="800000"/>
            <a:headEnd/>
            <a:tailEnd/>
          </a:ln>
          <a:effectLst/>
          <a:extLst/>
        </p:spPr>
        <p:txBody>
          <a:bodyPr lIns="92075" tIns="91440" rIns="92075" bIns="91440" anchor="ctr"/>
          <a:lstStyle/>
          <a:p>
            <a:pPr lvl="0" algn="r">
              <a:spcBef>
                <a:spcPct val="0"/>
              </a:spcBef>
              <a:defRPr/>
            </a:pPr>
            <a:r>
              <a:rPr lang="en-GB" sz="1200" dirty="0"/>
              <a:t>Activities</a:t>
            </a:r>
          </a:p>
        </p:txBody>
      </p:sp>
    </p:spTree>
    <p:extLst>
      <p:ext uri="{BB962C8B-B14F-4D97-AF65-F5344CB8AC3E}">
        <p14:creationId xmlns:p14="http://schemas.microsoft.com/office/powerpoint/2010/main" val="760068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5154" name="Rectangle 2"/>
          <p:cNvSpPr>
            <a:spLocks noGrp="1" noChangeArrowheads="1"/>
          </p:cNvSpPr>
          <p:nvPr>
            <p:ph type="title"/>
          </p:nvPr>
        </p:nvSpPr>
        <p:spPr/>
        <p:txBody>
          <a:bodyPr>
            <a:normAutofit/>
          </a:bodyPr>
          <a:lstStyle/>
          <a:p>
            <a:r>
              <a:rPr lang="en-GB" dirty="0"/>
              <a:t>Nine-month Gantt project diagram</a:t>
            </a:r>
          </a:p>
        </p:txBody>
      </p:sp>
      <p:grpSp>
        <p:nvGrpSpPr>
          <p:cNvPr id="8" name="Group 7"/>
          <p:cNvGrpSpPr/>
          <p:nvPr/>
        </p:nvGrpSpPr>
        <p:grpSpPr>
          <a:xfrm>
            <a:off x="4193141" y="1528763"/>
            <a:ext cx="7486096" cy="4830762"/>
            <a:chOff x="4193141" y="1505974"/>
            <a:chExt cx="7486096" cy="4853551"/>
          </a:xfrm>
        </p:grpSpPr>
        <p:grpSp>
          <p:nvGrpSpPr>
            <p:cNvPr id="78868" name="Group 20"/>
            <p:cNvGrpSpPr>
              <a:grpSpLocks/>
            </p:cNvGrpSpPr>
            <p:nvPr/>
          </p:nvGrpSpPr>
          <p:grpSpPr bwMode="auto">
            <a:xfrm>
              <a:off x="6685975" y="1505974"/>
              <a:ext cx="2496631" cy="4853551"/>
              <a:chOff x="3432" y="1231"/>
              <a:chExt cx="1315" cy="2050"/>
            </a:xfrm>
          </p:grpSpPr>
          <p:sp>
            <p:nvSpPr>
              <p:cNvPr id="945158" name="Rectangle 37"/>
              <p:cNvSpPr>
                <a:spLocks noChangeArrowheads="1"/>
              </p:cNvSpPr>
              <p:nvPr/>
            </p:nvSpPr>
            <p:spPr bwMode="gray">
              <a:xfrm>
                <a:off x="3432" y="1248"/>
                <a:ext cx="438"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5159" name="Rectangle 38"/>
              <p:cNvSpPr>
                <a:spLocks noChangeArrowheads="1"/>
              </p:cNvSpPr>
              <p:nvPr/>
            </p:nvSpPr>
            <p:spPr bwMode="gray">
              <a:xfrm>
                <a:off x="3870" y="1248"/>
                <a:ext cx="439"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5160" name="Rectangle 39"/>
              <p:cNvSpPr>
                <a:spLocks noChangeArrowheads="1"/>
              </p:cNvSpPr>
              <p:nvPr/>
            </p:nvSpPr>
            <p:spPr bwMode="gray">
              <a:xfrm>
                <a:off x="4308" y="1248"/>
                <a:ext cx="439"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78888" name="Rectangle 40"/>
              <p:cNvSpPr>
                <a:spLocks noChangeArrowheads="1"/>
              </p:cNvSpPr>
              <p:nvPr/>
            </p:nvSpPr>
            <p:spPr bwMode="gray">
              <a:xfrm>
                <a:off x="3432" y="1231"/>
                <a:ext cx="438"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dirty="0">
                    <a:solidFill>
                      <a:schemeClr val="bg1"/>
                    </a:solidFill>
                  </a:rPr>
                  <a:t>MMM </a:t>
                </a:r>
                <a:r>
                  <a:rPr lang="en-GB" sz="1200" dirty="0" err="1">
                    <a:solidFill>
                      <a:schemeClr val="bg1"/>
                    </a:solidFill>
                  </a:rPr>
                  <a:t>YY</a:t>
                </a:r>
                <a:endParaRPr lang="en-GB" sz="1200" dirty="0">
                  <a:solidFill>
                    <a:schemeClr val="bg1"/>
                  </a:solidFill>
                </a:endParaRPr>
              </a:p>
            </p:txBody>
          </p:sp>
          <p:sp>
            <p:nvSpPr>
              <p:cNvPr id="78889" name="Rectangle 41"/>
              <p:cNvSpPr>
                <a:spLocks noChangeArrowheads="1"/>
              </p:cNvSpPr>
              <p:nvPr/>
            </p:nvSpPr>
            <p:spPr bwMode="gray">
              <a:xfrm>
                <a:off x="3870" y="1231"/>
                <a:ext cx="439"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a:solidFill>
                      <a:schemeClr val="bg1"/>
                    </a:solidFill>
                  </a:rPr>
                  <a:t>MMM YY</a:t>
                </a:r>
              </a:p>
            </p:txBody>
          </p:sp>
          <p:sp>
            <p:nvSpPr>
              <p:cNvPr id="78890" name="Rectangle 42"/>
              <p:cNvSpPr>
                <a:spLocks noChangeArrowheads="1"/>
              </p:cNvSpPr>
              <p:nvPr/>
            </p:nvSpPr>
            <p:spPr bwMode="gray">
              <a:xfrm>
                <a:off x="4308" y="1231"/>
                <a:ext cx="438"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a:solidFill>
                      <a:schemeClr val="bg1"/>
                    </a:solidFill>
                  </a:rPr>
                  <a:t>MMM YY</a:t>
                </a:r>
              </a:p>
            </p:txBody>
          </p:sp>
        </p:grpSp>
        <p:grpSp>
          <p:nvGrpSpPr>
            <p:cNvPr id="78869" name="Group 21"/>
            <p:cNvGrpSpPr>
              <a:grpSpLocks/>
            </p:cNvGrpSpPr>
            <p:nvPr/>
          </p:nvGrpSpPr>
          <p:grpSpPr bwMode="auto">
            <a:xfrm>
              <a:off x="4193141" y="1505974"/>
              <a:ext cx="2496631" cy="4853551"/>
              <a:chOff x="2119" y="1231"/>
              <a:chExt cx="1315" cy="2050"/>
            </a:xfrm>
          </p:grpSpPr>
          <p:sp>
            <p:nvSpPr>
              <p:cNvPr id="945165" name="Rectangle 31"/>
              <p:cNvSpPr>
                <a:spLocks noChangeArrowheads="1"/>
              </p:cNvSpPr>
              <p:nvPr/>
            </p:nvSpPr>
            <p:spPr bwMode="gray">
              <a:xfrm>
                <a:off x="2119" y="1248"/>
                <a:ext cx="438"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5166" name="Rectangle 32"/>
              <p:cNvSpPr>
                <a:spLocks noChangeArrowheads="1"/>
              </p:cNvSpPr>
              <p:nvPr/>
            </p:nvSpPr>
            <p:spPr bwMode="gray">
              <a:xfrm>
                <a:off x="2557" y="1248"/>
                <a:ext cx="440"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5167" name="Rectangle 33"/>
              <p:cNvSpPr>
                <a:spLocks noChangeArrowheads="1"/>
              </p:cNvSpPr>
              <p:nvPr/>
            </p:nvSpPr>
            <p:spPr bwMode="gray">
              <a:xfrm>
                <a:off x="2996" y="1248"/>
                <a:ext cx="438"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78882" name="Rectangle 34"/>
              <p:cNvSpPr>
                <a:spLocks noChangeArrowheads="1"/>
              </p:cNvSpPr>
              <p:nvPr/>
            </p:nvSpPr>
            <p:spPr bwMode="gray">
              <a:xfrm>
                <a:off x="2119" y="1231"/>
                <a:ext cx="438"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dirty="0">
                    <a:solidFill>
                      <a:schemeClr val="bg1"/>
                    </a:solidFill>
                  </a:rPr>
                  <a:t>MMM </a:t>
                </a:r>
                <a:r>
                  <a:rPr lang="en-GB" sz="1200" dirty="0" err="1">
                    <a:solidFill>
                      <a:schemeClr val="bg1"/>
                    </a:solidFill>
                  </a:rPr>
                  <a:t>YY</a:t>
                </a:r>
                <a:endParaRPr lang="en-GB" sz="1200" dirty="0">
                  <a:solidFill>
                    <a:schemeClr val="bg1"/>
                  </a:solidFill>
                </a:endParaRPr>
              </a:p>
            </p:txBody>
          </p:sp>
          <p:sp>
            <p:nvSpPr>
              <p:cNvPr id="78883" name="Rectangle 35"/>
              <p:cNvSpPr>
                <a:spLocks noChangeArrowheads="1"/>
              </p:cNvSpPr>
              <p:nvPr/>
            </p:nvSpPr>
            <p:spPr bwMode="gray">
              <a:xfrm>
                <a:off x="2557" y="1231"/>
                <a:ext cx="440"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dirty="0">
                    <a:solidFill>
                      <a:schemeClr val="bg1"/>
                    </a:solidFill>
                  </a:rPr>
                  <a:t>MMM </a:t>
                </a:r>
                <a:r>
                  <a:rPr lang="en-GB" sz="1200" dirty="0" err="1">
                    <a:solidFill>
                      <a:schemeClr val="bg1"/>
                    </a:solidFill>
                  </a:rPr>
                  <a:t>YY</a:t>
                </a:r>
                <a:endParaRPr lang="en-GB" sz="1200" dirty="0">
                  <a:solidFill>
                    <a:schemeClr val="bg1"/>
                  </a:solidFill>
                </a:endParaRPr>
              </a:p>
            </p:txBody>
          </p:sp>
          <p:sp>
            <p:nvSpPr>
              <p:cNvPr id="78884" name="Rectangle 36"/>
              <p:cNvSpPr>
                <a:spLocks noChangeArrowheads="1"/>
              </p:cNvSpPr>
              <p:nvPr/>
            </p:nvSpPr>
            <p:spPr bwMode="gray">
              <a:xfrm>
                <a:off x="2996" y="1231"/>
                <a:ext cx="438"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dirty="0">
                    <a:solidFill>
                      <a:schemeClr val="bg1"/>
                    </a:solidFill>
                  </a:rPr>
                  <a:t>MMM </a:t>
                </a:r>
                <a:r>
                  <a:rPr lang="en-GB" sz="1200" dirty="0" err="1">
                    <a:solidFill>
                      <a:schemeClr val="bg1"/>
                    </a:solidFill>
                  </a:rPr>
                  <a:t>YY</a:t>
                </a:r>
                <a:endParaRPr lang="en-GB" sz="1200" dirty="0">
                  <a:solidFill>
                    <a:schemeClr val="bg1"/>
                  </a:solidFill>
                </a:endParaRPr>
              </a:p>
            </p:txBody>
          </p:sp>
        </p:grpSp>
        <p:grpSp>
          <p:nvGrpSpPr>
            <p:cNvPr id="78870" name="Group 22"/>
            <p:cNvGrpSpPr>
              <a:grpSpLocks/>
            </p:cNvGrpSpPr>
            <p:nvPr/>
          </p:nvGrpSpPr>
          <p:grpSpPr bwMode="auto">
            <a:xfrm>
              <a:off x="9182606" y="1505974"/>
              <a:ext cx="2496631" cy="4853551"/>
              <a:chOff x="4747" y="1231"/>
              <a:chExt cx="1315" cy="2050"/>
            </a:xfrm>
          </p:grpSpPr>
          <p:sp>
            <p:nvSpPr>
              <p:cNvPr id="945172" name="Rectangle 25"/>
              <p:cNvSpPr>
                <a:spLocks noChangeArrowheads="1"/>
              </p:cNvSpPr>
              <p:nvPr/>
            </p:nvSpPr>
            <p:spPr bwMode="gray">
              <a:xfrm>
                <a:off x="4747" y="1248"/>
                <a:ext cx="438"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5173" name="Rectangle 26"/>
              <p:cNvSpPr>
                <a:spLocks noChangeArrowheads="1"/>
              </p:cNvSpPr>
              <p:nvPr/>
            </p:nvSpPr>
            <p:spPr bwMode="gray">
              <a:xfrm>
                <a:off x="5185" y="1248"/>
                <a:ext cx="439"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945174" name="Rectangle 27"/>
              <p:cNvSpPr>
                <a:spLocks noChangeArrowheads="1"/>
              </p:cNvSpPr>
              <p:nvPr/>
            </p:nvSpPr>
            <p:spPr bwMode="gray">
              <a:xfrm>
                <a:off x="5624" y="1248"/>
                <a:ext cx="438" cy="2033"/>
              </a:xfrm>
              <a:prstGeom prst="rect">
                <a:avLst/>
              </a:prstGeom>
              <a:solidFill>
                <a:srgbClr val="FFFFFF"/>
              </a:solidFill>
              <a:ln w="9525">
                <a:solidFill>
                  <a:schemeClr val="bg2"/>
                </a:solidFill>
                <a:miter lim="800000"/>
                <a:headEnd/>
                <a:tailEnd/>
              </a:ln>
              <a:effectLst/>
              <a:extLst/>
            </p:spPr>
            <p:txBody>
              <a:bodyPr wrap="none" tIns="91440" anchor="ctr"/>
              <a:lstStyle/>
              <a:p>
                <a:pPr>
                  <a:spcBef>
                    <a:spcPct val="0"/>
                  </a:spcBef>
                  <a:defRPr/>
                </a:pPr>
                <a:endParaRPr lang="en-GB" sz="1200" b="1"/>
              </a:p>
            </p:txBody>
          </p:sp>
          <p:sp>
            <p:nvSpPr>
              <p:cNvPr id="78876" name="Rectangle 28"/>
              <p:cNvSpPr>
                <a:spLocks noChangeArrowheads="1"/>
              </p:cNvSpPr>
              <p:nvPr/>
            </p:nvSpPr>
            <p:spPr bwMode="gray">
              <a:xfrm>
                <a:off x="4747" y="1231"/>
                <a:ext cx="438"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a:solidFill>
                      <a:schemeClr val="bg1"/>
                    </a:solidFill>
                  </a:rPr>
                  <a:t>MMM YY</a:t>
                </a:r>
              </a:p>
            </p:txBody>
          </p:sp>
          <p:sp>
            <p:nvSpPr>
              <p:cNvPr id="78877" name="Rectangle 29"/>
              <p:cNvSpPr>
                <a:spLocks noChangeArrowheads="1"/>
              </p:cNvSpPr>
              <p:nvPr/>
            </p:nvSpPr>
            <p:spPr bwMode="gray">
              <a:xfrm>
                <a:off x="5185" y="1231"/>
                <a:ext cx="440"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a:solidFill>
                      <a:schemeClr val="bg1"/>
                    </a:solidFill>
                  </a:rPr>
                  <a:t>MMM YY</a:t>
                </a:r>
              </a:p>
            </p:txBody>
          </p:sp>
          <p:sp>
            <p:nvSpPr>
              <p:cNvPr id="78878" name="Rectangle 30"/>
              <p:cNvSpPr>
                <a:spLocks noChangeArrowheads="1"/>
              </p:cNvSpPr>
              <p:nvPr/>
            </p:nvSpPr>
            <p:spPr bwMode="gray">
              <a:xfrm>
                <a:off x="5624" y="1231"/>
                <a:ext cx="438" cy="198"/>
              </a:xfrm>
              <a:prstGeom prst="rect">
                <a:avLst/>
              </a:prstGeom>
              <a:solidFill>
                <a:schemeClr val="tx2"/>
              </a:solidFill>
              <a:ln w="12700">
                <a:solidFill>
                  <a:srgbClr val="FFFFFF"/>
                </a:solidFill>
                <a:miter lim="800000"/>
                <a:headEnd/>
                <a:tailEnd/>
              </a:ln>
            </p:spPr>
            <p:txBody>
              <a:bodyPr lIns="0" tIns="0" rIns="0" bIns="0" anchor="ctr" anchorCtr="1"/>
              <a:lstStyle/>
              <a:p>
                <a:pPr lvl="0" fontAlgn="base">
                  <a:spcBef>
                    <a:spcPct val="0"/>
                  </a:spcBef>
                  <a:spcAft>
                    <a:spcPct val="0"/>
                  </a:spcAft>
                </a:pPr>
                <a:r>
                  <a:rPr lang="en-GB" sz="1200">
                    <a:solidFill>
                      <a:schemeClr val="bg1"/>
                    </a:solidFill>
                  </a:rPr>
                  <a:t>MMM YY</a:t>
                </a:r>
              </a:p>
            </p:txBody>
          </p:sp>
        </p:grpSp>
      </p:grpSp>
      <p:sp>
        <p:nvSpPr>
          <p:cNvPr id="78871" name="Rectangle 23"/>
          <p:cNvSpPr>
            <a:spLocks noChangeArrowheads="1"/>
          </p:cNvSpPr>
          <p:nvPr/>
        </p:nvSpPr>
        <p:spPr bwMode="gray">
          <a:xfrm>
            <a:off x="617072" y="1971927"/>
            <a:ext cx="3577966" cy="4275554"/>
          </a:xfrm>
          <a:prstGeom prst="rect">
            <a:avLst/>
          </a:prstGeom>
          <a:noFill/>
          <a:ln w="9525">
            <a:noFill/>
            <a:miter lim="800000"/>
            <a:headEnd/>
            <a:tailEnd/>
          </a:ln>
        </p:spPr>
        <p:txBody>
          <a:bodyPr tIns="91440"/>
          <a:lstStyle/>
          <a:p>
            <a:pPr lvl="0" algn="r" fontAlgn="base">
              <a:lnSpc>
                <a:spcPts val="1920"/>
              </a:lnSpc>
              <a:spcBef>
                <a:spcPct val="0"/>
              </a:spcBef>
              <a:spcAft>
                <a:spcPct val="0"/>
              </a:spcAft>
            </a:pPr>
            <a:r>
              <a:rPr lang="en-GB" sz="1200" dirty="0">
                <a:solidFill>
                  <a:srgbClr val="000000"/>
                </a:solidFill>
              </a:rPr>
              <a:t>Refine approach</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Develop hypotheses</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Conduct marketspace scans</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Interviews and internal assessment</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Identify business model opportunities</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Develop opportunity profiles</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Develop path forward</a:t>
            </a:r>
          </a:p>
          <a:p>
            <a:pPr lvl="0" algn="r" fontAlgn="base">
              <a:lnSpc>
                <a:spcPts val="1920"/>
              </a:lnSpc>
              <a:spcBef>
                <a:spcPct val="0"/>
              </a:spcBef>
              <a:spcAft>
                <a:spcPct val="0"/>
              </a:spcAft>
            </a:pPr>
            <a:endParaRPr lang="en-GB" sz="1200" dirty="0">
              <a:solidFill>
                <a:srgbClr val="000000"/>
              </a:solidFill>
            </a:endParaRPr>
          </a:p>
          <a:p>
            <a:pPr lvl="0" algn="r" fontAlgn="base">
              <a:lnSpc>
                <a:spcPts val="1920"/>
              </a:lnSpc>
              <a:spcBef>
                <a:spcPct val="0"/>
              </a:spcBef>
              <a:spcAft>
                <a:spcPct val="0"/>
              </a:spcAft>
            </a:pPr>
            <a:r>
              <a:rPr lang="en-GB" sz="1200" dirty="0">
                <a:solidFill>
                  <a:srgbClr val="000000"/>
                </a:solidFill>
              </a:rPr>
              <a:t>Key phase milestones</a:t>
            </a:r>
          </a:p>
        </p:txBody>
      </p:sp>
      <p:sp>
        <p:nvSpPr>
          <p:cNvPr id="945179" name="Rectangle 24"/>
          <p:cNvSpPr>
            <a:spLocks noChangeArrowheads="1"/>
          </p:cNvSpPr>
          <p:nvPr/>
        </p:nvSpPr>
        <p:spPr bwMode="gray">
          <a:xfrm>
            <a:off x="508000" y="1528854"/>
            <a:ext cx="3685856" cy="466490"/>
          </a:xfrm>
          <a:prstGeom prst="rect">
            <a:avLst/>
          </a:prstGeom>
          <a:solidFill>
            <a:schemeClr val="accent1"/>
          </a:solidFill>
          <a:ln w="12700">
            <a:solidFill>
              <a:srgbClr val="FFFFFF"/>
            </a:solidFill>
            <a:miter lim="800000"/>
            <a:headEnd/>
            <a:tailEnd/>
          </a:ln>
          <a:effectLst/>
          <a:extLst/>
        </p:spPr>
        <p:txBody>
          <a:bodyPr lIns="92075" tIns="91440" rIns="92075" bIns="91440" anchor="ctr"/>
          <a:lstStyle/>
          <a:p>
            <a:pPr lvl="0" algn="r">
              <a:spcBef>
                <a:spcPct val="0"/>
              </a:spcBef>
              <a:defRPr/>
            </a:pPr>
            <a:r>
              <a:rPr lang="en-GB" sz="1200" dirty="0"/>
              <a:t>Activities</a:t>
            </a:r>
          </a:p>
        </p:txBody>
      </p:sp>
      <p:sp>
        <p:nvSpPr>
          <p:cNvPr id="51" name="Rectangle 8"/>
          <p:cNvSpPr>
            <a:spLocks noChangeArrowheads="1"/>
          </p:cNvSpPr>
          <p:nvPr/>
        </p:nvSpPr>
        <p:spPr bwMode="gray">
          <a:xfrm>
            <a:off x="4195039" y="3676088"/>
            <a:ext cx="5454617"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2" name="Rectangle 9"/>
          <p:cNvSpPr>
            <a:spLocks noChangeArrowheads="1"/>
          </p:cNvSpPr>
          <p:nvPr/>
        </p:nvSpPr>
        <p:spPr bwMode="gray">
          <a:xfrm>
            <a:off x="4195039" y="2055959"/>
            <a:ext cx="1216989"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3" name="Rectangle 10"/>
          <p:cNvSpPr>
            <a:spLocks noChangeArrowheads="1"/>
          </p:cNvSpPr>
          <p:nvPr/>
        </p:nvSpPr>
        <p:spPr bwMode="gray">
          <a:xfrm>
            <a:off x="4515899" y="2573634"/>
            <a:ext cx="1501775"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4" name="Rectangle 11"/>
          <p:cNvSpPr>
            <a:spLocks noChangeArrowheads="1"/>
          </p:cNvSpPr>
          <p:nvPr/>
        </p:nvSpPr>
        <p:spPr bwMode="gray">
          <a:xfrm>
            <a:off x="4195039" y="3127257"/>
            <a:ext cx="4250918"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5" name="Rectangle 12"/>
          <p:cNvSpPr>
            <a:spLocks noChangeArrowheads="1"/>
          </p:cNvSpPr>
          <p:nvPr/>
        </p:nvSpPr>
        <p:spPr bwMode="gray">
          <a:xfrm>
            <a:off x="7247954" y="4224918"/>
            <a:ext cx="3622489"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6" name="Rectangle 13"/>
          <p:cNvSpPr>
            <a:spLocks noChangeArrowheads="1"/>
          </p:cNvSpPr>
          <p:nvPr/>
        </p:nvSpPr>
        <p:spPr bwMode="gray">
          <a:xfrm>
            <a:off x="8434566" y="4773748"/>
            <a:ext cx="3039624" cy="270820"/>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7" name="Rectangle 14"/>
          <p:cNvSpPr>
            <a:spLocks noChangeArrowheads="1"/>
          </p:cNvSpPr>
          <p:nvPr/>
        </p:nvSpPr>
        <p:spPr bwMode="gray">
          <a:xfrm>
            <a:off x="9662946" y="5324976"/>
            <a:ext cx="1807446" cy="268423"/>
          </a:xfrm>
          <a:prstGeom prst="rect">
            <a:avLst/>
          </a:prstGeom>
          <a:solidFill>
            <a:schemeClr val="accent1"/>
          </a:solidFill>
          <a:ln>
            <a:noFill/>
          </a:ln>
          <a:effectLst/>
          <a:extLst/>
        </p:spPr>
        <p:txBody>
          <a:bodyPr lIns="92075" tIns="91440" rIns="92075" bIns="91440" anchor="ctr" anchorCtr="1"/>
          <a:lstStyle/>
          <a:p>
            <a:pPr>
              <a:defRPr/>
            </a:pPr>
            <a:endParaRPr lang="en-GB" sz="1200"/>
          </a:p>
        </p:txBody>
      </p:sp>
      <p:sp>
        <p:nvSpPr>
          <p:cNvPr id="58" name="AutoShape 15"/>
          <p:cNvSpPr>
            <a:spLocks noChangeArrowheads="1"/>
          </p:cNvSpPr>
          <p:nvPr/>
        </p:nvSpPr>
        <p:spPr bwMode="gray">
          <a:xfrm>
            <a:off x="4675380" y="5809096"/>
            <a:ext cx="341744" cy="371478"/>
          </a:xfrm>
          <a:prstGeom prst="diamond">
            <a:avLst/>
          </a:prstGeom>
          <a:solidFill>
            <a:srgbClr val="CACACA"/>
          </a:solidFill>
          <a:ln w="9525">
            <a:noFill/>
            <a:miter lim="800000"/>
            <a:headEnd/>
            <a:tailEnd/>
          </a:ln>
        </p:spPr>
        <p:txBody>
          <a:bodyPr wrap="none" anchor="ctr"/>
          <a:lstStyle/>
          <a:p>
            <a:pPr fontAlgn="base">
              <a:spcBef>
                <a:spcPct val="0"/>
              </a:spcBef>
              <a:spcAft>
                <a:spcPct val="0"/>
              </a:spcAft>
            </a:pPr>
            <a:endParaRPr lang="en-GB" sz="1200"/>
          </a:p>
        </p:txBody>
      </p:sp>
      <p:sp>
        <p:nvSpPr>
          <p:cNvPr id="59" name="AutoShape 16"/>
          <p:cNvSpPr>
            <a:spLocks noChangeArrowheads="1"/>
          </p:cNvSpPr>
          <p:nvPr/>
        </p:nvSpPr>
        <p:spPr bwMode="gray">
          <a:xfrm>
            <a:off x="7160618" y="5809096"/>
            <a:ext cx="341744" cy="371478"/>
          </a:xfrm>
          <a:prstGeom prst="diamond">
            <a:avLst/>
          </a:prstGeom>
          <a:solidFill>
            <a:srgbClr val="CACACA"/>
          </a:solidFill>
          <a:ln w="9525">
            <a:noFill/>
            <a:miter lim="800000"/>
            <a:headEnd/>
            <a:tailEnd/>
          </a:ln>
        </p:spPr>
        <p:txBody>
          <a:bodyPr wrap="none" anchor="ctr"/>
          <a:lstStyle/>
          <a:p>
            <a:pPr fontAlgn="base">
              <a:spcBef>
                <a:spcPct val="0"/>
              </a:spcBef>
              <a:spcAft>
                <a:spcPct val="0"/>
              </a:spcAft>
            </a:pPr>
            <a:endParaRPr lang="en-GB" sz="1200"/>
          </a:p>
        </p:txBody>
      </p:sp>
      <p:sp>
        <p:nvSpPr>
          <p:cNvPr id="60" name="AutoShape 17"/>
          <p:cNvSpPr>
            <a:spLocks noChangeArrowheads="1"/>
          </p:cNvSpPr>
          <p:nvPr/>
        </p:nvSpPr>
        <p:spPr bwMode="gray">
          <a:xfrm>
            <a:off x="9442711" y="5809096"/>
            <a:ext cx="341744" cy="371478"/>
          </a:xfrm>
          <a:prstGeom prst="diamond">
            <a:avLst/>
          </a:prstGeom>
          <a:solidFill>
            <a:srgbClr val="CACACA"/>
          </a:solidFill>
          <a:ln w="9525">
            <a:noFill/>
            <a:miter lim="800000"/>
            <a:headEnd/>
            <a:tailEnd/>
          </a:ln>
        </p:spPr>
        <p:txBody>
          <a:bodyPr wrap="none" anchor="ctr"/>
          <a:lstStyle/>
          <a:p>
            <a:pPr fontAlgn="base">
              <a:spcBef>
                <a:spcPct val="0"/>
              </a:spcBef>
              <a:spcAft>
                <a:spcPct val="0"/>
              </a:spcAft>
            </a:pPr>
            <a:endParaRPr lang="en-GB" sz="1200"/>
          </a:p>
        </p:txBody>
      </p:sp>
      <p:sp>
        <p:nvSpPr>
          <p:cNvPr id="61" name="AutoShape 18"/>
          <p:cNvSpPr>
            <a:spLocks noChangeArrowheads="1"/>
          </p:cNvSpPr>
          <p:nvPr/>
        </p:nvSpPr>
        <p:spPr bwMode="gray">
          <a:xfrm>
            <a:off x="11324202" y="5823477"/>
            <a:ext cx="341744" cy="371478"/>
          </a:xfrm>
          <a:prstGeom prst="diamond">
            <a:avLst/>
          </a:prstGeom>
          <a:solidFill>
            <a:srgbClr val="CACACA"/>
          </a:solidFill>
          <a:ln w="9525">
            <a:noFill/>
            <a:miter lim="800000"/>
            <a:headEnd/>
            <a:tailEnd/>
          </a:ln>
        </p:spPr>
        <p:txBody>
          <a:bodyPr wrap="none" anchor="ctr"/>
          <a:lstStyle/>
          <a:p>
            <a:pPr fontAlgn="base">
              <a:spcBef>
                <a:spcPct val="0"/>
              </a:spcBef>
              <a:spcAft>
                <a:spcPct val="0"/>
              </a:spcAft>
            </a:pPr>
            <a:endParaRPr lang="en-GB" sz="1200"/>
          </a:p>
        </p:txBody>
      </p:sp>
      <p:cxnSp>
        <p:nvCxnSpPr>
          <p:cNvPr id="62" name="AutoShape 19"/>
          <p:cNvCxnSpPr>
            <a:cxnSpLocks noChangeShapeType="1"/>
          </p:cNvCxnSpPr>
          <p:nvPr/>
        </p:nvCxnSpPr>
        <p:spPr bwMode="auto">
          <a:xfrm>
            <a:off x="6015776" y="2712639"/>
            <a:ext cx="1232178" cy="1648888"/>
          </a:xfrm>
          <a:prstGeom prst="bentConnector3">
            <a:avLst>
              <a:gd name="adj1" fmla="val 50000"/>
            </a:avLst>
          </a:prstGeom>
          <a:noFill/>
          <a:ln w="19050">
            <a:solidFill>
              <a:schemeClr val="accent2"/>
            </a:solidFill>
            <a:miter lim="800000"/>
            <a:headEnd/>
            <a:tailEnd type="triangle" w="med" len="med"/>
          </a:ln>
        </p:spPr>
      </p:cxnSp>
      <p:sp>
        <p:nvSpPr>
          <p:cNvPr id="63" name="AutoShape 6"/>
          <p:cNvSpPr>
            <a:spLocks noChangeArrowheads="1"/>
          </p:cNvSpPr>
          <p:nvPr/>
        </p:nvSpPr>
        <p:spPr bwMode="gray">
          <a:xfrm>
            <a:off x="5288622" y="1990587"/>
            <a:ext cx="322758" cy="351756"/>
          </a:xfrm>
          <a:prstGeom prst="diamond">
            <a:avLst/>
          </a:prstGeom>
          <a:solidFill>
            <a:schemeClr val="accent2"/>
          </a:solidFill>
          <a:ln w="9525">
            <a:noFill/>
            <a:miter lim="800000"/>
            <a:headEnd/>
            <a:tailEnd/>
          </a:ln>
        </p:spPr>
        <p:txBody>
          <a:bodyPr wrap="none" anchor="ctr"/>
          <a:lstStyle/>
          <a:p>
            <a:pPr fontAlgn="base">
              <a:spcBef>
                <a:spcPct val="0"/>
              </a:spcBef>
              <a:spcAft>
                <a:spcPct val="0"/>
              </a:spcAft>
            </a:pPr>
            <a:endParaRPr lang="en-GB" sz="1200"/>
          </a:p>
        </p:txBody>
      </p:sp>
      <p:sp>
        <p:nvSpPr>
          <p:cNvPr id="64" name="AutoShape 7"/>
          <p:cNvSpPr>
            <a:spLocks noChangeArrowheads="1"/>
          </p:cNvSpPr>
          <p:nvPr/>
        </p:nvSpPr>
        <p:spPr bwMode="gray">
          <a:xfrm>
            <a:off x="8284578" y="3088805"/>
            <a:ext cx="322758" cy="351756"/>
          </a:xfrm>
          <a:prstGeom prst="diamond">
            <a:avLst/>
          </a:prstGeom>
          <a:solidFill>
            <a:schemeClr val="accent2"/>
          </a:solidFill>
          <a:ln w="9525">
            <a:noFill/>
            <a:miter lim="800000"/>
            <a:headEnd/>
            <a:tailEnd/>
          </a:ln>
        </p:spPr>
        <p:txBody>
          <a:bodyPr wrap="none" anchor="ctr"/>
          <a:lstStyle/>
          <a:p>
            <a:pPr fontAlgn="base">
              <a:spcBef>
                <a:spcPct val="0"/>
              </a:spcBef>
              <a:spcAft>
                <a:spcPct val="0"/>
              </a:spcAft>
            </a:pPr>
            <a:endParaRPr lang="en-GB" sz="1200"/>
          </a:p>
        </p:txBody>
      </p:sp>
    </p:spTree>
    <p:extLst>
      <p:ext uri="{BB962C8B-B14F-4D97-AF65-F5344CB8AC3E}">
        <p14:creationId xmlns:p14="http://schemas.microsoft.com/office/powerpoint/2010/main" val="3747952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24</a:t>
            </a:fld>
            <a:endParaRPr lang="en-GB" dirty="0"/>
          </a:p>
        </p:txBody>
      </p:sp>
      <p:grpSp>
        <p:nvGrpSpPr>
          <p:cNvPr id="4" name="Group 3"/>
          <p:cNvGrpSpPr/>
          <p:nvPr/>
        </p:nvGrpSpPr>
        <p:grpSpPr>
          <a:xfrm>
            <a:off x="508000" y="1528763"/>
            <a:ext cx="11171238" cy="4830762"/>
            <a:chOff x="2032000" y="1204996"/>
            <a:chExt cx="8167688" cy="4110421"/>
          </a:xfrm>
        </p:grpSpPr>
        <p:sp>
          <p:nvSpPr>
            <p:cNvPr id="5" name="TextBox 4"/>
            <p:cNvSpPr txBox="1"/>
            <p:nvPr/>
          </p:nvSpPr>
          <p:spPr>
            <a:xfrm>
              <a:off x="2032000" y="1204996"/>
              <a:ext cx="2768600" cy="1063538"/>
            </a:xfrm>
            <a:prstGeom prst="homePlate">
              <a:avLst>
                <a:gd name="adj" fmla="val 12980"/>
              </a:avLst>
            </a:prstGeom>
            <a:solidFill>
              <a:schemeClr val="accent1"/>
            </a:solidFill>
            <a:ln w="12700" cmpd="sng">
              <a:noFill/>
            </a:ln>
          </p:spPr>
          <p:txBody>
            <a:bodyPr wrap="none" lIns="101600" tIns="101600" rIns="0" bIns="127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14" name="TextBox 13"/>
            <p:cNvSpPr txBox="1"/>
            <p:nvPr/>
          </p:nvSpPr>
          <p:spPr>
            <a:xfrm>
              <a:off x="4731544" y="1204996"/>
              <a:ext cx="2768600" cy="1063538"/>
            </a:xfrm>
            <a:prstGeom prst="chevron">
              <a:avLst>
                <a:gd name="adj" fmla="val 12902"/>
              </a:avLst>
            </a:prstGeom>
            <a:solidFill>
              <a:schemeClr val="accent1"/>
            </a:solidFill>
            <a:ln w="12700" cmpd="sng">
              <a:noFill/>
            </a:ln>
          </p:spPr>
          <p:txBody>
            <a:bodyPr wrap="none" lIns="101600" tIns="101600" rIns="0" bIns="127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19" name="TextBox 18"/>
            <p:cNvSpPr txBox="1"/>
            <p:nvPr/>
          </p:nvSpPr>
          <p:spPr>
            <a:xfrm>
              <a:off x="7431088" y="1204996"/>
              <a:ext cx="2768600" cy="1063538"/>
            </a:xfrm>
            <a:prstGeom prst="chevron">
              <a:avLst>
                <a:gd name="adj" fmla="val 12902"/>
              </a:avLst>
            </a:prstGeom>
            <a:solidFill>
              <a:schemeClr val="accent1"/>
            </a:solidFill>
            <a:ln w="12700" cmpd="sng">
              <a:noFill/>
            </a:ln>
          </p:spPr>
          <p:txBody>
            <a:bodyPr wrap="none" lIns="101600" tIns="101600" rIns="0" bIns="127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21" name="TextBox 20"/>
            <p:cNvSpPr txBox="1"/>
            <p:nvPr/>
          </p:nvSpPr>
          <p:spPr>
            <a:xfrm>
              <a:off x="2032000" y="2721462"/>
              <a:ext cx="2768600" cy="1063538"/>
            </a:xfrm>
            <a:prstGeom prst="homePlate">
              <a:avLst>
                <a:gd name="adj" fmla="val 12980"/>
              </a:avLst>
            </a:prstGeom>
            <a:solidFill>
              <a:schemeClr val="accent2"/>
            </a:solidFill>
            <a:ln w="12700" cmpd="sng">
              <a:noFill/>
            </a:ln>
          </p:spPr>
          <p:txBody>
            <a:bodyPr wrap="none" lIns="101600" tIns="101600" rIns="0" bIns="12700" rtlCol="0" anchor="t">
              <a:noAutofit/>
            </a:bodyPr>
            <a:lstStyle/>
            <a:p>
              <a:r>
                <a:rPr lang="en-US" sz="1400" dirty="0">
                  <a:solidFill>
                    <a:schemeClr val="bg1"/>
                  </a:solidFill>
                  <a:latin typeface="+mj-lt"/>
                </a:rPr>
                <a:t>Title</a:t>
              </a:r>
            </a:p>
            <a:p>
              <a:r>
                <a:rPr lang="en-US" sz="1400" dirty="0" err="1">
                  <a:solidFill>
                    <a:srgbClr val="FFFFFF"/>
                  </a:solidFill>
                </a:rPr>
                <a:t>Lorem</a:t>
              </a:r>
              <a:r>
                <a:rPr lang="en-US" sz="1400" dirty="0">
                  <a:solidFill>
                    <a:srgbClr val="FFFFFF"/>
                  </a:solidFill>
                </a:rPr>
                <a:t> </a:t>
              </a:r>
              <a:r>
                <a:rPr lang="en-US" sz="1400" dirty="0" err="1">
                  <a:solidFill>
                    <a:srgbClr val="FFFFFF"/>
                  </a:solidFill>
                </a:rPr>
                <a:t>ipsum</a:t>
              </a:r>
              <a:r>
                <a:rPr lang="en-US" sz="1400" dirty="0">
                  <a:solidFill>
                    <a:srgbClr val="FFFFFF"/>
                  </a:solidFill>
                </a:rPr>
                <a:t> dolor sit </a:t>
              </a:r>
              <a:r>
                <a:rPr lang="en-US" sz="1400" dirty="0" err="1">
                  <a:solidFill>
                    <a:srgbClr val="FFFFFF"/>
                  </a:solidFill>
                </a:rPr>
                <a:t>amet</a:t>
              </a:r>
              <a:r>
                <a:rPr lang="en-US" sz="1400" dirty="0">
                  <a:solidFill>
                    <a:srgbClr val="FFFFFF"/>
                  </a:solidFill>
                </a:rPr>
                <a:t>, </a:t>
              </a:r>
              <a:br>
                <a:rPr lang="en-US" sz="1400" dirty="0">
                  <a:solidFill>
                    <a:srgbClr val="FFFFFF"/>
                  </a:solidFill>
                </a:rPr>
              </a:br>
              <a:r>
                <a:rPr lang="en-US" sz="1400" dirty="0" err="1">
                  <a:solidFill>
                    <a:srgbClr val="FFFFFF"/>
                  </a:solidFill>
                </a:rPr>
                <a:t>mattis</a:t>
              </a:r>
              <a:r>
                <a:rPr lang="en-US" sz="1400" dirty="0">
                  <a:solidFill>
                    <a:srgbClr val="FFFFFF"/>
                  </a:solidFill>
                </a:rPr>
                <a:t> </a:t>
              </a:r>
              <a:r>
                <a:rPr lang="en-US" sz="1400" dirty="0" err="1">
                  <a:solidFill>
                    <a:srgbClr val="FFFFFF"/>
                  </a:solidFill>
                </a:rPr>
                <a:t>leo</a:t>
              </a:r>
              <a:r>
                <a:rPr lang="en-US" sz="1400" dirty="0">
                  <a:solidFill>
                    <a:srgbClr val="FFFFFF"/>
                  </a:solidFill>
                </a:rPr>
                <a:t> semper </a:t>
              </a:r>
              <a:r>
                <a:rPr lang="en-US" sz="1400" dirty="0" err="1">
                  <a:solidFill>
                    <a:srgbClr val="FFFFFF"/>
                  </a:solidFill>
                </a:rPr>
                <a:t>nullam</a:t>
              </a:r>
              <a:r>
                <a:rPr lang="en-US" sz="1400" dirty="0">
                  <a:solidFill>
                    <a:srgbClr val="FFFFFF"/>
                  </a:solidFill>
                </a:rPr>
                <a:t> </a:t>
              </a:r>
              <a:r>
                <a:rPr lang="en-US" sz="1400" dirty="0" err="1">
                  <a:solidFill>
                    <a:srgbClr val="FFFFFF"/>
                  </a:solidFill>
                </a:rPr>
                <a:t>eros</a:t>
              </a:r>
              <a:r>
                <a:rPr lang="en-US" sz="1400" dirty="0">
                  <a:solidFill>
                    <a:srgbClr val="FFFFFF"/>
                  </a:solidFill>
                </a:rPr>
                <a:t> </a:t>
              </a:r>
            </a:p>
          </p:txBody>
        </p:sp>
        <p:sp>
          <p:nvSpPr>
            <p:cNvPr id="22" name="TextBox 21"/>
            <p:cNvSpPr txBox="1"/>
            <p:nvPr/>
          </p:nvSpPr>
          <p:spPr>
            <a:xfrm>
              <a:off x="4731544" y="2721462"/>
              <a:ext cx="2768600" cy="1063538"/>
            </a:xfrm>
            <a:prstGeom prst="chevron">
              <a:avLst>
                <a:gd name="adj" fmla="val 12902"/>
              </a:avLst>
            </a:prstGeom>
            <a:solidFill>
              <a:schemeClr val="accent2"/>
            </a:solidFill>
            <a:ln w="12700" cmpd="sng">
              <a:noFill/>
            </a:ln>
          </p:spPr>
          <p:txBody>
            <a:bodyPr wrap="none" lIns="101600" tIns="101600" rIns="0" bIns="12700" rtlCol="0" anchor="t">
              <a:noAutofit/>
            </a:bodyPr>
            <a:lstStyle/>
            <a:p>
              <a:r>
                <a:rPr lang="en-US" sz="1400" dirty="0">
                  <a:solidFill>
                    <a:schemeClr val="bg1"/>
                  </a:solidFill>
                  <a:latin typeface="+mj-lt"/>
                </a:rPr>
                <a:t>Title</a:t>
              </a:r>
            </a:p>
            <a:p>
              <a:r>
                <a:rPr lang="en-US" sz="1400" dirty="0" err="1">
                  <a:solidFill>
                    <a:srgbClr val="FFFFFF"/>
                  </a:solidFill>
                </a:rPr>
                <a:t>Lorem</a:t>
              </a:r>
              <a:r>
                <a:rPr lang="en-US" sz="1400" dirty="0">
                  <a:solidFill>
                    <a:srgbClr val="FFFFFF"/>
                  </a:solidFill>
                </a:rPr>
                <a:t> </a:t>
              </a:r>
              <a:r>
                <a:rPr lang="en-US" sz="1400" dirty="0" err="1">
                  <a:solidFill>
                    <a:srgbClr val="FFFFFF"/>
                  </a:solidFill>
                </a:rPr>
                <a:t>ipsum</a:t>
              </a:r>
              <a:r>
                <a:rPr lang="en-US" sz="1400" dirty="0">
                  <a:solidFill>
                    <a:srgbClr val="FFFFFF"/>
                  </a:solidFill>
                </a:rPr>
                <a:t> dolor sit </a:t>
              </a:r>
              <a:r>
                <a:rPr lang="en-US" sz="1400" dirty="0" err="1">
                  <a:solidFill>
                    <a:srgbClr val="FFFFFF"/>
                  </a:solidFill>
                </a:rPr>
                <a:t>amet</a:t>
              </a:r>
              <a:r>
                <a:rPr lang="en-US" sz="1400" dirty="0">
                  <a:solidFill>
                    <a:srgbClr val="FFFFFF"/>
                  </a:solidFill>
                </a:rPr>
                <a:t>, </a:t>
              </a:r>
              <a:br>
                <a:rPr lang="en-US" sz="1400" dirty="0">
                  <a:solidFill>
                    <a:srgbClr val="FFFFFF"/>
                  </a:solidFill>
                </a:rPr>
              </a:br>
              <a:r>
                <a:rPr lang="en-US" sz="1400" dirty="0" err="1">
                  <a:solidFill>
                    <a:srgbClr val="FFFFFF"/>
                  </a:solidFill>
                </a:rPr>
                <a:t>mattis</a:t>
              </a:r>
              <a:r>
                <a:rPr lang="en-US" sz="1400" dirty="0">
                  <a:solidFill>
                    <a:srgbClr val="FFFFFF"/>
                  </a:solidFill>
                </a:rPr>
                <a:t> </a:t>
              </a:r>
              <a:r>
                <a:rPr lang="en-US" sz="1400" dirty="0" err="1">
                  <a:solidFill>
                    <a:srgbClr val="FFFFFF"/>
                  </a:solidFill>
                </a:rPr>
                <a:t>leo</a:t>
              </a:r>
              <a:r>
                <a:rPr lang="en-US" sz="1400" dirty="0">
                  <a:solidFill>
                    <a:srgbClr val="FFFFFF"/>
                  </a:solidFill>
                </a:rPr>
                <a:t> semper </a:t>
              </a:r>
              <a:r>
                <a:rPr lang="en-US" sz="1400" dirty="0" err="1">
                  <a:solidFill>
                    <a:srgbClr val="FFFFFF"/>
                  </a:solidFill>
                </a:rPr>
                <a:t>nullam</a:t>
              </a:r>
              <a:r>
                <a:rPr lang="en-US" sz="1400" dirty="0">
                  <a:solidFill>
                    <a:srgbClr val="FFFFFF"/>
                  </a:solidFill>
                </a:rPr>
                <a:t> </a:t>
              </a:r>
              <a:r>
                <a:rPr lang="en-US" sz="1400" dirty="0" err="1">
                  <a:solidFill>
                    <a:srgbClr val="FFFFFF"/>
                  </a:solidFill>
                </a:rPr>
                <a:t>eros</a:t>
              </a:r>
              <a:r>
                <a:rPr lang="en-US" sz="1400" dirty="0">
                  <a:solidFill>
                    <a:srgbClr val="FFFFFF"/>
                  </a:solidFill>
                </a:rPr>
                <a:t> </a:t>
              </a:r>
            </a:p>
          </p:txBody>
        </p:sp>
        <p:sp>
          <p:nvSpPr>
            <p:cNvPr id="23" name="TextBox 22"/>
            <p:cNvSpPr txBox="1"/>
            <p:nvPr/>
          </p:nvSpPr>
          <p:spPr>
            <a:xfrm>
              <a:off x="7431088" y="2721462"/>
              <a:ext cx="2768600" cy="1063538"/>
            </a:xfrm>
            <a:prstGeom prst="chevron">
              <a:avLst>
                <a:gd name="adj" fmla="val 12902"/>
              </a:avLst>
            </a:prstGeom>
            <a:solidFill>
              <a:schemeClr val="accent2"/>
            </a:solidFill>
            <a:ln w="12700" cmpd="sng">
              <a:noFill/>
            </a:ln>
          </p:spPr>
          <p:txBody>
            <a:bodyPr wrap="none" lIns="101600" tIns="101600" rIns="0" bIns="12700" rtlCol="0" anchor="t">
              <a:noAutofit/>
            </a:bodyPr>
            <a:lstStyle/>
            <a:p>
              <a:r>
                <a:rPr lang="en-US" sz="1400" dirty="0">
                  <a:solidFill>
                    <a:schemeClr val="bg1"/>
                  </a:solidFill>
                  <a:latin typeface="+mj-lt"/>
                </a:rPr>
                <a:t>Title</a:t>
              </a:r>
            </a:p>
            <a:p>
              <a:r>
                <a:rPr lang="en-US" sz="1400" dirty="0" err="1">
                  <a:solidFill>
                    <a:srgbClr val="FFFFFF"/>
                  </a:solidFill>
                </a:rPr>
                <a:t>Lorem</a:t>
              </a:r>
              <a:r>
                <a:rPr lang="en-US" sz="1400" dirty="0">
                  <a:solidFill>
                    <a:srgbClr val="FFFFFF"/>
                  </a:solidFill>
                </a:rPr>
                <a:t> </a:t>
              </a:r>
              <a:r>
                <a:rPr lang="en-US" sz="1400" dirty="0" err="1">
                  <a:solidFill>
                    <a:srgbClr val="FFFFFF"/>
                  </a:solidFill>
                </a:rPr>
                <a:t>ipsum</a:t>
              </a:r>
              <a:r>
                <a:rPr lang="en-US" sz="1400" dirty="0">
                  <a:solidFill>
                    <a:srgbClr val="FFFFFF"/>
                  </a:solidFill>
                </a:rPr>
                <a:t> dolor sit </a:t>
              </a:r>
              <a:r>
                <a:rPr lang="en-US" sz="1400" dirty="0" err="1">
                  <a:solidFill>
                    <a:srgbClr val="FFFFFF"/>
                  </a:solidFill>
                </a:rPr>
                <a:t>amet</a:t>
              </a:r>
              <a:r>
                <a:rPr lang="en-US" sz="1400" dirty="0">
                  <a:solidFill>
                    <a:srgbClr val="FFFFFF"/>
                  </a:solidFill>
                </a:rPr>
                <a:t>, </a:t>
              </a:r>
              <a:br>
                <a:rPr lang="en-US" sz="1400" dirty="0">
                  <a:solidFill>
                    <a:srgbClr val="FFFFFF"/>
                  </a:solidFill>
                </a:rPr>
              </a:br>
              <a:r>
                <a:rPr lang="en-US" sz="1400" dirty="0" err="1">
                  <a:solidFill>
                    <a:srgbClr val="FFFFFF"/>
                  </a:solidFill>
                </a:rPr>
                <a:t>mattis</a:t>
              </a:r>
              <a:r>
                <a:rPr lang="en-US" sz="1400" dirty="0">
                  <a:solidFill>
                    <a:srgbClr val="FFFFFF"/>
                  </a:solidFill>
                </a:rPr>
                <a:t> </a:t>
              </a:r>
              <a:r>
                <a:rPr lang="en-US" sz="1400" dirty="0" err="1">
                  <a:solidFill>
                    <a:srgbClr val="FFFFFF"/>
                  </a:solidFill>
                </a:rPr>
                <a:t>leo</a:t>
              </a:r>
              <a:r>
                <a:rPr lang="en-US" sz="1400" dirty="0">
                  <a:solidFill>
                    <a:srgbClr val="FFFFFF"/>
                  </a:solidFill>
                </a:rPr>
                <a:t> semper </a:t>
              </a:r>
              <a:r>
                <a:rPr lang="en-US" sz="1400" dirty="0" err="1">
                  <a:solidFill>
                    <a:srgbClr val="FFFFFF"/>
                  </a:solidFill>
                </a:rPr>
                <a:t>nullam</a:t>
              </a:r>
              <a:r>
                <a:rPr lang="en-US" sz="1400" dirty="0">
                  <a:solidFill>
                    <a:srgbClr val="FFFFFF"/>
                  </a:solidFill>
                </a:rPr>
                <a:t> </a:t>
              </a:r>
              <a:r>
                <a:rPr lang="en-US" sz="1400" dirty="0" err="1">
                  <a:solidFill>
                    <a:srgbClr val="FFFFFF"/>
                  </a:solidFill>
                </a:rPr>
                <a:t>eros</a:t>
              </a:r>
              <a:r>
                <a:rPr lang="en-US" sz="1400" dirty="0">
                  <a:solidFill>
                    <a:srgbClr val="FFFFFF"/>
                  </a:solidFill>
                </a:rPr>
                <a:t> </a:t>
              </a:r>
            </a:p>
          </p:txBody>
        </p:sp>
        <p:sp>
          <p:nvSpPr>
            <p:cNvPr id="29" name="TextBox 28"/>
            <p:cNvSpPr txBox="1"/>
            <p:nvPr/>
          </p:nvSpPr>
          <p:spPr>
            <a:xfrm>
              <a:off x="2032000" y="4251879"/>
              <a:ext cx="2768600" cy="1063538"/>
            </a:xfrm>
            <a:prstGeom prst="homePlate">
              <a:avLst>
                <a:gd name="adj" fmla="val 12980"/>
              </a:avLst>
            </a:prstGeom>
            <a:solidFill>
              <a:srgbClr val="DEDEDE"/>
            </a:solidFill>
            <a:ln w="12700" cmpd="sng">
              <a:noFill/>
            </a:ln>
          </p:spPr>
          <p:txBody>
            <a:bodyPr wrap="none" lIns="101600" tIns="101600" rIns="0" bIns="127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30" name="TextBox 29"/>
            <p:cNvSpPr txBox="1"/>
            <p:nvPr/>
          </p:nvSpPr>
          <p:spPr>
            <a:xfrm>
              <a:off x="4731544" y="4251879"/>
              <a:ext cx="2768600" cy="1063538"/>
            </a:xfrm>
            <a:prstGeom prst="chevron">
              <a:avLst>
                <a:gd name="adj" fmla="val 12902"/>
              </a:avLst>
            </a:prstGeom>
            <a:solidFill>
              <a:srgbClr val="DEDEDE"/>
            </a:solidFill>
            <a:ln w="12700" cmpd="sng">
              <a:noFill/>
            </a:ln>
          </p:spPr>
          <p:txBody>
            <a:bodyPr wrap="none" lIns="101600" tIns="101600" rIns="0" bIns="127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31" name="TextBox 30"/>
            <p:cNvSpPr txBox="1"/>
            <p:nvPr/>
          </p:nvSpPr>
          <p:spPr>
            <a:xfrm>
              <a:off x="7431088" y="4251879"/>
              <a:ext cx="2768600" cy="1063538"/>
            </a:xfrm>
            <a:prstGeom prst="chevron">
              <a:avLst>
                <a:gd name="adj" fmla="val 12902"/>
              </a:avLst>
            </a:prstGeom>
            <a:solidFill>
              <a:srgbClr val="DEDEDE"/>
            </a:solidFill>
            <a:ln w="12700" cmpd="sng">
              <a:noFill/>
            </a:ln>
          </p:spPr>
          <p:txBody>
            <a:bodyPr wrap="none" lIns="101600" tIns="101600" rIns="0" bIns="127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cxnSp>
          <p:nvCxnSpPr>
            <p:cNvPr id="25" name="Straight Connector 24"/>
            <p:cNvCxnSpPr/>
            <p:nvPr/>
          </p:nvCxnSpPr>
          <p:spPr>
            <a:xfrm>
              <a:off x="2032000" y="4018440"/>
              <a:ext cx="8011810" cy="0"/>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032000" y="2494998"/>
              <a:ext cx="8011810" cy="0"/>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862461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25</a:t>
            </a:fld>
            <a:endParaRPr lang="en-GB" dirty="0"/>
          </a:p>
        </p:txBody>
      </p:sp>
      <p:grpSp>
        <p:nvGrpSpPr>
          <p:cNvPr id="4" name="Group 3"/>
          <p:cNvGrpSpPr/>
          <p:nvPr/>
        </p:nvGrpSpPr>
        <p:grpSpPr>
          <a:xfrm>
            <a:off x="507999" y="1528763"/>
            <a:ext cx="11171741" cy="4830762"/>
            <a:chOff x="2032000" y="1204996"/>
            <a:chExt cx="8167688" cy="4110421"/>
          </a:xfrm>
        </p:grpSpPr>
        <p:sp>
          <p:nvSpPr>
            <p:cNvPr id="5" name="TextBox 4"/>
            <p:cNvSpPr txBox="1"/>
            <p:nvPr/>
          </p:nvSpPr>
          <p:spPr>
            <a:xfrm>
              <a:off x="2032000" y="1204996"/>
              <a:ext cx="2095500" cy="1063538"/>
            </a:xfrm>
            <a:prstGeom prst="homePlate">
              <a:avLst>
                <a:gd name="adj" fmla="val 12980"/>
              </a:avLst>
            </a:prstGeom>
            <a:solidFill>
              <a:schemeClr val="accent1"/>
            </a:solidFill>
            <a:ln w="12700" cmpd="sng">
              <a:noFill/>
            </a:ln>
          </p:spPr>
          <p:txBody>
            <a:bodyPr wrap="none" lIns="101600" tIns="101600" rIns="0" bIns="12700" rtlCol="0" anchor="t">
              <a:noAutofit/>
            </a:bodyPr>
            <a:lstStyle/>
            <a:p>
              <a:r>
                <a:rPr lang="en-US" sz="1400" b="1" dirty="0"/>
                <a:t>Title</a:t>
              </a:r>
            </a:p>
            <a:p>
              <a:r>
                <a:rPr lang="en-US" sz="1400"/>
                <a:t>Lorem ipsum dolor </a:t>
              </a:r>
              <a:br>
                <a:rPr lang="en-US" sz="1400"/>
              </a:br>
              <a:r>
                <a:rPr lang="en-US" sz="1400"/>
                <a:t>sit amet, mattis leo </a:t>
              </a:r>
              <a:br>
                <a:rPr lang="en-US" sz="1400"/>
              </a:br>
              <a:r>
                <a:rPr lang="en-US" sz="1400"/>
                <a:t>semper nullam eros </a:t>
              </a:r>
              <a:endParaRPr lang="en-US" sz="1400" dirty="0"/>
            </a:p>
          </p:txBody>
        </p:sp>
        <p:sp>
          <p:nvSpPr>
            <p:cNvPr id="14" name="TextBox 13"/>
            <p:cNvSpPr txBox="1"/>
            <p:nvPr/>
          </p:nvSpPr>
          <p:spPr>
            <a:xfrm>
              <a:off x="4056063" y="1204996"/>
              <a:ext cx="2095500" cy="1063538"/>
            </a:xfrm>
            <a:prstGeom prst="chevron">
              <a:avLst>
                <a:gd name="adj" fmla="val 12902"/>
              </a:avLst>
            </a:prstGeom>
            <a:solidFill>
              <a:schemeClr val="accent1"/>
            </a:solidFill>
            <a:ln w="12700" cmpd="sng">
              <a:noFill/>
            </a:ln>
          </p:spPr>
          <p:txBody>
            <a:bodyPr wrap="none" lIns="101600" tIns="101600" rIns="0" bIns="12700" rtlCol="0" anchor="t">
              <a:noAutofit/>
            </a:bodyPr>
            <a:lstStyle/>
            <a:p>
              <a:r>
                <a:rPr lang="en-US" sz="1400" b="1" dirty="0"/>
                <a:t>Title</a:t>
              </a:r>
            </a:p>
            <a:p>
              <a:r>
                <a:rPr lang="en-US" sz="1400"/>
                <a:t>Lorem ipsum dolor </a:t>
              </a:r>
              <a:br>
                <a:rPr lang="en-US" sz="1400"/>
              </a:br>
              <a:r>
                <a:rPr lang="en-US" sz="1400"/>
                <a:t>sit amet, mattis leo </a:t>
              </a:r>
              <a:br>
                <a:rPr lang="en-US" sz="1400"/>
              </a:br>
              <a:r>
                <a:rPr lang="en-US" sz="1400"/>
                <a:t>semper nullam eros </a:t>
              </a:r>
              <a:endParaRPr lang="en-US" sz="1400" dirty="0"/>
            </a:p>
          </p:txBody>
        </p:sp>
        <p:sp>
          <p:nvSpPr>
            <p:cNvPr id="19" name="TextBox 18"/>
            <p:cNvSpPr txBox="1"/>
            <p:nvPr/>
          </p:nvSpPr>
          <p:spPr>
            <a:xfrm>
              <a:off x="6080126" y="1204996"/>
              <a:ext cx="2095500" cy="1063538"/>
            </a:xfrm>
            <a:prstGeom prst="chevron">
              <a:avLst>
                <a:gd name="adj" fmla="val 12902"/>
              </a:avLst>
            </a:prstGeom>
            <a:solidFill>
              <a:schemeClr val="accent1"/>
            </a:solidFill>
            <a:ln w="12700" cmpd="sng">
              <a:noFill/>
            </a:ln>
          </p:spPr>
          <p:txBody>
            <a:bodyPr wrap="none" lIns="101600" tIns="101600" rIns="0" bIns="12700" rtlCol="0" anchor="t">
              <a:noAutofit/>
            </a:bodyPr>
            <a:lstStyle/>
            <a:p>
              <a:r>
                <a:rPr lang="en-US" sz="1400" b="1" dirty="0"/>
                <a:t>Title</a:t>
              </a:r>
            </a:p>
            <a:p>
              <a:r>
                <a:rPr lang="en-US" sz="1400"/>
                <a:t>Lorem ipsum dolor </a:t>
              </a:r>
              <a:br>
                <a:rPr lang="en-US" sz="1400"/>
              </a:br>
              <a:r>
                <a:rPr lang="en-US" sz="1400"/>
                <a:t>sit amet, mattis leo </a:t>
              </a:r>
              <a:br>
                <a:rPr lang="en-US" sz="1400"/>
              </a:br>
              <a:r>
                <a:rPr lang="en-US" sz="1400"/>
                <a:t>semper nullam eros </a:t>
              </a:r>
              <a:endParaRPr lang="en-US" sz="1400" dirty="0"/>
            </a:p>
          </p:txBody>
        </p:sp>
        <p:sp>
          <p:nvSpPr>
            <p:cNvPr id="20" name="TextBox 19"/>
            <p:cNvSpPr txBox="1"/>
            <p:nvPr/>
          </p:nvSpPr>
          <p:spPr>
            <a:xfrm>
              <a:off x="8104188" y="1204996"/>
              <a:ext cx="2095500" cy="1063538"/>
            </a:xfrm>
            <a:prstGeom prst="chevron">
              <a:avLst>
                <a:gd name="adj" fmla="val 12902"/>
              </a:avLst>
            </a:prstGeom>
            <a:solidFill>
              <a:schemeClr val="accent1"/>
            </a:solidFill>
            <a:ln w="12700" cmpd="sng">
              <a:noFill/>
            </a:ln>
          </p:spPr>
          <p:txBody>
            <a:bodyPr wrap="none" lIns="101600" tIns="101600" rIns="0" bIns="12700" rtlCol="0" anchor="t">
              <a:noAutofit/>
            </a:bodyPr>
            <a:lstStyle/>
            <a:p>
              <a:r>
                <a:rPr lang="en-US" sz="1400" b="1" dirty="0"/>
                <a:t>Title</a:t>
              </a:r>
            </a:p>
            <a:p>
              <a:r>
                <a:rPr lang="en-US" sz="1400"/>
                <a:t>Lorem ipsum dolor </a:t>
              </a:r>
              <a:br>
                <a:rPr lang="en-US" sz="1400"/>
              </a:br>
              <a:r>
                <a:rPr lang="en-US" sz="1400"/>
                <a:t>sit amet, mattis leo </a:t>
              </a:r>
              <a:br>
                <a:rPr lang="en-US" sz="1400"/>
              </a:br>
              <a:r>
                <a:rPr lang="en-US" sz="1400"/>
                <a:t>semper nullam eros </a:t>
              </a:r>
              <a:endParaRPr lang="en-US" sz="1400" dirty="0"/>
            </a:p>
          </p:txBody>
        </p:sp>
        <p:sp>
          <p:nvSpPr>
            <p:cNvPr id="21" name="TextBox 20"/>
            <p:cNvSpPr txBox="1"/>
            <p:nvPr/>
          </p:nvSpPr>
          <p:spPr>
            <a:xfrm>
              <a:off x="2032000" y="2721462"/>
              <a:ext cx="2095500" cy="1063538"/>
            </a:xfrm>
            <a:prstGeom prst="homePlate">
              <a:avLst>
                <a:gd name="adj" fmla="val 12980"/>
              </a:avLst>
            </a:prstGeom>
            <a:solidFill>
              <a:schemeClr val="accent2"/>
            </a:solidFill>
            <a:ln w="12700" cmpd="sng">
              <a:noFill/>
            </a:ln>
          </p:spPr>
          <p:txBody>
            <a:bodyPr wrap="none" lIns="101600" tIns="101600" rIns="0" bIns="12700" rtlCol="0" anchor="t">
              <a:noAutofit/>
            </a:bodyPr>
            <a:lstStyle/>
            <a:p>
              <a:r>
                <a:rPr lang="en-US" sz="1400" b="1" dirty="0">
                  <a:solidFill>
                    <a:schemeClr val="bg1"/>
                  </a:solidFill>
                </a:rPr>
                <a:t>Title</a:t>
              </a:r>
            </a:p>
            <a:p>
              <a:r>
                <a:rPr lang="en-US" sz="1400">
                  <a:solidFill>
                    <a:schemeClr val="bg1"/>
                  </a:solidFill>
                </a:rPr>
                <a:t>Lorem ipsum dolor </a:t>
              </a:r>
              <a:br>
                <a:rPr lang="en-US" sz="1400">
                  <a:solidFill>
                    <a:schemeClr val="bg1"/>
                  </a:solidFill>
                </a:rPr>
              </a:br>
              <a:r>
                <a:rPr lang="en-US" sz="1400">
                  <a:solidFill>
                    <a:schemeClr val="bg1"/>
                  </a:solidFill>
                </a:rPr>
                <a:t>sit amet, mattis leo </a:t>
              </a:r>
              <a:br>
                <a:rPr lang="en-US" sz="1400">
                  <a:solidFill>
                    <a:schemeClr val="bg1"/>
                  </a:solidFill>
                </a:rPr>
              </a:br>
              <a:r>
                <a:rPr lang="en-US" sz="1400">
                  <a:solidFill>
                    <a:schemeClr val="bg1"/>
                  </a:solidFill>
                </a:rPr>
                <a:t>semper nullam eros </a:t>
              </a:r>
              <a:endParaRPr lang="en-US" sz="1400" dirty="0">
                <a:solidFill>
                  <a:schemeClr val="bg1"/>
                </a:solidFill>
              </a:endParaRPr>
            </a:p>
          </p:txBody>
        </p:sp>
        <p:sp>
          <p:nvSpPr>
            <p:cNvPr id="22" name="TextBox 21"/>
            <p:cNvSpPr txBox="1"/>
            <p:nvPr/>
          </p:nvSpPr>
          <p:spPr>
            <a:xfrm>
              <a:off x="4056063" y="2721462"/>
              <a:ext cx="2095500" cy="1063538"/>
            </a:xfrm>
            <a:prstGeom prst="chevron">
              <a:avLst>
                <a:gd name="adj" fmla="val 12902"/>
              </a:avLst>
            </a:prstGeom>
            <a:solidFill>
              <a:schemeClr val="accent2"/>
            </a:solidFill>
            <a:ln w="12700" cmpd="sng">
              <a:noFill/>
            </a:ln>
          </p:spPr>
          <p:txBody>
            <a:bodyPr wrap="none" lIns="101600" tIns="101600" rIns="0" bIns="12700" rtlCol="0" anchor="t">
              <a:noAutofit/>
            </a:bodyPr>
            <a:lstStyle/>
            <a:p>
              <a:r>
                <a:rPr lang="en-US" sz="1400" b="1" dirty="0">
                  <a:solidFill>
                    <a:schemeClr val="bg1"/>
                  </a:solidFill>
                </a:rPr>
                <a:t>Title</a:t>
              </a:r>
            </a:p>
            <a:p>
              <a:r>
                <a:rPr lang="en-US" sz="1400">
                  <a:solidFill>
                    <a:schemeClr val="bg1"/>
                  </a:solidFill>
                </a:rPr>
                <a:t>Lorem ipsum dolor </a:t>
              </a:r>
              <a:br>
                <a:rPr lang="en-US" sz="1400">
                  <a:solidFill>
                    <a:schemeClr val="bg1"/>
                  </a:solidFill>
                </a:rPr>
              </a:br>
              <a:r>
                <a:rPr lang="en-US" sz="1400">
                  <a:solidFill>
                    <a:schemeClr val="bg1"/>
                  </a:solidFill>
                </a:rPr>
                <a:t>sit amet, mattis leo </a:t>
              </a:r>
              <a:br>
                <a:rPr lang="en-US" sz="1400">
                  <a:solidFill>
                    <a:schemeClr val="bg1"/>
                  </a:solidFill>
                </a:rPr>
              </a:br>
              <a:r>
                <a:rPr lang="en-US" sz="1400">
                  <a:solidFill>
                    <a:schemeClr val="bg1"/>
                  </a:solidFill>
                </a:rPr>
                <a:t>semper nullam eros </a:t>
              </a:r>
              <a:endParaRPr lang="en-US" sz="1400" dirty="0">
                <a:solidFill>
                  <a:schemeClr val="bg1"/>
                </a:solidFill>
              </a:endParaRPr>
            </a:p>
          </p:txBody>
        </p:sp>
        <p:sp>
          <p:nvSpPr>
            <p:cNvPr id="23" name="TextBox 22"/>
            <p:cNvSpPr txBox="1"/>
            <p:nvPr/>
          </p:nvSpPr>
          <p:spPr>
            <a:xfrm>
              <a:off x="6080126" y="2721462"/>
              <a:ext cx="2095500" cy="1063538"/>
            </a:xfrm>
            <a:prstGeom prst="chevron">
              <a:avLst>
                <a:gd name="adj" fmla="val 12902"/>
              </a:avLst>
            </a:prstGeom>
            <a:solidFill>
              <a:schemeClr val="accent2"/>
            </a:solidFill>
            <a:ln w="12700" cmpd="sng">
              <a:noFill/>
            </a:ln>
          </p:spPr>
          <p:txBody>
            <a:bodyPr wrap="none" lIns="101600" tIns="101600" rIns="0" bIns="12700" rtlCol="0" anchor="t">
              <a:noAutofit/>
            </a:bodyPr>
            <a:lstStyle/>
            <a:p>
              <a:r>
                <a:rPr lang="en-US" sz="1400" b="1" dirty="0">
                  <a:solidFill>
                    <a:schemeClr val="bg1"/>
                  </a:solidFill>
                </a:rPr>
                <a:t>Title</a:t>
              </a:r>
            </a:p>
            <a:p>
              <a:r>
                <a:rPr lang="en-US" sz="1400">
                  <a:solidFill>
                    <a:schemeClr val="bg1"/>
                  </a:solidFill>
                </a:rPr>
                <a:t>Lorem ipsum dolor </a:t>
              </a:r>
              <a:br>
                <a:rPr lang="en-US" sz="1400">
                  <a:solidFill>
                    <a:schemeClr val="bg1"/>
                  </a:solidFill>
                </a:rPr>
              </a:br>
              <a:r>
                <a:rPr lang="en-US" sz="1400">
                  <a:solidFill>
                    <a:schemeClr val="bg1"/>
                  </a:solidFill>
                </a:rPr>
                <a:t>sit amet, mattis leo </a:t>
              </a:r>
              <a:br>
                <a:rPr lang="en-US" sz="1400">
                  <a:solidFill>
                    <a:schemeClr val="bg1"/>
                  </a:solidFill>
                </a:rPr>
              </a:br>
              <a:r>
                <a:rPr lang="en-US" sz="1400">
                  <a:solidFill>
                    <a:schemeClr val="bg1"/>
                  </a:solidFill>
                </a:rPr>
                <a:t>semper nullam eros </a:t>
              </a:r>
              <a:endParaRPr lang="en-US" sz="1400" dirty="0">
                <a:solidFill>
                  <a:schemeClr val="bg1"/>
                </a:solidFill>
              </a:endParaRPr>
            </a:p>
          </p:txBody>
        </p:sp>
        <p:sp>
          <p:nvSpPr>
            <p:cNvPr id="24" name="TextBox 23"/>
            <p:cNvSpPr txBox="1"/>
            <p:nvPr/>
          </p:nvSpPr>
          <p:spPr>
            <a:xfrm>
              <a:off x="8104188" y="2721462"/>
              <a:ext cx="2095500" cy="1063538"/>
            </a:xfrm>
            <a:prstGeom prst="chevron">
              <a:avLst>
                <a:gd name="adj" fmla="val 12902"/>
              </a:avLst>
            </a:prstGeom>
            <a:solidFill>
              <a:schemeClr val="accent2"/>
            </a:solidFill>
            <a:ln w="12700" cmpd="sng">
              <a:noFill/>
            </a:ln>
          </p:spPr>
          <p:txBody>
            <a:bodyPr wrap="none" lIns="101600" tIns="101600" rIns="0" bIns="12700" rtlCol="0" anchor="t">
              <a:noAutofit/>
            </a:bodyPr>
            <a:lstStyle/>
            <a:p>
              <a:r>
                <a:rPr lang="en-US" sz="1400" b="1" dirty="0">
                  <a:solidFill>
                    <a:schemeClr val="bg1"/>
                  </a:solidFill>
                </a:rPr>
                <a:t>Title</a:t>
              </a:r>
            </a:p>
            <a:p>
              <a:r>
                <a:rPr lang="en-US" sz="1400">
                  <a:solidFill>
                    <a:schemeClr val="bg1"/>
                  </a:solidFill>
                </a:rPr>
                <a:t>Lorem ipsum dolor </a:t>
              </a:r>
              <a:br>
                <a:rPr lang="en-US" sz="1400">
                  <a:solidFill>
                    <a:schemeClr val="bg1"/>
                  </a:solidFill>
                </a:rPr>
              </a:br>
              <a:r>
                <a:rPr lang="en-US" sz="1400">
                  <a:solidFill>
                    <a:schemeClr val="bg1"/>
                  </a:solidFill>
                </a:rPr>
                <a:t>sit amet, mattis leo </a:t>
              </a:r>
              <a:br>
                <a:rPr lang="en-US" sz="1400">
                  <a:solidFill>
                    <a:schemeClr val="bg1"/>
                  </a:solidFill>
                </a:rPr>
              </a:br>
              <a:r>
                <a:rPr lang="en-US" sz="1400">
                  <a:solidFill>
                    <a:schemeClr val="bg1"/>
                  </a:solidFill>
                </a:rPr>
                <a:t>semper nullam eros </a:t>
              </a:r>
              <a:endParaRPr lang="en-US" sz="1400" dirty="0">
                <a:solidFill>
                  <a:schemeClr val="bg1"/>
                </a:solidFill>
              </a:endParaRPr>
            </a:p>
          </p:txBody>
        </p:sp>
        <p:sp>
          <p:nvSpPr>
            <p:cNvPr id="29" name="TextBox 28"/>
            <p:cNvSpPr txBox="1"/>
            <p:nvPr/>
          </p:nvSpPr>
          <p:spPr>
            <a:xfrm>
              <a:off x="2032000" y="4251879"/>
              <a:ext cx="2095500" cy="1063538"/>
            </a:xfrm>
            <a:prstGeom prst="homePlate">
              <a:avLst>
                <a:gd name="adj" fmla="val 12980"/>
              </a:avLst>
            </a:prstGeom>
            <a:solidFill>
              <a:srgbClr val="DEDEDE"/>
            </a:solidFill>
            <a:ln w="12700" cmpd="sng">
              <a:noFill/>
            </a:ln>
          </p:spPr>
          <p:txBody>
            <a:bodyPr wrap="none" lIns="101600" tIns="101600" rIns="0" bIns="12700" rtlCol="0" anchor="t">
              <a:noAutofit/>
            </a:bodyPr>
            <a:lstStyle/>
            <a:p>
              <a:r>
                <a:rPr lang="en-US" sz="1400" b="1" dirty="0"/>
                <a:t>Title</a:t>
              </a:r>
            </a:p>
            <a:p>
              <a:r>
                <a:rPr lang="en-US" sz="1400"/>
                <a:t>Lorem ipsum dolor </a:t>
              </a:r>
              <a:br>
                <a:rPr lang="en-US" sz="1400"/>
              </a:br>
              <a:r>
                <a:rPr lang="en-US" sz="1400"/>
                <a:t>sit amet, mattis leo </a:t>
              </a:r>
              <a:br>
                <a:rPr lang="en-US" sz="1400"/>
              </a:br>
              <a:r>
                <a:rPr lang="en-US" sz="1400"/>
                <a:t>semper nullam eros </a:t>
              </a:r>
              <a:endParaRPr lang="en-US" sz="1400" dirty="0"/>
            </a:p>
          </p:txBody>
        </p:sp>
        <p:sp>
          <p:nvSpPr>
            <p:cNvPr id="30" name="TextBox 29"/>
            <p:cNvSpPr txBox="1"/>
            <p:nvPr/>
          </p:nvSpPr>
          <p:spPr>
            <a:xfrm>
              <a:off x="4056063" y="4251879"/>
              <a:ext cx="2095500" cy="1063538"/>
            </a:xfrm>
            <a:prstGeom prst="chevron">
              <a:avLst>
                <a:gd name="adj" fmla="val 12902"/>
              </a:avLst>
            </a:prstGeom>
            <a:solidFill>
              <a:srgbClr val="DEDEDE"/>
            </a:solidFill>
            <a:ln w="12700" cmpd="sng">
              <a:noFill/>
            </a:ln>
          </p:spPr>
          <p:txBody>
            <a:bodyPr wrap="none" lIns="101600" tIns="101600" rIns="0" bIns="12700" rtlCol="0" anchor="t">
              <a:noAutofit/>
            </a:bodyPr>
            <a:lstStyle/>
            <a:p>
              <a:r>
                <a:rPr lang="en-US" sz="1400" b="1" dirty="0"/>
                <a:t>Title</a:t>
              </a:r>
            </a:p>
            <a:p>
              <a:r>
                <a:rPr lang="en-US" sz="1400"/>
                <a:t>Lorem ipsum dolor </a:t>
              </a:r>
              <a:br>
                <a:rPr lang="en-US" sz="1400"/>
              </a:br>
              <a:r>
                <a:rPr lang="en-US" sz="1400"/>
                <a:t>sit amet, mattis leo </a:t>
              </a:r>
              <a:br>
                <a:rPr lang="en-US" sz="1400"/>
              </a:br>
              <a:r>
                <a:rPr lang="en-US" sz="1400"/>
                <a:t>semper nullam eros </a:t>
              </a:r>
              <a:endParaRPr lang="en-US" sz="1400" dirty="0"/>
            </a:p>
          </p:txBody>
        </p:sp>
        <p:sp>
          <p:nvSpPr>
            <p:cNvPr id="31" name="TextBox 30"/>
            <p:cNvSpPr txBox="1"/>
            <p:nvPr/>
          </p:nvSpPr>
          <p:spPr>
            <a:xfrm>
              <a:off x="6080126" y="4251879"/>
              <a:ext cx="2095500" cy="1063538"/>
            </a:xfrm>
            <a:prstGeom prst="chevron">
              <a:avLst>
                <a:gd name="adj" fmla="val 12902"/>
              </a:avLst>
            </a:prstGeom>
            <a:solidFill>
              <a:srgbClr val="DEDEDE"/>
            </a:solidFill>
            <a:ln w="12700" cmpd="sng">
              <a:noFill/>
            </a:ln>
          </p:spPr>
          <p:txBody>
            <a:bodyPr wrap="none" lIns="101600" tIns="101600" rIns="0" bIns="12700" rtlCol="0" anchor="t">
              <a:noAutofit/>
            </a:bodyPr>
            <a:lstStyle/>
            <a:p>
              <a:r>
                <a:rPr lang="en-US" sz="1400" b="1" dirty="0"/>
                <a:t>Title</a:t>
              </a:r>
            </a:p>
            <a:p>
              <a:r>
                <a:rPr lang="en-US" sz="1400"/>
                <a:t>Lorem ipsum dolor </a:t>
              </a:r>
              <a:br>
                <a:rPr lang="en-US" sz="1400"/>
              </a:br>
              <a:r>
                <a:rPr lang="en-US" sz="1400"/>
                <a:t>sit amet, mattis leo </a:t>
              </a:r>
              <a:br>
                <a:rPr lang="en-US" sz="1400"/>
              </a:br>
              <a:r>
                <a:rPr lang="en-US" sz="1400"/>
                <a:t>semper nullam eros </a:t>
              </a:r>
              <a:endParaRPr lang="en-US" sz="1400" dirty="0"/>
            </a:p>
          </p:txBody>
        </p:sp>
        <p:sp>
          <p:nvSpPr>
            <p:cNvPr id="32" name="TextBox 31"/>
            <p:cNvSpPr txBox="1"/>
            <p:nvPr/>
          </p:nvSpPr>
          <p:spPr>
            <a:xfrm>
              <a:off x="8104188" y="4251879"/>
              <a:ext cx="2095500" cy="1063538"/>
            </a:xfrm>
            <a:prstGeom prst="chevron">
              <a:avLst>
                <a:gd name="adj" fmla="val 12902"/>
              </a:avLst>
            </a:prstGeom>
            <a:solidFill>
              <a:srgbClr val="DEDEDE"/>
            </a:solidFill>
            <a:ln w="12700" cmpd="sng">
              <a:noFill/>
            </a:ln>
          </p:spPr>
          <p:txBody>
            <a:bodyPr wrap="none" lIns="101600" tIns="101600" rIns="0" bIns="12700" rtlCol="0" anchor="t">
              <a:noAutofit/>
            </a:bodyPr>
            <a:lstStyle/>
            <a:p>
              <a:r>
                <a:rPr lang="en-US" sz="1400" b="1" dirty="0"/>
                <a:t>Title</a:t>
              </a:r>
            </a:p>
            <a:p>
              <a:r>
                <a:rPr lang="en-US" sz="1400"/>
                <a:t>Lorem ipsum dolor </a:t>
              </a:r>
              <a:br>
                <a:rPr lang="en-US" sz="1400"/>
              </a:br>
              <a:r>
                <a:rPr lang="en-US" sz="1400"/>
                <a:t>sit amet, mattis leo </a:t>
              </a:r>
              <a:br>
                <a:rPr lang="en-US" sz="1400"/>
              </a:br>
              <a:r>
                <a:rPr lang="en-US" sz="1400"/>
                <a:t>semper nullam eros </a:t>
              </a:r>
              <a:endParaRPr lang="en-US" sz="1400" dirty="0"/>
            </a:p>
          </p:txBody>
        </p:sp>
        <p:cxnSp>
          <p:nvCxnSpPr>
            <p:cNvPr id="36" name="Straight Connector 35"/>
            <p:cNvCxnSpPr/>
            <p:nvPr/>
          </p:nvCxnSpPr>
          <p:spPr>
            <a:xfrm>
              <a:off x="2032000" y="4018440"/>
              <a:ext cx="8011810" cy="0"/>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2032000" y="2494998"/>
              <a:ext cx="8011810" cy="0"/>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588063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26</a:t>
            </a:fld>
            <a:endParaRPr lang="en-GB" dirty="0"/>
          </a:p>
        </p:txBody>
      </p:sp>
      <p:grpSp>
        <p:nvGrpSpPr>
          <p:cNvPr id="4" name="Group 3"/>
          <p:cNvGrpSpPr/>
          <p:nvPr/>
        </p:nvGrpSpPr>
        <p:grpSpPr>
          <a:xfrm>
            <a:off x="507999" y="1528763"/>
            <a:ext cx="11171741" cy="4830762"/>
            <a:chOff x="508000" y="1528763"/>
            <a:chExt cx="8167688" cy="3393168"/>
          </a:xfrm>
        </p:grpSpPr>
        <p:sp>
          <p:nvSpPr>
            <p:cNvPr id="26" name="TextBox 25"/>
            <p:cNvSpPr txBox="1"/>
            <p:nvPr/>
          </p:nvSpPr>
          <p:spPr>
            <a:xfrm>
              <a:off x="508000" y="1528763"/>
              <a:ext cx="2095500" cy="1063538"/>
            </a:xfrm>
            <a:prstGeom prst="homePlate">
              <a:avLst>
                <a:gd name="adj" fmla="val 12980"/>
              </a:avLst>
            </a:prstGeom>
            <a:solidFill>
              <a:schemeClr val="accent1"/>
            </a:solidFill>
            <a:ln w="12700" cmpd="sng">
              <a:noFill/>
            </a:ln>
          </p:spPr>
          <p:txBody>
            <a:bodyPr wrap="none" lIns="101600" tIns="0" rIns="0" bIns="12700" rtlCol="0" anchor="ctr">
              <a:noAutofit/>
            </a:bodyPr>
            <a:lstStyle/>
            <a:p>
              <a:r>
                <a:rPr lang="en-US" dirty="0">
                  <a:latin typeface="Futura Bold"/>
                  <a:cs typeface="Futura Bold"/>
                </a:rPr>
                <a:t>01</a:t>
              </a:r>
              <a:br>
                <a:rPr lang="en-US" b="1" dirty="0"/>
              </a:br>
              <a:r>
                <a:rPr lang="en-US" dirty="0"/>
                <a:t>Subject title</a:t>
              </a:r>
            </a:p>
          </p:txBody>
        </p:sp>
        <p:sp>
          <p:nvSpPr>
            <p:cNvPr id="27" name="TextBox 26"/>
            <p:cNvSpPr txBox="1"/>
            <p:nvPr/>
          </p:nvSpPr>
          <p:spPr>
            <a:xfrm>
              <a:off x="2532063" y="1528763"/>
              <a:ext cx="6143625" cy="1063538"/>
            </a:xfrm>
            <a:prstGeom prst="chevron">
              <a:avLst>
                <a:gd name="adj" fmla="val 12902"/>
              </a:avLst>
            </a:prstGeom>
            <a:solidFill>
              <a:schemeClr val="accent1"/>
            </a:solidFill>
            <a:ln w="12700" cmpd="sng">
              <a:noFill/>
            </a:ln>
          </p:spPr>
          <p:txBody>
            <a:bodyPr wrap="square" lIns="101600" tIns="101600" rIns="0" bIns="12700" rtlCol="0" anchor="t">
              <a:noAutofit/>
            </a:bodyPr>
            <a:lstStyle/>
            <a:p>
              <a:pPr>
                <a:lnSpc>
                  <a:spcPct val="120000"/>
                </a:lnSpc>
              </a:pPr>
              <a:r>
                <a:rPr lang="en-US" sz="1400" dirty="0">
                  <a:latin typeface="+mj-lt"/>
                </a:rPr>
                <a:t>Title</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sp>
          <p:nvSpPr>
            <p:cNvPr id="28" name="TextBox 27"/>
            <p:cNvSpPr txBox="1"/>
            <p:nvPr/>
          </p:nvSpPr>
          <p:spPr>
            <a:xfrm>
              <a:off x="508000" y="2692481"/>
              <a:ext cx="2095500" cy="1063538"/>
            </a:xfrm>
            <a:prstGeom prst="homePlate">
              <a:avLst>
                <a:gd name="adj" fmla="val 12980"/>
              </a:avLst>
            </a:prstGeom>
            <a:solidFill>
              <a:schemeClr val="accent1">
                <a:alpha val="75000"/>
              </a:schemeClr>
            </a:solidFill>
            <a:ln w="12700" cmpd="sng">
              <a:noFill/>
            </a:ln>
          </p:spPr>
          <p:txBody>
            <a:bodyPr wrap="none" lIns="101600" tIns="0" rIns="0" bIns="12700" rtlCol="0" anchor="ctr">
              <a:noAutofit/>
            </a:bodyPr>
            <a:lstStyle/>
            <a:p>
              <a:r>
                <a:rPr lang="en-US" dirty="0">
                  <a:latin typeface="Futura Bold"/>
                  <a:cs typeface="Futura Bold"/>
                </a:rPr>
                <a:t>02</a:t>
              </a:r>
              <a:br>
                <a:rPr lang="en-US" b="1" dirty="0"/>
              </a:br>
              <a:r>
                <a:rPr lang="en-US" dirty="0"/>
                <a:t>Subject title</a:t>
              </a:r>
            </a:p>
          </p:txBody>
        </p:sp>
        <p:sp>
          <p:nvSpPr>
            <p:cNvPr id="34" name="TextBox 33"/>
            <p:cNvSpPr txBox="1"/>
            <p:nvPr/>
          </p:nvSpPr>
          <p:spPr>
            <a:xfrm>
              <a:off x="508000" y="3858393"/>
              <a:ext cx="2095500" cy="1063538"/>
            </a:xfrm>
            <a:prstGeom prst="homePlate">
              <a:avLst>
                <a:gd name="adj" fmla="val 12980"/>
              </a:avLst>
            </a:prstGeom>
            <a:solidFill>
              <a:schemeClr val="accent1">
                <a:alpha val="50000"/>
              </a:schemeClr>
            </a:solidFill>
            <a:ln w="12700" cmpd="sng">
              <a:noFill/>
            </a:ln>
          </p:spPr>
          <p:txBody>
            <a:bodyPr wrap="none" lIns="101600" tIns="0" rIns="0" bIns="12700" rtlCol="0" anchor="ctr">
              <a:noAutofit/>
            </a:bodyPr>
            <a:lstStyle/>
            <a:p>
              <a:r>
                <a:rPr lang="en-US" dirty="0">
                  <a:latin typeface="Futura Bold"/>
                  <a:cs typeface="Futura Bold"/>
                </a:rPr>
                <a:t>03</a:t>
              </a:r>
              <a:br>
                <a:rPr lang="en-US" b="1" dirty="0"/>
              </a:br>
              <a:r>
                <a:rPr lang="en-US" dirty="0"/>
                <a:t>Subject title</a:t>
              </a:r>
            </a:p>
          </p:txBody>
        </p:sp>
        <p:sp>
          <p:nvSpPr>
            <p:cNvPr id="40" name="TextBox 39"/>
            <p:cNvSpPr txBox="1"/>
            <p:nvPr/>
          </p:nvSpPr>
          <p:spPr>
            <a:xfrm>
              <a:off x="2532063" y="2692481"/>
              <a:ext cx="6143625" cy="1063538"/>
            </a:xfrm>
            <a:prstGeom prst="chevron">
              <a:avLst>
                <a:gd name="adj" fmla="val 12902"/>
              </a:avLst>
            </a:prstGeom>
            <a:solidFill>
              <a:schemeClr val="accent1">
                <a:alpha val="75000"/>
              </a:schemeClr>
            </a:solidFill>
            <a:ln w="12700" cmpd="sng">
              <a:noFill/>
            </a:ln>
          </p:spPr>
          <p:txBody>
            <a:bodyPr wrap="square" lIns="101600" tIns="101600" rIns="0" bIns="12700" rtlCol="0" anchor="t">
              <a:noAutofit/>
            </a:bodyPr>
            <a:lstStyle/>
            <a:p>
              <a:pPr>
                <a:lnSpc>
                  <a:spcPct val="120000"/>
                </a:lnSpc>
              </a:pPr>
              <a:r>
                <a:rPr lang="en-US" sz="1400" dirty="0">
                  <a:latin typeface="+mj-lt"/>
                </a:rPr>
                <a:t>Title</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sp>
          <p:nvSpPr>
            <p:cNvPr id="41" name="TextBox 40"/>
            <p:cNvSpPr txBox="1"/>
            <p:nvPr/>
          </p:nvSpPr>
          <p:spPr>
            <a:xfrm>
              <a:off x="2532063" y="3858393"/>
              <a:ext cx="6143625" cy="1063538"/>
            </a:xfrm>
            <a:prstGeom prst="chevron">
              <a:avLst>
                <a:gd name="adj" fmla="val 12902"/>
              </a:avLst>
            </a:prstGeom>
            <a:solidFill>
              <a:schemeClr val="accent1">
                <a:alpha val="50000"/>
              </a:schemeClr>
            </a:solidFill>
            <a:ln w="12700" cmpd="sng">
              <a:noFill/>
            </a:ln>
          </p:spPr>
          <p:txBody>
            <a:bodyPr wrap="square" lIns="101600" tIns="101600" rIns="0" bIns="12700" rtlCol="0" anchor="t">
              <a:noAutofit/>
            </a:bodyPr>
            <a:lstStyle/>
            <a:p>
              <a:pPr>
                <a:lnSpc>
                  <a:spcPct val="120000"/>
                </a:lnSpc>
              </a:pPr>
              <a:r>
                <a:rPr lang="en-US" sz="1400" dirty="0">
                  <a:latin typeface="+mj-lt"/>
                </a:rPr>
                <a:t>Title</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grpSp>
    </p:spTree>
    <p:extLst>
      <p:ext uri="{BB962C8B-B14F-4D97-AF65-F5344CB8AC3E}">
        <p14:creationId xmlns:p14="http://schemas.microsoft.com/office/powerpoint/2010/main" val="81291459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27</a:t>
            </a:fld>
            <a:endParaRPr lang="en-GB" dirty="0"/>
          </a:p>
        </p:txBody>
      </p:sp>
      <p:grpSp>
        <p:nvGrpSpPr>
          <p:cNvPr id="4" name="Group 3"/>
          <p:cNvGrpSpPr/>
          <p:nvPr/>
        </p:nvGrpSpPr>
        <p:grpSpPr>
          <a:xfrm>
            <a:off x="508000" y="1532467"/>
            <a:ext cx="11171238" cy="4827058"/>
            <a:chOff x="2032000" y="1204996"/>
            <a:chExt cx="8167688" cy="3393168"/>
          </a:xfrm>
        </p:grpSpPr>
        <p:sp>
          <p:nvSpPr>
            <p:cNvPr id="26" name="TextBox 25"/>
            <p:cNvSpPr txBox="1"/>
            <p:nvPr/>
          </p:nvSpPr>
          <p:spPr>
            <a:xfrm>
              <a:off x="2032000" y="1204996"/>
              <a:ext cx="2095500" cy="1063538"/>
            </a:xfrm>
            <a:prstGeom prst="homePlate">
              <a:avLst>
                <a:gd name="adj" fmla="val 12980"/>
              </a:avLst>
            </a:prstGeom>
            <a:solidFill>
              <a:schemeClr val="accent1"/>
            </a:solidFill>
            <a:ln w="12700" cmpd="sng">
              <a:noFill/>
            </a:ln>
          </p:spPr>
          <p:txBody>
            <a:bodyPr wrap="none" lIns="101600" tIns="0" rIns="0" bIns="12700" rtlCol="0" anchor="ctr">
              <a:noAutofit/>
            </a:bodyPr>
            <a:lstStyle/>
            <a:p>
              <a:r>
                <a:rPr lang="en-US" dirty="0">
                  <a:latin typeface="Futura Bold"/>
                  <a:cs typeface="Futura Bold"/>
                </a:rPr>
                <a:t>01</a:t>
              </a:r>
              <a:br>
                <a:rPr lang="en-US" b="1" dirty="0"/>
              </a:br>
              <a:r>
                <a:rPr lang="en-US" dirty="0"/>
                <a:t>Subject title</a:t>
              </a:r>
            </a:p>
          </p:txBody>
        </p:sp>
        <p:sp>
          <p:nvSpPr>
            <p:cNvPr id="27" name="TextBox 26"/>
            <p:cNvSpPr txBox="1"/>
            <p:nvPr/>
          </p:nvSpPr>
          <p:spPr>
            <a:xfrm>
              <a:off x="4056063" y="1204996"/>
              <a:ext cx="6143625" cy="1063538"/>
            </a:xfrm>
            <a:prstGeom prst="chevron">
              <a:avLst>
                <a:gd name="adj" fmla="val 12902"/>
              </a:avLst>
            </a:prstGeom>
            <a:solidFill>
              <a:srgbClr val="DEDEDE"/>
            </a:solidFill>
            <a:ln w="12700" cmpd="sng">
              <a:noFill/>
            </a:ln>
          </p:spPr>
          <p:txBody>
            <a:bodyPr wrap="square" lIns="101600" tIns="101600" rIns="0" bIns="12700" rtlCol="0" anchor="t">
              <a:noAutofit/>
            </a:bodyPr>
            <a:lstStyle/>
            <a:p>
              <a:pPr>
                <a:lnSpc>
                  <a:spcPct val="120000"/>
                </a:lnSpc>
              </a:pPr>
              <a:r>
                <a:rPr lang="en-US" sz="1400" dirty="0">
                  <a:latin typeface="+mj-lt"/>
                </a:rPr>
                <a:t>Title</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sp>
          <p:nvSpPr>
            <p:cNvPr id="28" name="TextBox 27"/>
            <p:cNvSpPr txBox="1"/>
            <p:nvPr/>
          </p:nvSpPr>
          <p:spPr>
            <a:xfrm>
              <a:off x="2032000" y="2368714"/>
              <a:ext cx="2095500" cy="1063538"/>
            </a:xfrm>
            <a:prstGeom prst="homePlate">
              <a:avLst>
                <a:gd name="adj" fmla="val 12980"/>
              </a:avLst>
            </a:prstGeom>
            <a:solidFill>
              <a:schemeClr val="accent1"/>
            </a:solidFill>
            <a:ln w="12700" cmpd="sng">
              <a:noFill/>
            </a:ln>
          </p:spPr>
          <p:txBody>
            <a:bodyPr wrap="none" lIns="101600" tIns="0" rIns="0" bIns="12700" rtlCol="0" anchor="ctr">
              <a:noAutofit/>
            </a:bodyPr>
            <a:lstStyle/>
            <a:p>
              <a:r>
                <a:rPr lang="en-US" dirty="0">
                  <a:latin typeface="Futura Bold"/>
                  <a:cs typeface="Futura Bold"/>
                </a:rPr>
                <a:t>02</a:t>
              </a:r>
              <a:br>
                <a:rPr lang="en-US" b="1" dirty="0"/>
              </a:br>
              <a:r>
                <a:rPr lang="en-US" dirty="0"/>
                <a:t>Subject title</a:t>
              </a:r>
            </a:p>
          </p:txBody>
        </p:sp>
        <p:sp>
          <p:nvSpPr>
            <p:cNvPr id="34" name="TextBox 33"/>
            <p:cNvSpPr txBox="1"/>
            <p:nvPr/>
          </p:nvSpPr>
          <p:spPr>
            <a:xfrm>
              <a:off x="2032000" y="3534626"/>
              <a:ext cx="2095500" cy="1063538"/>
            </a:xfrm>
            <a:prstGeom prst="homePlate">
              <a:avLst>
                <a:gd name="adj" fmla="val 12980"/>
              </a:avLst>
            </a:prstGeom>
            <a:solidFill>
              <a:schemeClr val="accent1"/>
            </a:solidFill>
            <a:ln w="12700" cmpd="sng">
              <a:noFill/>
            </a:ln>
          </p:spPr>
          <p:txBody>
            <a:bodyPr wrap="none" lIns="101600" tIns="0" rIns="0" bIns="12700" rtlCol="0" anchor="ctr">
              <a:noAutofit/>
            </a:bodyPr>
            <a:lstStyle/>
            <a:p>
              <a:r>
                <a:rPr lang="en-US" dirty="0">
                  <a:latin typeface="Futura Bold"/>
                  <a:cs typeface="Futura Bold"/>
                </a:rPr>
                <a:t>03</a:t>
              </a:r>
              <a:br>
                <a:rPr lang="en-US" b="1" dirty="0"/>
              </a:br>
              <a:r>
                <a:rPr lang="en-US" dirty="0"/>
                <a:t>Subject title</a:t>
              </a:r>
            </a:p>
          </p:txBody>
        </p:sp>
        <p:sp>
          <p:nvSpPr>
            <p:cNvPr id="40" name="TextBox 39"/>
            <p:cNvSpPr txBox="1"/>
            <p:nvPr/>
          </p:nvSpPr>
          <p:spPr>
            <a:xfrm>
              <a:off x="4056063" y="2368714"/>
              <a:ext cx="6143625" cy="1063538"/>
            </a:xfrm>
            <a:prstGeom prst="chevron">
              <a:avLst>
                <a:gd name="adj" fmla="val 12902"/>
              </a:avLst>
            </a:prstGeom>
            <a:solidFill>
              <a:srgbClr val="DEDEDE"/>
            </a:solidFill>
            <a:ln w="12700" cmpd="sng">
              <a:noFill/>
            </a:ln>
          </p:spPr>
          <p:txBody>
            <a:bodyPr wrap="square" lIns="101600" tIns="101600" rIns="0" bIns="12700" rtlCol="0" anchor="t">
              <a:noAutofit/>
            </a:bodyPr>
            <a:lstStyle/>
            <a:p>
              <a:pPr>
                <a:lnSpc>
                  <a:spcPct val="120000"/>
                </a:lnSpc>
              </a:pPr>
              <a:r>
                <a:rPr lang="en-US" sz="1400" dirty="0">
                  <a:latin typeface="+mj-lt"/>
                </a:rPr>
                <a:t>Title</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sp>
          <p:nvSpPr>
            <p:cNvPr id="41" name="TextBox 40"/>
            <p:cNvSpPr txBox="1"/>
            <p:nvPr/>
          </p:nvSpPr>
          <p:spPr>
            <a:xfrm>
              <a:off x="4056063" y="3534626"/>
              <a:ext cx="6143625" cy="1063538"/>
            </a:xfrm>
            <a:prstGeom prst="chevron">
              <a:avLst>
                <a:gd name="adj" fmla="val 12902"/>
              </a:avLst>
            </a:prstGeom>
            <a:solidFill>
              <a:srgbClr val="DEDEDE"/>
            </a:solidFill>
            <a:ln w="12700" cmpd="sng">
              <a:noFill/>
            </a:ln>
          </p:spPr>
          <p:txBody>
            <a:bodyPr wrap="square" lIns="101600" tIns="101600" rIns="0" bIns="12700" rtlCol="0" anchor="t">
              <a:noAutofit/>
            </a:bodyPr>
            <a:lstStyle/>
            <a:p>
              <a:pPr>
                <a:lnSpc>
                  <a:spcPct val="120000"/>
                </a:lnSpc>
              </a:pPr>
              <a:r>
                <a:rPr lang="en-US" sz="1400" dirty="0">
                  <a:latin typeface="+mj-lt"/>
                </a:rPr>
                <a:t>Title</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grpSp>
    </p:spTree>
    <p:extLst>
      <p:ext uri="{BB962C8B-B14F-4D97-AF65-F5344CB8AC3E}">
        <p14:creationId xmlns:p14="http://schemas.microsoft.com/office/powerpoint/2010/main" val="99935064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28</a:t>
            </a:fld>
            <a:endParaRPr lang="en-GB" dirty="0"/>
          </a:p>
        </p:txBody>
      </p:sp>
      <p:grpSp>
        <p:nvGrpSpPr>
          <p:cNvPr id="4" name="Group 3"/>
          <p:cNvGrpSpPr/>
          <p:nvPr/>
        </p:nvGrpSpPr>
        <p:grpSpPr>
          <a:xfrm>
            <a:off x="507998" y="1528763"/>
            <a:ext cx="11171743" cy="4830764"/>
            <a:chOff x="2623817" y="1821405"/>
            <a:chExt cx="6956971" cy="3018009"/>
          </a:xfrm>
        </p:grpSpPr>
        <p:sp>
          <p:nvSpPr>
            <p:cNvPr id="25" name="TextBox 24"/>
            <p:cNvSpPr txBox="1"/>
            <p:nvPr/>
          </p:nvSpPr>
          <p:spPr>
            <a:xfrm rot="5400000">
              <a:off x="3794883" y="650340"/>
              <a:ext cx="1063538" cy="3405669"/>
            </a:xfrm>
            <a:prstGeom prst="chevron">
              <a:avLst>
                <a:gd name="adj" fmla="val 12902"/>
              </a:avLst>
            </a:prstGeom>
            <a:solidFill>
              <a:schemeClr val="accent1"/>
            </a:solidFill>
            <a:ln w="12700" cmpd="sng">
              <a:noFill/>
            </a:ln>
          </p:spPr>
          <p:txBody>
            <a:bodyPr vert="vert270" wrap="none" lIns="63500" tIns="101600" rIns="101600" bIns="1016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26" name="TextBox 25"/>
            <p:cNvSpPr txBox="1"/>
            <p:nvPr/>
          </p:nvSpPr>
          <p:spPr>
            <a:xfrm rot="5400000">
              <a:off x="7347512" y="651666"/>
              <a:ext cx="1063538" cy="3403015"/>
            </a:xfrm>
            <a:prstGeom prst="chevron">
              <a:avLst>
                <a:gd name="adj" fmla="val 12902"/>
              </a:avLst>
            </a:prstGeom>
            <a:solidFill>
              <a:srgbClr val="DEDEDE"/>
            </a:solidFill>
            <a:ln w="12700" cmpd="sng">
              <a:noFill/>
            </a:ln>
          </p:spPr>
          <p:txBody>
            <a:bodyPr vert="vert270" wrap="none" lIns="63500" tIns="101600" rIns="101600" bIns="1016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27" name="TextBox 26"/>
            <p:cNvSpPr txBox="1"/>
            <p:nvPr/>
          </p:nvSpPr>
          <p:spPr>
            <a:xfrm rot="5400000">
              <a:off x="3794882" y="1627576"/>
              <a:ext cx="1063538" cy="3405668"/>
            </a:xfrm>
            <a:prstGeom prst="chevron">
              <a:avLst>
                <a:gd name="adj" fmla="val 12902"/>
              </a:avLst>
            </a:prstGeom>
            <a:solidFill>
              <a:schemeClr val="accent1"/>
            </a:solidFill>
            <a:ln w="12700" cmpd="sng">
              <a:noFill/>
            </a:ln>
          </p:spPr>
          <p:txBody>
            <a:bodyPr vert="vert270" wrap="none" lIns="63500" tIns="101600" rIns="101600" bIns="1016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28" name="TextBox 27"/>
            <p:cNvSpPr txBox="1"/>
            <p:nvPr/>
          </p:nvSpPr>
          <p:spPr>
            <a:xfrm rot="5400000">
              <a:off x="7347512" y="1628901"/>
              <a:ext cx="1063538" cy="3403015"/>
            </a:xfrm>
            <a:prstGeom prst="chevron">
              <a:avLst>
                <a:gd name="adj" fmla="val 12902"/>
              </a:avLst>
            </a:prstGeom>
            <a:solidFill>
              <a:srgbClr val="DEDEDE"/>
            </a:solidFill>
            <a:ln w="12700" cmpd="sng">
              <a:noFill/>
            </a:ln>
          </p:spPr>
          <p:txBody>
            <a:bodyPr vert="vert270" wrap="none" lIns="63500" tIns="101600" rIns="101600" bIns="1016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33" name="TextBox 32"/>
            <p:cNvSpPr txBox="1"/>
            <p:nvPr/>
          </p:nvSpPr>
          <p:spPr>
            <a:xfrm rot="5400000">
              <a:off x="3794882" y="2604811"/>
              <a:ext cx="1063538" cy="3405668"/>
            </a:xfrm>
            <a:prstGeom prst="chevron">
              <a:avLst>
                <a:gd name="adj" fmla="val 12902"/>
              </a:avLst>
            </a:prstGeom>
            <a:solidFill>
              <a:schemeClr val="accent1"/>
            </a:solidFill>
            <a:ln w="12700" cmpd="sng">
              <a:noFill/>
            </a:ln>
          </p:spPr>
          <p:txBody>
            <a:bodyPr vert="vert270" wrap="none" lIns="63500" tIns="101600" rIns="101600" bIns="1016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sp>
          <p:nvSpPr>
            <p:cNvPr id="34" name="TextBox 33"/>
            <p:cNvSpPr txBox="1"/>
            <p:nvPr/>
          </p:nvSpPr>
          <p:spPr>
            <a:xfrm rot="5400000">
              <a:off x="7347512" y="2606136"/>
              <a:ext cx="1063538" cy="3403015"/>
            </a:xfrm>
            <a:prstGeom prst="chevron">
              <a:avLst>
                <a:gd name="adj" fmla="val 12902"/>
              </a:avLst>
            </a:prstGeom>
            <a:solidFill>
              <a:srgbClr val="DEDEDE"/>
            </a:solidFill>
            <a:ln w="12700" cmpd="sng">
              <a:noFill/>
            </a:ln>
          </p:spPr>
          <p:txBody>
            <a:bodyPr vert="vert270" wrap="none" lIns="63500" tIns="101600" rIns="101600" bIns="101600" rtlCol="0" anchor="t">
              <a:noAutofit/>
            </a:bodyPr>
            <a:lstStyle/>
            <a:p>
              <a:r>
                <a:rPr lang="en-US" sz="1400" dirty="0">
                  <a:latin typeface="+mj-lt"/>
                </a:rPr>
                <a:t>Title</a:t>
              </a:r>
            </a:p>
            <a:p>
              <a:r>
                <a:rPr lang="en-US" sz="1400" dirty="0" err="1"/>
                <a:t>Lorem</a:t>
              </a:r>
              <a:r>
                <a:rPr lang="en-US" sz="1400" dirty="0"/>
                <a:t> </a:t>
              </a:r>
              <a:r>
                <a:rPr lang="en-US" sz="1400" dirty="0" err="1"/>
                <a:t>ipsum</a:t>
              </a:r>
              <a:r>
                <a:rPr lang="en-US" sz="1400" dirty="0"/>
                <a:t> dolor sit </a:t>
              </a:r>
              <a:r>
                <a:rPr lang="en-US" sz="1400" dirty="0" err="1"/>
                <a:t>amet</a:t>
              </a:r>
              <a:r>
                <a:rPr lang="en-US" sz="1400" dirty="0"/>
                <a:t>, </a:t>
              </a:r>
              <a:br>
                <a:rPr lang="en-US" sz="1400" dirty="0"/>
              </a:b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p>
          </p:txBody>
        </p:sp>
      </p:grpSp>
      <p:cxnSp>
        <p:nvCxnSpPr>
          <p:cNvPr id="7" name="Straight Connector 6"/>
          <p:cNvCxnSpPr/>
          <p:nvPr/>
        </p:nvCxnSpPr>
        <p:spPr>
          <a:xfrm>
            <a:off x="6096000" y="1411955"/>
            <a:ext cx="0" cy="3815536"/>
          </a:xfrm>
          <a:prstGeom prst="line">
            <a:avLst/>
          </a:prstGeom>
          <a:ln>
            <a:solidFill>
              <a:schemeClr val="tx1"/>
            </a:solidFill>
            <a:prstDash val="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4811341"/>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29</a:t>
            </a:fld>
            <a:endParaRPr lang="en-GB" dirty="0"/>
          </a:p>
        </p:txBody>
      </p:sp>
      <p:grpSp>
        <p:nvGrpSpPr>
          <p:cNvPr id="4" name="Group 3"/>
          <p:cNvGrpSpPr/>
          <p:nvPr/>
        </p:nvGrpSpPr>
        <p:grpSpPr>
          <a:xfrm>
            <a:off x="3320852" y="1448508"/>
            <a:ext cx="5550296" cy="4933595"/>
            <a:chOff x="3810000" y="1601535"/>
            <a:chExt cx="4572000" cy="4063999"/>
          </a:xfrm>
        </p:grpSpPr>
        <p:sp>
          <p:nvSpPr>
            <p:cNvPr id="5" name="Freeform 4"/>
            <p:cNvSpPr/>
            <p:nvPr/>
          </p:nvSpPr>
          <p:spPr>
            <a:xfrm>
              <a:off x="5333999" y="1601535"/>
              <a:ext cx="1524000" cy="1354666"/>
            </a:xfrm>
            <a:custGeom>
              <a:avLst/>
              <a:gdLst>
                <a:gd name="connsiteX0" fmla="*/ 0 w 1524000"/>
                <a:gd name="connsiteY0" fmla="*/ 1354666 h 1354666"/>
                <a:gd name="connsiteX1" fmla="*/ 762000 w 1524000"/>
                <a:gd name="connsiteY1" fmla="*/ 0 h 1354666"/>
                <a:gd name="connsiteX2" fmla="*/ 762000 w 1524000"/>
                <a:gd name="connsiteY2" fmla="*/ 0 h 1354666"/>
                <a:gd name="connsiteX3" fmla="*/ 1524000 w 1524000"/>
                <a:gd name="connsiteY3" fmla="*/ 1354666 h 1354666"/>
                <a:gd name="connsiteX4" fmla="*/ 0 w 1524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1354666">
                  <a:moveTo>
                    <a:pt x="0" y="1354666"/>
                  </a:moveTo>
                  <a:lnTo>
                    <a:pt x="762000" y="0"/>
                  </a:lnTo>
                  <a:lnTo>
                    <a:pt x="762000" y="0"/>
                  </a:lnTo>
                  <a:lnTo>
                    <a:pt x="1524000" y="1354666"/>
                  </a:lnTo>
                  <a:lnTo>
                    <a:pt x="0" y="1354666"/>
                  </a:lnTo>
                  <a:close/>
                </a:path>
              </a:pathLst>
            </a:custGeom>
            <a:solidFill>
              <a:schemeClr val="accent1">
                <a:hueOff val="0"/>
                <a:satOff val="0"/>
                <a:lumOff val="0"/>
                <a:alpha val="50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1600" tIns="17780" rIns="101600" bIns="17780" numCol="1" spcCol="1270" anchor="b" anchorCtr="0">
              <a:noAutofit/>
            </a:bodyPr>
            <a:lstStyle/>
            <a:p>
              <a:pPr algn="ctr" defTabSz="622300">
                <a:spcBef>
                  <a:spcPct val="0"/>
                </a:spcBef>
              </a:pPr>
              <a:r>
                <a:rPr lang="en-US" sz="1400" dirty="0" err="1">
                  <a:solidFill>
                    <a:srgbClr val="535353"/>
                  </a:solidFill>
                  <a:latin typeface="Futura Medium"/>
                  <a:cs typeface="Futura Medium"/>
                </a:rPr>
                <a:t>Lorem</a:t>
              </a:r>
              <a:r>
                <a:rPr lang="en-US" sz="1400" dirty="0">
                  <a:solidFill>
                    <a:srgbClr val="535353"/>
                  </a:solidFill>
                  <a:latin typeface="Futura Medium"/>
                  <a:cs typeface="Futura Medium"/>
                </a:rPr>
                <a:t> </a:t>
              </a:r>
              <a:r>
                <a:rPr lang="en-US" sz="1400" dirty="0" err="1">
                  <a:solidFill>
                    <a:srgbClr val="535353"/>
                  </a:solidFill>
                  <a:latin typeface="Futura Medium"/>
                  <a:cs typeface="Futura Medium"/>
                </a:rPr>
                <a:t>ipsum</a:t>
              </a:r>
              <a:r>
                <a:rPr lang="en-US" sz="1400" dirty="0">
                  <a:solidFill>
                    <a:srgbClr val="535353"/>
                  </a:solidFill>
                  <a:latin typeface="Futura Medium"/>
                  <a:cs typeface="Futura Medium"/>
                </a:rPr>
                <a:t> dolor </a:t>
              </a:r>
            </a:p>
          </p:txBody>
        </p:sp>
        <p:sp>
          <p:nvSpPr>
            <p:cNvPr id="6" name="Freeform 5"/>
            <p:cNvSpPr/>
            <p:nvPr/>
          </p:nvSpPr>
          <p:spPr>
            <a:xfrm>
              <a:off x="4571999" y="2956201"/>
              <a:ext cx="3048000" cy="1354666"/>
            </a:xfrm>
            <a:custGeom>
              <a:avLst/>
              <a:gdLst>
                <a:gd name="connsiteX0" fmla="*/ 0 w 3048000"/>
                <a:gd name="connsiteY0" fmla="*/ 1354666 h 1354666"/>
                <a:gd name="connsiteX1" fmla="*/ 762000 w 3048000"/>
                <a:gd name="connsiteY1" fmla="*/ 0 h 1354666"/>
                <a:gd name="connsiteX2" fmla="*/ 2286000 w 3048000"/>
                <a:gd name="connsiteY2" fmla="*/ 0 h 1354666"/>
                <a:gd name="connsiteX3" fmla="*/ 3048000 w 3048000"/>
                <a:gd name="connsiteY3" fmla="*/ 1354666 h 1354666"/>
                <a:gd name="connsiteX4" fmla="*/ 0 w 3048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1354666">
                  <a:moveTo>
                    <a:pt x="0" y="1354666"/>
                  </a:moveTo>
                  <a:lnTo>
                    <a:pt x="762000" y="0"/>
                  </a:lnTo>
                  <a:lnTo>
                    <a:pt x="2286000" y="0"/>
                  </a:lnTo>
                  <a:lnTo>
                    <a:pt x="3048000" y="1354666"/>
                  </a:lnTo>
                  <a:lnTo>
                    <a:pt x="0" y="1354666"/>
                  </a:lnTo>
                  <a:close/>
                </a:path>
              </a:pathLst>
            </a:custGeom>
            <a:solidFill>
              <a:schemeClr val="accent1">
                <a:hueOff val="0"/>
                <a:satOff val="0"/>
                <a:lumOff val="0"/>
                <a:alpha val="75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latin typeface="Futura Medium"/>
                  <a:cs typeface="Futura Medium"/>
                </a:rPr>
                <a:t>Lorem ipsum dolor </a:t>
              </a:r>
            </a:p>
          </p:txBody>
        </p:sp>
        <p:sp>
          <p:nvSpPr>
            <p:cNvPr id="8" name="Freeform 7"/>
            <p:cNvSpPr/>
            <p:nvPr/>
          </p:nvSpPr>
          <p:spPr>
            <a:xfrm>
              <a:off x="3810000" y="4310868"/>
              <a:ext cx="4572000" cy="1354666"/>
            </a:xfrm>
            <a:custGeom>
              <a:avLst/>
              <a:gdLst>
                <a:gd name="connsiteX0" fmla="*/ 0 w 4572000"/>
                <a:gd name="connsiteY0" fmla="*/ 1354666 h 1354666"/>
                <a:gd name="connsiteX1" fmla="*/ 762000 w 4572000"/>
                <a:gd name="connsiteY1" fmla="*/ 0 h 1354666"/>
                <a:gd name="connsiteX2" fmla="*/ 3810000 w 4572000"/>
                <a:gd name="connsiteY2" fmla="*/ 0 h 1354666"/>
                <a:gd name="connsiteX3" fmla="*/ 4572000 w 4572000"/>
                <a:gd name="connsiteY3" fmla="*/ 1354666 h 1354666"/>
                <a:gd name="connsiteX4" fmla="*/ 0 w 4572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0" h="1354666">
                  <a:moveTo>
                    <a:pt x="0" y="1354666"/>
                  </a:moveTo>
                  <a:lnTo>
                    <a:pt x="762000" y="0"/>
                  </a:lnTo>
                  <a:lnTo>
                    <a:pt x="3810000" y="0"/>
                  </a:lnTo>
                  <a:lnTo>
                    <a:pt x="4572000" y="1354666"/>
                  </a:lnTo>
                  <a:lnTo>
                    <a:pt x="0" y="1354666"/>
                  </a:lnTo>
                  <a:close/>
                </a:path>
              </a:pathLst>
            </a:custGeom>
            <a:solidFill>
              <a:schemeClr val="accent1">
                <a:hueOff val="0"/>
                <a:satOff val="0"/>
                <a:lumOff val="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latin typeface="Futura Medium"/>
                  <a:cs typeface="Futura Medium"/>
                </a:rPr>
                <a:t>Lorem ipsum dolor </a:t>
              </a:r>
            </a:p>
          </p:txBody>
        </p:sp>
      </p:grpSp>
    </p:spTree>
    <p:extLst>
      <p:ext uri="{BB962C8B-B14F-4D97-AF65-F5344CB8AC3E}">
        <p14:creationId xmlns:p14="http://schemas.microsoft.com/office/powerpoint/2010/main" val="108005367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3</a:t>
            </a:fld>
            <a:endParaRPr lang="en-GB" dirty="0"/>
          </a:p>
        </p:txBody>
      </p:sp>
      <p:grpSp>
        <p:nvGrpSpPr>
          <p:cNvPr id="4" name="Group 3"/>
          <p:cNvGrpSpPr/>
          <p:nvPr/>
        </p:nvGrpSpPr>
        <p:grpSpPr>
          <a:xfrm>
            <a:off x="507999" y="1532467"/>
            <a:ext cx="11171741" cy="4827057"/>
            <a:chOff x="2032000" y="1204996"/>
            <a:chExt cx="8128000" cy="4378496"/>
          </a:xfrm>
        </p:grpSpPr>
        <p:sp>
          <p:nvSpPr>
            <p:cNvPr id="6" name="TextBox 5"/>
            <p:cNvSpPr txBox="1"/>
            <p:nvPr/>
          </p:nvSpPr>
          <p:spPr>
            <a:xfrm>
              <a:off x="2032000" y="1522496"/>
              <a:ext cx="2540000" cy="40609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p:txBody>
        </p:sp>
        <p:sp>
          <p:nvSpPr>
            <p:cNvPr id="26" name="TextBox 25"/>
            <p:cNvSpPr txBox="1"/>
            <p:nvPr/>
          </p:nvSpPr>
          <p:spPr>
            <a:xfrm>
              <a:off x="4826001" y="1522496"/>
              <a:ext cx="2540000" cy="40609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p:txBody>
        </p:sp>
        <p:sp>
          <p:nvSpPr>
            <p:cNvPr id="28" name="TextBox 27"/>
            <p:cNvSpPr txBox="1"/>
            <p:nvPr/>
          </p:nvSpPr>
          <p:spPr>
            <a:xfrm>
              <a:off x="7620000" y="1522496"/>
              <a:ext cx="2540000" cy="40609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p:txBody>
        </p:sp>
        <p:sp>
          <p:nvSpPr>
            <p:cNvPr id="5" name="TextBox 4"/>
            <p:cNvSpPr txBox="1"/>
            <p:nvPr/>
          </p:nvSpPr>
          <p:spPr>
            <a:xfrm>
              <a:off x="2032000" y="1204996"/>
              <a:ext cx="2540000"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sp>
          <p:nvSpPr>
            <p:cNvPr id="25" name="TextBox 24"/>
            <p:cNvSpPr txBox="1"/>
            <p:nvPr/>
          </p:nvSpPr>
          <p:spPr>
            <a:xfrm>
              <a:off x="4826001" y="1204996"/>
              <a:ext cx="2540000"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sp>
          <p:nvSpPr>
            <p:cNvPr id="27" name="TextBox 26"/>
            <p:cNvSpPr txBox="1"/>
            <p:nvPr/>
          </p:nvSpPr>
          <p:spPr>
            <a:xfrm>
              <a:off x="7620000" y="1204996"/>
              <a:ext cx="2540000"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grpSp>
    </p:spTree>
    <p:extLst>
      <p:ext uri="{BB962C8B-B14F-4D97-AF65-F5344CB8AC3E}">
        <p14:creationId xmlns:p14="http://schemas.microsoft.com/office/powerpoint/2010/main" val="107060316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30</a:t>
            </a:fld>
            <a:endParaRPr lang="en-GB" dirty="0"/>
          </a:p>
        </p:txBody>
      </p:sp>
      <p:grpSp>
        <p:nvGrpSpPr>
          <p:cNvPr id="4" name="Group 3"/>
          <p:cNvGrpSpPr/>
          <p:nvPr/>
        </p:nvGrpSpPr>
        <p:grpSpPr>
          <a:xfrm>
            <a:off x="3347442" y="1473201"/>
            <a:ext cx="5497116" cy="4886324"/>
            <a:chOff x="3810000" y="1601535"/>
            <a:chExt cx="4572000" cy="4063999"/>
          </a:xfrm>
        </p:grpSpPr>
        <p:sp>
          <p:nvSpPr>
            <p:cNvPr id="10" name="Freeform 9"/>
            <p:cNvSpPr/>
            <p:nvPr/>
          </p:nvSpPr>
          <p:spPr>
            <a:xfrm>
              <a:off x="5524500" y="1601535"/>
              <a:ext cx="1143000" cy="1016000"/>
            </a:xfrm>
            <a:custGeom>
              <a:avLst/>
              <a:gdLst>
                <a:gd name="connsiteX0" fmla="*/ 0 w 1143000"/>
                <a:gd name="connsiteY0" fmla="*/ 1016000 h 1016000"/>
                <a:gd name="connsiteX1" fmla="*/ 571500 w 1143000"/>
                <a:gd name="connsiteY1" fmla="*/ 0 h 1016000"/>
                <a:gd name="connsiteX2" fmla="*/ 571500 w 1143000"/>
                <a:gd name="connsiteY2" fmla="*/ 0 h 1016000"/>
                <a:gd name="connsiteX3" fmla="*/ 1143000 w 1143000"/>
                <a:gd name="connsiteY3" fmla="*/ 1016000 h 1016000"/>
                <a:gd name="connsiteX4" fmla="*/ 0 w 1143000"/>
                <a:gd name="connsiteY4" fmla="*/ 1016000 h 10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016000">
                  <a:moveTo>
                    <a:pt x="0" y="1016000"/>
                  </a:moveTo>
                  <a:lnTo>
                    <a:pt x="571500" y="0"/>
                  </a:lnTo>
                  <a:lnTo>
                    <a:pt x="571500" y="0"/>
                  </a:lnTo>
                  <a:lnTo>
                    <a:pt x="1143000" y="1016000"/>
                  </a:lnTo>
                  <a:lnTo>
                    <a:pt x="0" y="1016000"/>
                  </a:lnTo>
                  <a:close/>
                </a:path>
              </a:pathLst>
            </a:custGeom>
            <a:solidFill>
              <a:schemeClr val="accent1">
                <a:hueOff val="0"/>
                <a:satOff val="0"/>
                <a:lumOff val="0"/>
                <a:alpha val="40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b" anchorCtr="0">
              <a:noAutofit/>
            </a:bodyPr>
            <a:lstStyle/>
            <a:p>
              <a:pPr algn="ctr" defTabSz="622300">
                <a:spcBef>
                  <a:spcPct val="0"/>
                </a:spcBef>
              </a:pPr>
              <a:r>
                <a:rPr lang="en-US" sz="1400" dirty="0" err="1">
                  <a:solidFill>
                    <a:srgbClr val="535353"/>
                  </a:solidFill>
                </a:rPr>
                <a:t>Lorem</a:t>
              </a:r>
              <a:r>
                <a:rPr lang="en-US" sz="1400" dirty="0">
                  <a:solidFill>
                    <a:srgbClr val="535353"/>
                  </a:solidFill>
                </a:rPr>
                <a:t> </a:t>
              </a:r>
              <a:r>
                <a:rPr lang="en-US" sz="1400" dirty="0" err="1">
                  <a:solidFill>
                    <a:srgbClr val="535353"/>
                  </a:solidFill>
                </a:rPr>
                <a:t>ipsum</a:t>
              </a:r>
              <a:r>
                <a:rPr lang="en-US" sz="1400" dirty="0">
                  <a:solidFill>
                    <a:srgbClr val="535353"/>
                  </a:solidFill>
                </a:rPr>
                <a:t> dolor </a:t>
              </a:r>
            </a:p>
          </p:txBody>
        </p:sp>
        <p:sp>
          <p:nvSpPr>
            <p:cNvPr id="11" name="Freeform 10"/>
            <p:cNvSpPr/>
            <p:nvPr/>
          </p:nvSpPr>
          <p:spPr>
            <a:xfrm>
              <a:off x="4953000" y="2617534"/>
              <a:ext cx="2286000" cy="1016000"/>
            </a:xfrm>
            <a:custGeom>
              <a:avLst/>
              <a:gdLst>
                <a:gd name="connsiteX0" fmla="*/ 0 w 2286000"/>
                <a:gd name="connsiteY0" fmla="*/ 1016000 h 1016000"/>
                <a:gd name="connsiteX1" fmla="*/ 571500 w 2286000"/>
                <a:gd name="connsiteY1" fmla="*/ 0 h 1016000"/>
                <a:gd name="connsiteX2" fmla="*/ 1714500 w 2286000"/>
                <a:gd name="connsiteY2" fmla="*/ 0 h 1016000"/>
                <a:gd name="connsiteX3" fmla="*/ 2286000 w 2286000"/>
                <a:gd name="connsiteY3" fmla="*/ 1016000 h 1016000"/>
                <a:gd name="connsiteX4" fmla="*/ 0 w 2286000"/>
                <a:gd name="connsiteY4" fmla="*/ 1016000 h 10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016000">
                  <a:moveTo>
                    <a:pt x="0" y="1016000"/>
                  </a:moveTo>
                  <a:lnTo>
                    <a:pt x="571500" y="0"/>
                  </a:lnTo>
                  <a:lnTo>
                    <a:pt x="1714500" y="0"/>
                  </a:lnTo>
                  <a:lnTo>
                    <a:pt x="2286000" y="1016000"/>
                  </a:lnTo>
                  <a:lnTo>
                    <a:pt x="0" y="1016000"/>
                  </a:lnTo>
                  <a:close/>
                </a:path>
              </a:pathLst>
            </a:custGeom>
            <a:solidFill>
              <a:schemeClr val="accent1">
                <a:hueOff val="0"/>
                <a:satOff val="0"/>
                <a:lumOff val="0"/>
                <a:alpha val="60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rPr>
                <a:t>Lorem ipsum dolor </a:t>
              </a:r>
            </a:p>
          </p:txBody>
        </p:sp>
        <p:sp>
          <p:nvSpPr>
            <p:cNvPr id="12" name="Freeform 11"/>
            <p:cNvSpPr/>
            <p:nvPr/>
          </p:nvSpPr>
          <p:spPr>
            <a:xfrm>
              <a:off x="4381501" y="3633534"/>
              <a:ext cx="3428999" cy="1016000"/>
            </a:xfrm>
            <a:custGeom>
              <a:avLst/>
              <a:gdLst>
                <a:gd name="connsiteX0" fmla="*/ 0 w 3428999"/>
                <a:gd name="connsiteY0" fmla="*/ 1016000 h 1016000"/>
                <a:gd name="connsiteX1" fmla="*/ 571500 w 3428999"/>
                <a:gd name="connsiteY1" fmla="*/ 0 h 1016000"/>
                <a:gd name="connsiteX2" fmla="*/ 2857499 w 3428999"/>
                <a:gd name="connsiteY2" fmla="*/ 0 h 1016000"/>
                <a:gd name="connsiteX3" fmla="*/ 3428999 w 3428999"/>
                <a:gd name="connsiteY3" fmla="*/ 1016000 h 1016000"/>
                <a:gd name="connsiteX4" fmla="*/ 0 w 3428999"/>
                <a:gd name="connsiteY4" fmla="*/ 1016000 h 10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999" h="1016000">
                  <a:moveTo>
                    <a:pt x="0" y="1016000"/>
                  </a:moveTo>
                  <a:lnTo>
                    <a:pt x="571500" y="0"/>
                  </a:lnTo>
                  <a:lnTo>
                    <a:pt x="2857499" y="0"/>
                  </a:lnTo>
                  <a:lnTo>
                    <a:pt x="3428999" y="1016000"/>
                  </a:lnTo>
                  <a:lnTo>
                    <a:pt x="0" y="1016000"/>
                  </a:lnTo>
                  <a:close/>
                </a:path>
              </a:pathLst>
            </a:custGeom>
            <a:solidFill>
              <a:schemeClr val="accent1">
                <a:hueOff val="0"/>
                <a:satOff val="0"/>
                <a:lumOff val="0"/>
                <a:alpha val="80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rPr>
                <a:t>Lorem ipsum dolor </a:t>
              </a:r>
            </a:p>
          </p:txBody>
        </p:sp>
        <p:sp>
          <p:nvSpPr>
            <p:cNvPr id="13" name="Freeform 12"/>
            <p:cNvSpPr/>
            <p:nvPr/>
          </p:nvSpPr>
          <p:spPr>
            <a:xfrm>
              <a:off x="3810000" y="4649534"/>
              <a:ext cx="4572000" cy="1016000"/>
            </a:xfrm>
            <a:custGeom>
              <a:avLst/>
              <a:gdLst>
                <a:gd name="connsiteX0" fmla="*/ 0 w 4572000"/>
                <a:gd name="connsiteY0" fmla="*/ 1016000 h 1016000"/>
                <a:gd name="connsiteX1" fmla="*/ 571500 w 4572000"/>
                <a:gd name="connsiteY1" fmla="*/ 0 h 1016000"/>
                <a:gd name="connsiteX2" fmla="*/ 4000500 w 4572000"/>
                <a:gd name="connsiteY2" fmla="*/ 0 h 1016000"/>
                <a:gd name="connsiteX3" fmla="*/ 4572000 w 4572000"/>
                <a:gd name="connsiteY3" fmla="*/ 1016000 h 1016000"/>
                <a:gd name="connsiteX4" fmla="*/ 0 w 4572000"/>
                <a:gd name="connsiteY4" fmla="*/ 1016000 h 10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0" h="1016000">
                  <a:moveTo>
                    <a:pt x="0" y="1016000"/>
                  </a:moveTo>
                  <a:lnTo>
                    <a:pt x="571500" y="0"/>
                  </a:lnTo>
                  <a:lnTo>
                    <a:pt x="4000500" y="0"/>
                  </a:lnTo>
                  <a:lnTo>
                    <a:pt x="4572000" y="1016000"/>
                  </a:lnTo>
                  <a:lnTo>
                    <a:pt x="0" y="1016000"/>
                  </a:lnTo>
                  <a:close/>
                </a:path>
              </a:pathLst>
            </a:custGeom>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rPr>
                <a:t>Lorem ipsum dolor </a:t>
              </a:r>
            </a:p>
          </p:txBody>
        </p:sp>
      </p:grpSp>
    </p:spTree>
    <p:extLst>
      <p:ext uri="{BB962C8B-B14F-4D97-AF65-F5344CB8AC3E}">
        <p14:creationId xmlns:p14="http://schemas.microsoft.com/office/powerpoint/2010/main" val="94361781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31</a:t>
            </a:fld>
            <a:endParaRPr lang="en-GB" dirty="0"/>
          </a:p>
        </p:txBody>
      </p:sp>
      <p:grpSp>
        <p:nvGrpSpPr>
          <p:cNvPr id="4" name="Group 3"/>
          <p:cNvGrpSpPr/>
          <p:nvPr/>
        </p:nvGrpSpPr>
        <p:grpSpPr>
          <a:xfrm>
            <a:off x="3337786" y="1456037"/>
            <a:ext cx="5516427" cy="4903488"/>
            <a:chOff x="3810000" y="1601537"/>
            <a:chExt cx="4572000" cy="4063998"/>
          </a:xfrm>
        </p:grpSpPr>
        <p:sp>
          <p:nvSpPr>
            <p:cNvPr id="15" name="Freeform 14"/>
            <p:cNvSpPr/>
            <p:nvPr/>
          </p:nvSpPr>
          <p:spPr>
            <a:xfrm>
              <a:off x="5638800" y="1601537"/>
              <a:ext cx="914400" cy="812799"/>
            </a:xfrm>
            <a:custGeom>
              <a:avLst/>
              <a:gdLst>
                <a:gd name="connsiteX0" fmla="*/ 0 w 914400"/>
                <a:gd name="connsiteY0" fmla="*/ 812799 h 812799"/>
                <a:gd name="connsiteX1" fmla="*/ 457199 w 914400"/>
                <a:gd name="connsiteY1" fmla="*/ 0 h 812799"/>
                <a:gd name="connsiteX2" fmla="*/ 457201 w 914400"/>
                <a:gd name="connsiteY2" fmla="*/ 0 h 812799"/>
                <a:gd name="connsiteX3" fmla="*/ 914400 w 914400"/>
                <a:gd name="connsiteY3" fmla="*/ 812799 h 812799"/>
                <a:gd name="connsiteX4" fmla="*/ 0 w 914400"/>
                <a:gd name="connsiteY4" fmla="*/ 812799 h 81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812799">
                  <a:moveTo>
                    <a:pt x="0" y="812799"/>
                  </a:moveTo>
                  <a:lnTo>
                    <a:pt x="457199" y="0"/>
                  </a:lnTo>
                  <a:lnTo>
                    <a:pt x="457201" y="0"/>
                  </a:lnTo>
                  <a:lnTo>
                    <a:pt x="914400" y="812799"/>
                  </a:lnTo>
                  <a:lnTo>
                    <a:pt x="0" y="812799"/>
                  </a:lnTo>
                  <a:close/>
                </a:path>
              </a:pathLst>
            </a:custGeom>
            <a:solidFill>
              <a:schemeClr val="accent1">
                <a:hueOff val="0"/>
                <a:satOff val="0"/>
                <a:lumOff val="0"/>
                <a:alpha val="40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b" anchorCtr="0">
              <a:noAutofit/>
            </a:bodyPr>
            <a:lstStyle/>
            <a:p>
              <a:pPr algn="ctr" defTabSz="622300">
                <a:spcBef>
                  <a:spcPct val="0"/>
                </a:spcBef>
              </a:pPr>
              <a:r>
                <a:rPr lang="en-US" sz="1400" dirty="0" err="1">
                  <a:solidFill>
                    <a:srgbClr val="535353"/>
                  </a:solidFill>
                </a:rPr>
                <a:t>Lorem</a:t>
              </a:r>
              <a:r>
                <a:rPr lang="en-US" sz="1400" dirty="0">
                  <a:solidFill>
                    <a:srgbClr val="535353"/>
                  </a:solidFill>
                </a:rPr>
                <a:t> </a:t>
              </a:r>
              <a:r>
                <a:rPr lang="en-US" sz="1400" dirty="0" err="1">
                  <a:solidFill>
                    <a:srgbClr val="535353"/>
                  </a:solidFill>
                </a:rPr>
                <a:t>ipsum</a:t>
              </a:r>
              <a:r>
                <a:rPr lang="en-US" sz="1400" dirty="0">
                  <a:solidFill>
                    <a:srgbClr val="535353"/>
                  </a:solidFill>
                </a:rPr>
                <a:t> dolor </a:t>
              </a:r>
            </a:p>
          </p:txBody>
        </p:sp>
        <p:sp>
          <p:nvSpPr>
            <p:cNvPr id="16" name="Freeform 15"/>
            <p:cNvSpPr/>
            <p:nvPr/>
          </p:nvSpPr>
          <p:spPr>
            <a:xfrm>
              <a:off x="5181600" y="2414336"/>
              <a:ext cx="1828800" cy="812799"/>
            </a:xfrm>
            <a:custGeom>
              <a:avLst/>
              <a:gdLst>
                <a:gd name="connsiteX0" fmla="*/ 0 w 1828800"/>
                <a:gd name="connsiteY0" fmla="*/ 812799 h 812799"/>
                <a:gd name="connsiteX1" fmla="*/ 457199 w 1828800"/>
                <a:gd name="connsiteY1" fmla="*/ 0 h 812799"/>
                <a:gd name="connsiteX2" fmla="*/ 1371601 w 1828800"/>
                <a:gd name="connsiteY2" fmla="*/ 0 h 812799"/>
                <a:gd name="connsiteX3" fmla="*/ 1828800 w 1828800"/>
                <a:gd name="connsiteY3" fmla="*/ 812799 h 812799"/>
                <a:gd name="connsiteX4" fmla="*/ 0 w 1828800"/>
                <a:gd name="connsiteY4" fmla="*/ 812799 h 81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00" h="812799">
                  <a:moveTo>
                    <a:pt x="0" y="812799"/>
                  </a:moveTo>
                  <a:lnTo>
                    <a:pt x="457199" y="0"/>
                  </a:lnTo>
                  <a:lnTo>
                    <a:pt x="1371601" y="0"/>
                  </a:lnTo>
                  <a:lnTo>
                    <a:pt x="1828800" y="812799"/>
                  </a:lnTo>
                  <a:lnTo>
                    <a:pt x="0" y="812799"/>
                  </a:lnTo>
                  <a:close/>
                </a:path>
              </a:pathLst>
            </a:custGeom>
            <a:solidFill>
              <a:schemeClr val="accent1">
                <a:hueOff val="0"/>
                <a:satOff val="0"/>
                <a:lumOff val="0"/>
                <a:alpha val="55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rPr>
                <a:t>Lorem ipsum dolor </a:t>
              </a:r>
            </a:p>
          </p:txBody>
        </p:sp>
        <p:sp>
          <p:nvSpPr>
            <p:cNvPr id="17" name="Freeform 16"/>
            <p:cNvSpPr/>
            <p:nvPr/>
          </p:nvSpPr>
          <p:spPr>
            <a:xfrm>
              <a:off x="4724401" y="3227136"/>
              <a:ext cx="2743199" cy="812799"/>
            </a:xfrm>
            <a:custGeom>
              <a:avLst/>
              <a:gdLst>
                <a:gd name="connsiteX0" fmla="*/ 0 w 2743199"/>
                <a:gd name="connsiteY0" fmla="*/ 812799 h 812799"/>
                <a:gd name="connsiteX1" fmla="*/ 457199 w 2743199"/>
                <a:gd name="connsiteY1" fmla="*/ 0 h 812799"/>
                <a:gd name="connsiteX2" fmla="*/ 2286000 w 2743199"/>
                <a:gd name="connsiteY2" fmla="*/ 0 h 812799"/>
                <a:gd name="connsiteX3" fmla="*/ 2743199 w 2743199"/>
                <a:gd name="connsiteY3" fmla="*/ 812799 h 812799"/>
                <a:gd name="connsiteX4" fmla="*/ 0 w 2743199"/>
                <a:gd name="connsiteY4" fmla="*/ 812799 h 81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199" h="812799">
                  <a:moveTo>
                    <a:pt x="0" y="812799"/>
                  </a:moveTo>
                  <a:lnTo>
                    <a:pt x="457199" y="0"/>
                  </a:lnTo>
                  <a:lnTo>
                    <a:pt x="2286000" y="0"/>
                  </a:lnTo>
                  <a:lnTo>
                    <a:pt x="2743199" y="812799"/>
                  </a:lnTo>
                  <a:lnTo>
                    <a:pt x="0" y="812799"/>
                  </a:lnTo>
                  <a:close/>
                </a:path>
              </a:pathLst>
            </a:custGeom>
            <a:solidFill>
              <a:schemeClr val="accent1">
                <a:hueOff val="0"/>
                <a:satOff val="0"/>
                <a:lumOff val="0"/>
                <a:alpha val="70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rPr>
                <a:t>Lorem ipsum dolor </a:t>
              </a:r>
            </a:p>
          </p:txBody>
        </p:sp>
        <p:sp>
          <p:nvSpPr>
            <p:cNvPr id="18" name="Freeform 17"/>
            <p:cNvSpPr/>
            <p:nvPr/>
          </p:nvSpPr>
          <p:spPr>
            <a:xfrm>
              <a:off x="4267200" y="4039936"/>
              <a:ext cx="3657600" cy="812799"/>
            </a:xfrm>
            <a:custGeom>
              <a:avLst/>
              <a:gdLst>
                <a:gd name="connsiteX0" fmla="*/ 0 w 3657600"/>
                <a:gd name="connsiteY0" fmla="*/ 812799 h 812799"/>
                <a:gd name="connsiteX1" fmla="*/ 457199 w 3657600"/>
                <a:gd name="connsiteY1" fmla="*/ 0 h 812799"/>
                <a:gd name="connsiteX2" fmla="*/ 3200401 w 3657600"/>
                <a:gd name="connsiteY2" fmla="*/ 0 h 812799"/>
                <a:gd name="connsiteX3" fmla="*/ 3657600 w 3657600"/>
                <a:gd name="connsiteY3" fmla="*/ 812799 h 812799"/>
                <a:gd name="connsiteX4" fmla="*/ 0 w 3657600"/>
                <a:gd name="connsiteY4" fmla="*/ 812799 h 81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0" h="812799">
                  <a:moveTo>
                    <a:pt x="0" y="812799"/>
                  </a:moveTo>
                  <a:lnTo>
                    <a:pt x="457199" y="0"/>
                  </a:lnTo>
                  <a:lnTo>
                    <a:pt x="3200401" y="0"/>
                  </a:lnTo>
                  <a:lnTo>
                    <a:pt x="3657600" y="812799"/>
                  </a:lnTo>
                  <a:lnTo>
                    <a:pt x="0" y="812799"/>
                  </a:lnTo>
                  <a:close/>
                </a:path>
              </a:pathLst>
            </a:custGeom>
            <a:solidFill>
              <a:schemeClr val="accent1">
                <a:hueOff val="0"/>
                <a:satOff val="0"/>
                <a:lumOff val="0"/>
                <a:alpha val="85000"/>
              </a:schemeClr>
            </a:solidFill>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rPr>
                <a:t>Lorem ipsum dolor </a:t>
              </a:r>
            </a:p>
          </p:txBody>
        </p:sp>
        <p:sp>
          <p:nvSpPr>
            <p:cNvPr id="19" name="Freeform 18"/>
            <p:cNvSpPr/>
            <p:nvPr/>
          </p:nvSpPr>
          <p:spPr>
            <a:xfrm>
              <a:off x="3810000" y="4852736"/>
              <a:ext cx="4572000" cy="812799"/>
            </a:xfrm>
            <a:custGeom>
              <a:avLst/>
              <a:gdLst>
                <a:gd name="connsiteX0" fmla="*/ 0 w 4572000"/>
                <a:gd name="connsiteY0" fmla="*/ 812799 h 812799"/>
                <a:gd name="connsiteX1" fmla="*/ 457199 w 4572000"/>
                <a:gd name="connsiteY1" fmla="*/ 0 h 812799"/>
                <a:gd name="connsiteX2" fmla="*/ 4114801 w 4572000"/>
                <a:gd name="connsiteY2" fmla="*/ 0 h 812799"/>
                <a:gd name="connsiteX3" fmla="*/ 4572000 w 4572000"/>
                <a:gd name="connsiteY3" fmla="*/ 812799 h 812799"/>
                <a:gd name="connsiteX4" fmla="*/ 0 w 4572000"/>
                <a:gd name="connsiteY4" fmla="*/ 812799 h 81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0" h="812799">
                  <a:moveTo>
                    <a:pt x="0" y="812799"/>
                  </a:moveTo>
                  <a:lnTo>
                    <a:pt x="457199" y="0"/>
                  </a:lnTo>
                  <a:lnTo>
                    <a:pt x="4114801" y="0"/>
                  </a:lnTo>
                  <a:lnTo>
                    <a:pt x="4572000" y="812799"/>
                  </a:lnTo>
                  <a:lnTo>
                    <a:pt x="0" y="812799"/>
                  </a:lnTo>
                  <a:close/>
                </a:path>
              </a:pathLst>
            </a:custGeom>
            <a:ln w="38100"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7780" rIns="0" bIns="17780" numCol="1" spcCol="1270" anchor="ctr" anchorCtr="0">
              <a:noAutofit/>
            </a:bodyPr>
            <a:lstStyle/>
            <a:p>
              <a:pPr algn="ctr" defTabSz="622300">
                <a:spcBef>
                  <a:spcPct val="0"/>
                </a:spcBef>
              </a:pPr>
              <a:r>
                <a:rPr lang="en-US" sz="1400">
                  <a:solidFill>
                    <a:srgbClr val="535353"/>
                  </a:solidFill>
                </a:rPr>
                <a:t>Lorem ipsum dolor </a:t>
              </a:r>
            </a:p>
          </p:txBody>
        </p:sp>
      </p:grpSp>
    </p:spTree>
    <p:extLst>
      <p:ext uri="{BB962C8B-B14F-4D97-AF65-F5344CB8AC3E}">
        <p14:creationId xmlns:p14="http://schemas.microsoft.com/office/powerpoint/2010/main" val="200178336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32</a:t>
            </a:fld>
            <a:endParaRPr lang="en-GB" dirty="0"/>
          </a:p>
        </p:txBody>
      </p:sp>
      <p:grpSp>
        <p:nvGrpSpPr>
          <p:cNvPr id="4" name="Group 3"/>
          <p:cNvGrpSpPr/>
          <p:nvPr/>
        </p:nvGrpSpPr>
        <p:grpSpPr>
          <a:xfrm>
            <a:off x="3465640" y="1500203"/>
            <a:ext cx="5260719" cy="4859322"/>
            <a:chOff x="4008995" y="1584953"/>
            <a:chExt cx="4252569" cy="3928095"/>
          </a:xfrm>
        </p:grpSpPr>
        <p:sp>
          <p:nvSpPr>
            <p:cNvPr id="9" name="Freeform 8"/>
            <p:cNvSpPr/>
            <p:nvPr/>
          </p:nvSpPr>
          <p:spPr>
            <a:xfrm>
              <a:off x="4008995" y="3117773"/>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a:ln w="3175"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Freeform 6"/>
            <p:cNvSpPr/>
            <p:nvPr/>
          </p:nvSpPr>
          <p:spPr>
            <a:xfrm>
              <a:off x="4937642" y="1584953"/>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a:ln w="3175"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5" name="Freeform 4"/>
            <p:cNvSpPr/>
            <p:nvPr/>
          </p:nvSpPr>
          <p:spPr>
            <a:xfrm>
              <a:off x="5866289" y="3117773"/>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a:ln w="3175" cmpd="sng"/>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grpSp>
    </p:spTree>
    <p:extLst>
      <p:ext uri="{BB962C8B-B14F-4D97-AF65-F5344CB8AC3E}">
        <p14:creationId xmlns:p14="http://schemas.microsoft.com/office/powerpoint/2010/main" val="169430742"/>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33</a:t>
            </a:fld>
            <a:endParaRPr lang="en-GB" dirty="0"/>
          </a:p>
        </p:txBody>
      </p:sp>
      <p:grpSp>
        <p:nvGrpSpPr>
          <p:cNvPr id="4" name="Group 3"/>
          <p:cNvGrpSpPr/>
          <p:nvPr/>
        </p:nvGrpSpPr>
        <p:grpSpPr>
          <a:xfrm>
            <a:off x="1447814" y="2111757"/>
            <a:ext cx="9534498" cy="3476243"/>
            <a:chOff x="2769115" y="2143335"/>
            <a:chExt cx="6569663" cy="2395275"/>
          </a:xfrm>
        </p:grpSpPr>
        <p:sp>
          <p:nvSpPr>
            <p:cNvPr id="9" name="Freeform 8"/>
            <p:cNvSpPr/>
            <p:nvPr/>
          </p:nvSpPr>
          <p:spPr>
            <a:xfrm>
              <a:off x="2769115" y="2143335"/>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5" name="Freeform 4"/>
            <p:cNvSpPr/>
            <p:nvPr/>
          </p:nvSpPr>
          <p:spPr>
            <a:xfrm>
              <a:off x="4856309" y="2143335"/>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Freeform 6"/>
            <p:cNvSpPr/>
            <p:nvPr/>
          </p:nvSpPr>
          <p:spPr>
            <a:xfrm>
              <a:off x="6943503" y="2143335"/>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grpSp>
    </p:spTree>
    <p:extLst>
      <p:ext uri="{BB962C8B-B14F-4D97-AF65-F5344CB8AC3E}">
        <p14:creationId xmlns:p14="http://schemas.microsoft.com/office/powerpoint/2010/main" val="3238174946"/>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34</a:t>
            </a:fld>
            <a:endParaRPr lang="en-GB" dirty="0"/>
          </a:p>
        </p:txBody>
      </p:sp>
      <p:grpSp>
        <p:nvGrpSpPr>
          <p:cNvPr id="4" name="Group 3"/>
          <p:cNvGrpSpPr/>
          <p:nvPr/>
        </p:nvGrpSpPr>
        <p:grpSpPr>
          <a:xfrm>
            <a:off x="508000" y="2068803"/>
            <a:ext cx="11171741" cy="3277219"/>
            <a:chOff x="2032001" y="2256223"/>
            <a:chExt cx="8165274" cy="2395275"/>
          </a:xfrm>
        </p:grpSpPr>
        <p:sp>
          <p:nvSpPr>
            <p:cNvPr id="8" name="Freeform 7"/>
            <p:cNvSpPr/>
            <p:nvPr/>
          </p:nvSpPr>
          <p:spPr>
            <a:xfrm>
              <a:off x="2032001" y="2256223"/>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9" name="Freeform 8"/>
            <p:cNvSpPr/>
            <p:nvPr/>
          </p:nvSpPr>
          <p:spPr>
            <a:xfrm>
              <a:off x="3955334" y="2256223"/>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5" name="Freeform 4"/>
            <p:cNvSpPr/>
            <p:nvPr/>
          </p:nvSpPr>
          <p:spPr>
            <a:xfrm>
              <a:off x="5878667" y="2256223"/>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Freeform 6"/>
            <p:cNvSpPr/>
            <p:nvPr/>
          </p:nvSpPr>
          <p:spPr>
            <a:xfrm>
              <a:off x="7802000" y="2256223"/>
              <a:ext cx="2395275" cy="2395275"/>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grpSp>
    </p:spTree>
    <p:extLst>
      <p:ext uri="{BB962C8B-B14F-4D97-AF65-F5344CB8AC3E}">
        <p14:creationId xmlns:p14="http://schemas.microsoft.com/office/powerpoint/2010/main" val="3139153683"/>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35</a:t>
            </a:fld>
            <a:endParaRPr lang="en-GB" dirty="0"/>
          </a:p>
        </p:txBody>
      </p:sp>
      <p:grpSp>
        <p:nvGrpSpPr>
          <p:cNvPr id="4" name="Group 3"/>
          <p:cNvGrpSpPr/>
          <p:nvPr/>
        </p:nvGrpSpPr>
        <p:grpSpPr>
          <a:xfrm>
            <a:off x="1494123" y="1528763"/>
            <a:ext cx="9203754" cy="4830762"/>
            <a:chOff x="2032000" y="1450680"/>
            <a:chExt cx="8283440" cy="4347718"/>
          </a:xfrm>
        </p:grpSpPr>
        <p:sp>
          <p:nvSpPr>
            <p:cNvPr id="9" name="Freeform 8"/>
            <p:cNvSpPr/>
            <p:nvPr/>
          </p:nvSpPr>
          <p:spPr>
            <a:xfrm>
              <a:off x="2032000" y="1450680"/>
              <a:ext cx="2054526" cy="2054526"/>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5" name="Freeform 4"/>
            <p:cNvSpPr/>
            <p:nvPr/>
          </p:nvSpPr>
          <p:spPr>
            <a:xfrm>
              <a:off x="5146456" y="1450680"/>
              <a:ext cx="2054526" cy="2054526"/>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Freeform 6"/>
            <p:cNvSpPr/>
            <p:nvPr/>
          </p:nvSpPr>
          <p:spPr>
            <a:xfrm>
              <a:off x="8260914" y="1450680"/>
              <a:ext cx="2054526" cy="2054526"/>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cxnSp>
          <p:nvCxnSpPr>
            <p:cNvPr id="6" name="Straight Arrow Connector 5"/>
            <p:cNvCxnSpPr/>
            <p:nvPr/>
          </p:nvCxnSpPr>
          <p:spPr>
            <a:xfrm>
              <a:off x="4295919" y="2477943"/>
              <a:ext cx="641144" cy="0"/>
            </a:xfrm>
            <a:prstGeom prst="straightConnector1">
              <a:avLst/>
            </a:prstGeom>
            <a:ln>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7410376" y="2477943"/>
              <a:ext cx="641144" cy="0"/>
            </a:xfrm>
            <a:prstGeom prst="straightConnector1">
              <a:avLst/>
            </a:prstGeom>
            <a:ln>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 name="Freeform 15"/>
            <p:cNvSpPr/>
            <p:nvPr/>
          </p:nvSpPr>
          <p:spPr>
            <a:xfrm>
              <a:off x="2032000" y="3743872"/>
              <a:ext cx="2054526" cy="2054526"/>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17" name="Freeform 16"/>
            <p:cNvSpPr/>
            <p:nvPr/>
          </p:nvSpPr>
          <p:spPr>
            <a:xfrm>
              <a:off x="5146458" y="3743872"/>
              <a:ext cx="2054526" cy="2054526"/>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18" name="Freeform 17"/>
            <p:cNvSpPr/>
            <p:nvPr/>
          </p:nvSpPr>
          <p:spPr>
            <a:xfrm>
              <a:off x="8260914" y="3743872"/>
              <a:ext cx="2054526" cy="2054526"/>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21" name="Freeform 8"/>
            <p:cNvSpPr>
              <a:spLocks/>
            </p:cNvSpPr>
            <p:nvPr/>
          </p:nvSpPr>
          <p:spPr bwMode="auto">
            <a:xfrm>
              <a:off x="4469648" y="4582507"/>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p:cNvSpPr>
            <p:nvPr/>
          </p:nvSpPr>
          <p:spPr bwMode="auto">
            <a:xfrm>
              <a:off x="7584106" y="4582507"/>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4211394"/>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36</a:t>
            </a:fld>
            <a:endParaRPr lang="en-GB" dirty="0"/>
          </a:p>
        </p:txBody>
      </p:sp>
      <p:grpSp>
        <p:nvGrpSpPr>
          <p:cNvPr id="4" name="Group 3"/>
          <p:cNvGrpSpPr/>
          <p:nvPr/>
        </p:nvGrpSpPr>
        <p:grpSpPr>
          <a:xfrm>
            <a:off x="1110795" y="1528763"/>
            <a:ext cx="9970409" cy="4830762"/>
            <a:chOff x="2032000" y="1450680"/>
            <a:chExt cx="8167688" cy="3957326"/>
          </a:xfrm>
        </p:grpSpPr>
        <p:sp>
          <p:nvSpPr>
            <p:cNvPr id="9" name="Freeform 8"/>
            <p:cNvSpPr/>
            <p:nvPr/>
          </p:nvSpPr>
          <p:spPr>
            <a:xfrm>
              <a:off x="2032000" y="1450680"/>
              <a:ext cx="1651000" cy="1651000"/>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5" name="Freeform 4"/>
            <p:cNvSpPr/>
            <p:nvPr/>
          </p:nvSpPr>
          <p:spPr>
            <a:xfrm>
              <a:off x="4204230" y="1450680"/>
              <a:ext cx="1651000" cy="1651000"/>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Freeform 6"/>
            <p:cNvSpPr/>
            <p:nvPr/>
          </p:nvSpPr>
          <p:spPr>
            <a:xfrm>
              <a:off x="6376460" y="1450680"/>
              <a:ext cx="1651000" cy="1651000"/>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cxnSp>
          <p:nvCxnSpPr>
            <p:cNvPr id="6" name="Straight Arrow Connector 5"/>
            <p:cNvCxnSpPr/>
            <p:nvPr/>
          </p:nvCxnSpPr>
          <p:spPr>
            <a:xfrm>
              <a:off x="3771072" y="2293008"/>
              <a:ext cx="345086" cy="0"/>
            </a:xfrm>
            <a:prstGeom prst="straightConnector1">
              <a:avLst/>
            </a:prstGeom>
            <a:ln>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1" name="Freeform 8"/>
            <p:cNvSpPr>
              <a:spLocks/>
            </p:cNvSpPr>
            <p:nvPr/>
          </p:nvSpPr>
          <p:spPr bwMode="auto">
            <a:xfrm>
              <a:off x="3796771" y="4370575"/>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p:cNvSpPr>
            <p:nvPr/>
          </p:nvSpPr>
          <p:spPr bwMode="auto">
            <a:xfrm>
              <a:off x="5969001" y="4370575"/>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3"/>
            <p:cNvSpPr/>
            <p:nvPr/>
          </p:nvSpPr>
          <p:spPr>
            <a:xfrm>
              <a:off x="8548688" y="1450680"/>
              <a:ext cx="1651000" cy="1651000"/>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cxnSp>
          <p:nvCxnSpPr>
            <p:cNvPr id="19" name="Straight Arrow Connector 18"/>
            <p:cNvCxnSpPr/>
            <p:nvPr/>
          </p:nvCxnSpPr>
          <p:spPr>
            <a:xfrm>
              <a:off x="5943302" y="2293008"/>
              <a:ext cx="345086" cy="0"/>
            </a:xfrm>
            <a:prstGeom prst="straightConnector1">
              <a:avLst/>
            </a:prstGeom>
            <a:ln>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8115532" y="2293008"/>
              <a:ext cx="345086" cy="0"/>
            </a:xfrm>
            <a:prstGeom prst="straightConnector1">
              <a:avLst/>
            </a:prstGeom>
            <a:ln>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2032000" y="3757006"/>
              <a:ext cx="1651000" cy="1651000"/>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24" name="Freeform 23"/>
            <p:cNvSpPr/>
            <p:nvPr/>
          </p:nvSpPr>
          <p:spPr>
            <a:xfrm>
              <a:off x="4204230" y="3757006"/>
              <a:ext cx="1651000" cy="1651000"/>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25" name="Freeform 24"/>
            <p:cNvSpPr/>
            <p:nvPr/>
          </p:nvSpPr>
          <p:spPr>
            <a:xfrm>
              <a:off x="6376460" y="3757006"/>
              <a:ext cx="1651000" cy="1651000"/>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26" name="Freeform 25"/>
            <p:cNvSpPr/>
            <p:nvPr/>
          </p:nvSpPr>
          <p:spPr>
            <a:xfrm>
              <a:off x="8548688" y="3757006"/>
              <a:ext cx="1651000" cy="1651000"/>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hueOff val="0"/>
                <a:satOff val="0"/>
                <a:lumOff val="0"/>
                <a:alpha val="7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27" name="Freeform 8"/>
            <p:cNvSpPr>
              <a:spLocks/>
            </p:cNvSpPr>
            <p:nvPr/>
          </p:nvSpPr>
          <p:spPr bwMode="auto">
            <a:xfrm>
              <a:off x="8141231" y="4370575"/>
              <a:ext cx="293688" cy="423863"/>
            </a:xfrm>
            <a:custGeom>
              <a:avLst/>
              <a:gdLst/>
              <a:ahLst/>
              <a:cxnLst>
                <a:cxn ang="0">
                  <a:pos x="0" y="0"/>
                </a:cxn>
                <a:cxn ang="0">
                  <a:pos x="90" y="0"/>
                </a:cxn>
                <a:cxn ang="0">
                  <a:pos x="185" y="133"/>
                </a:cxn>
                <a:cxn ang="0">
                  <a:pos x="90" y="267"/>
                </a:cxn>
                <a:cxn ang="0">
                  <a:pos x="0" y="267"/>
                </a:cxn>
                <a:cxn ang="0">
                  <a:pos x="94" y="134"/>
                </a:cxn>
                <a:cxn ang="0">
                  <a:pos x="0" y="0"/>
                </a:cxn>
              </a:cxnLst>
              <a:rect l="0" t="0" r="r" b="b"/>
              <a:pathLst>
                <a:path w="185" h="267">
                  <a:moveTo>
                    <a:pt x="0" y="0"/>
                  </a:moveTo>
                  <a:lnTo>
                    <a:pt x="90" y="0"/>
                  </a:lnTo>
                  <a:lnTo>
                    <a:pt x="185" y="133"/>
                  </a:lnTo>
                  <a:lnTo>
                    <a:pt x="90" y="267"/>
                  </a:lnTo>
                  <a:lnTo>
                    <a:pt x="0" y="267"/>
                  </a:lnTo>
                  <a:lnTo>
                    <a:pt x="94" y="134"/>
                  </a:lnTo>
                  <a:lnTo>
                    <a:pt x="0" y="0"/>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1548733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a:t>
            </a:r>
          </a:p>
        </p:txBody>
      </p:sp>
      <p:sp>
        <p:nvSpPr>
          <p:cNvPr id="3" name="Slide Number Placeholder 2"/>
          <p:cNvSpPr>
            <a:spLocks noGrp="1"/>
          </p:cNvSpPr>
          <p:nvPr>
            <p:ph type="sldNum" sz="quarter" idx="4"/>
          </p:nvPr>
        </p:nvSpPr>
        <p:spPr/>
        <p:txBody>
          <a:bodyPr/>
          <a:lstStyle/>
          <a:p>
            <a:fld id="{D32BAE6A-B452-4007-8177-56DD051636F9}" type="slidenum">
              <a:rPr lang="en-GB" smtClean="0"/>
              <a:pPr/>
              <a:t>37</a:t>
            </a:fld>
            <a:endParaRPr lang="en-GB" dirty="0"/>
          </a:p>
        </p:txBody>
      </p:sp>
      <p:grpSp>
        <p:nvGrpSpPr>
          <p:cNvPr id="5" name="Group 4"/>
          <p:cNvGrpSpPr/>
          <p:nvPr/>
        </p:nvGrpSpPr>
        <p:grpSpPr>
          <a:xfrm>
            <a:off x="508000" y="1528763"/>
            <a:ext cx="11171741" cy="4830762"/>
            <a:chOff x="2408898" y="1640642"/>
            <a:chExt cx="7112179" cy="3518155"/>
          </a:xfrm>
        </p:grpSpPr>
        <p:sp>
          <p:nvSpPr>
            <p:cNvPr id="25" name="TextBox 24"/>
            <p:cNvSpPr txBox="1"/>
            <p:nvPr/>
          </p:nvSpPr>
          <p:spPr>
            <a:xfrm>
              <a:off x="2408898" y="1640642"/>
              <a:ext cx="3510716" cy="1063538"/>
            </a:xfrm>
            <a:prstGeom prst="rect">
              <a:avLst/>
            </a:prstGeom>
            <a:solidFill>
              <a:srgbClr val="DEDEDE"/>
            </a:solidFill>
            <a:ln w="12700" cmpd="sng">
              <a:noFill/>
            </a:ln>
          </p:spPr>
          <p:txBody>
            <a:bodyPr wrap="square" lIns="203200" tIns="101600" rIns="0" bIns="12700" rtlCol="0" anchor="t">
              <a:noAutofit/>
            </a:bodyPr>
            <a:lstStyle/>
            <a:p>
              <a:pPr>
                <a:lnSpc>
                  <a:spcPct val="120000"/>
                </a:lnSpc>
              </a:pPr>
              <a:r>
                <a:rPr lang="en-US" sz="1400" dirty="0">
                  <a:latin typeface="+mj-lt"/>
                </a:rPr>
                <a:t>Title 01</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sp>
          <p:nvSpPr>
            <p:cNvPr id="28" name="TextBox 27"/>
            <p:cNvSpPr txBox="1"/>
            <p:nvPr/>
          </p:nvSpPr>
          <p:spPr>
            <a:xfrm>
              <a:off x="2408898" y="2867951"/>
              <a:ext cx="3510716" cy="1063538"/>
            </a:xfrm>
            <a:prstGeom prst="rect">
              <a:avLst/>
            </a:prstGeom>
            <a:solidFill>
              <a:srgbClr val="DEDEDE"/>
            </a:solidFill>
            <a:ln w="12700" cmpd="sng">
              <a:noFill/>
            </a:ln>
          </p:spPr>
          <p:txBody>
            <a:bodyPr wrap="square" lIns="203200" tIns="101600" rIns="0" bIns="12700" rtlCol="0" anchor="t">
              <a:noAutofit/>
            </a:bodyPr>
            <a:lstStyle/>
            <a:p>
              <a:pPr>
                <a:lnSpc>
                  <a:spcPct val="120000"/>
                </a:lnSpc>
              </a:pPr>
              <a:r>
                <a:rPr lang="en-US" sz="1400" dirty="0">
                  <a:latin typeface="+mj-lt"/>
                </a:rPr>
                <a:t>Title 02</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sp>
          <p:nvSpPr>
            <p:cNvPr id="31" name="TextBox 30"/>
            <p:cNvSpPr txBox="1"/>
            <p:nvPr/>
          </p:nvSpPr>
          <p:spPr>
            <a:xfrm>
              <a:off x="2408898" y="4095259"/>
              <a:ext cx="3510716" cy="1063538"/>
            </a:xfrm>
            <a:prstGeom prst="rect">
              <a:avLst/>
            </a:prstGeom>
            <a:solidFill>
              <a:srgbClr val="DEDEDE"/>
            </a:solidFill>
            <a:ln w="12700" cmpd="sng">
              <a:noFill/>
            </a:ln>
          </p:spPr>
          <p:txBody>
            <a:bodyPr wrap="square" lIns="203200" tIns="101600" rIns="0" bIns="12700" rtlCol="0" anchor="t">
              <a:noAutofit/>
            </a:bodyPr>
            <a:lstStyle/>
            <a:p>
              <a:pPr>
                <a:lnSpc>
                  <a:spcPct val="120000"/>
                </a:lnSpc>
              </a:pPr>
              <a:r>
                <a:rPr lang="en-US" sz="1400" dirty="0">
                  <a:latin typeface="+mj-lt"/>
                </a:rPr>
                <a:t>Title 03</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sp>
          <p:nvSpPr>
            <p:cNvPr id="34" name="TextBox 33"/>
            <p:cNvSpPr txBox="1"/>
            <p:nvPr/>
          </p:nvSpPr>
          <p:spPr>
            <a:xfrm>
              <a:off x="6296511" y="2863212"/>
              <a:ext cx="3224566" cy="1063538"/>
            </a:xfrm>
            <a:prstGeom prst="rect">
              <a:avLst/>
            </a:prstGeom>
            <a:solidFill>
              <a:schemeClr val="accent1"/>
            </a:solidFill>
            <a:ln w="12700" cmpd="sng">
              <a:noFill/>
            </a:ln>
          </p:spPr>
          <p:txBody>
            <a:bodyPr wrap="square" lIns="203200" tIns="101600" rIns="0" bIns="12700" rtlCol="0" anchor="t">
              <a:noAutofit/>
            </a:bodyPr>
            <a:lstStyle/>
            <a:p>
              <a:pPr>
                <a:lnSpc>
                  <a:spcPct val="120000"/>
                </a:lnSpc>
              </a:pPr>
              <a:r>
                <a:rPr lang="en-US" sz="1400" dirty="0">
                  <a:latin typeface="+mj-lt"/>
                </a:rPr>
                <a:t>Title 02</a:t>
              </a:r>
            </a:p>
            <a:p>
              <a:pPr marL="177800" indent="-177800">
                <a:lnSpc>
                  <a:spcPct val="120000"/>
                </a:lnSpc>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endParaRPr lang="en-US" sz="1400" dirty="0"/>
            </a:p>
            <a:p>
              <a:pPr>
                <a:lnSpc>
                  <a:spcPct val="120000"/>
                </a:lnSpc>
                <a:spcAft>
                  <a:spcPts val="600"/>
                </a:spcAft>
                <a:buClr>
                  <a:schemeClr val="accent2"/>
                </a:buClr>
                <a:buSzPct val="75000"/>
              </a:pPr>
              <a:endParaRPr lang="en-US" sz="1400" dirty="0"/>
            </a:p>
          </p:txBody>
        </p:sp>
        <p:sp>
          <p:nvSpPr>
            <p:cNvPr id="4" name="Right Brace 3"/>
            <p:cNvSpPr/>
            <p:nvPr/>
          </p:nvSpPr>
          <p:spPr>
            <a:xfrm>
              <a:off x="6075671" y="1675922"/>
              <a:ext cx="76200" cy="3454400"/>
            </a:xfrm>
            <a:prstGeom prst="rightBrace">
              <a:avLst>
                <a:gd name="adj1" fmla="val 62444"/>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134645747"/>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Futura Bold"/>
                <a:cs typeface="Futura Bold"/>
              </a:rPr>
              <a:t>SHELL WIZKIT template</a:t>
            </a:r>
            <a:br>
              <a:rPr lang="en-US" dirty="0"/>
            </a:br>
            <a:r>
              <a:rPr lang="en-US" b="0" dirty="0">
                <a:solidFill>
                  <a:srgbClr val="535353"/>
                </a:solidFill>
                <a:latin typeface="Futura Light"/>
                <a:cs typeface="Futura Light"/>
              </a:rPr>
              <a:t>Cycle</a:t>
            </a:r>
          </a:p>
        </p:txBody>
      </p:sp>
      <p:sp>
        <p:nvSpPr>
          <p:cNvPr id="6" name="Slide Number Placeholder 5"/>
          <p:cNvSpPr>
            <a:spLocks noGrp="1"/>
          </p:cNvSpPr>
          <p:nvPr>
            <p:ph type="sldNum" sz="quarter" idx="4"/>
          </p:nvPr>
        </p:nvSpPr>
        <p:spPr/>
        <p:txBody>
          <a:bodyPr/>
          <a:lstStyle/>
          <a:p>
            <a:fld id="{D32BAE6A-B452-4007-8177-56DD051636F9}" type="slidenum">
              <a:rPr lang="en-GB" smtClean="0"/>
              <a:pPr/>
              <a:t>38</a:t>
            </a:fld>
            <a:endParaRPr lang="en-GB" dirty="0"/>
          </a:p>
        </p:txBody>
      </p:sp>
      <p:grpSp>
        <p:nvGrpSpPr>
          <p:cNvPr id="3" name="Group 2"/>
          <p:cNvGrpSpPr/>
          <p:nvPr/>
        </p:nvGrpSpPr>
        <p:grpSpPr>
          <a:xfrm>
            <a:off x="3702796" y="1528763"/>
            <a:ext cx="4830763" cy="4830762"/>
            <a:chOff x="4615311" y="2441277"/>
            <a:chExt cx="2703080" cy="2703079"/>
          </a:xfrm>
        </p:grpSpPr>
        <p:sp>
          <p:nvSpPr>
            <p:cNvPr id="29" name="Freeform 28"/>
            <p:cNvSpPr/>
            <p:nvPr/>
          </p:nvSpPr>
          <p:spPr>
            <a:xfrm>
              <a:off x="5505172" y="2441277"/>
              <a:ext cx="923358" cy="923358"/>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a:ln w="9525" cmpd="sng">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30" name="Freeform 29"/>
            <p:cNvSpPr/>
            <p:nvPr/>
          </p:nvSpPr>
          <p:spPr>
            <a:xfrm rot="2700000">
              <a:off x="6319427" y="3202894"/>
              <a:ext cx="177600" cy="282876"/>
            </a:xfrm>
            <a:custGeom>
              <a:avLst/>
              <a:gdLst>
                <a:gd name="connsiteX0" fmla="*/ 0 w 285716"/>
                <a:gd name="connsiteY0" fmla="*/ 91016 h 455081"/>
                <a:gd name="connsiteX1" fmla="*/ 142858 w 285716"/>
                <a:gd name="connsiteY1" fmla="*/ 91016 h 455081"/>
                <a:gd name="connsiteX2" fmla="*/ 142858 w 285716"/>
                <a:gd name="connsiteY2" fmla="*/ 0 h 455081"/>
                <a:gd name="connsiteX3" fmla="*/ 285716 w 285716"/>
                <a:gd name="connsiteY3" fmla="*/ 227541 h 455081"/>
                <a:gd name="connsiteX4" fmla="*/ 142858 w 285716"/>
                <a:gd name="connsiteY4" fmla="*/ 455081 h 455081"/>
                <a:gd name="connsiteX5" fmla="*/ 142858 w 285716"/>
                <a:gd name="connsiteY5" fmla="*/ 364065 h 455081"/>
                <a:gd name="connsiteX6" fmla="*/ 0 w 285716"/>
                <a:gd name="connsiteY6" fmla="*/ 364065 h 455081"/>
                <a:gd name="connsiteX7" fmla="*/ 0 w 285716"/>
                <a:gd name="connsiteY7" fmla="*/ 91016 h 4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16" h="455081">
                  <a:moveTo>
                    <a:pt x="0" y="91016"/>
                  </a:moveTo>
                  <a:lnTo>
                    <a:pt x="142858" y="91016"/>
                  </a:lnTo>
                  <a:lnTo>
                    <a:pt x="142858" y="0"/>
                  </a:lnTo>
                  <a:lnTo>
                    <a:pt x="285716" y="227541"/>
                  </a:lnTo>
                  <a:lnTo>
                    <a:pt x="142858" y="455081"/>
                  </a:lnTo>
                  <a:lnTo>
                    <a:pt x="142858" y="364065"/>
                  </a:lnTo>
                  <a:lnTo>
                    <a:pt x="0" y="364065"/>
                  </a:lnTo>
                  <a:lnTo>
                    <a:pt x="0" y="91016"/>
                  </a:lnTo>
                  <a:close/>
                </a:path>
              </a:pathLst>
            </a:custGeom>
            <a:solidFill>
              <a:schemeClr val="tx2">
                <a:alpha val="50000"/>
              </a:schemeClr>
            </a:solidFill>
            <a:ln w="9525" cmpd="sng">
              <a:solidFill>
                <a:schemeClr val="bg1"/>
              </a:solidFill>
            </a:ln>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0" tIns="91015" rIns="85714" bIns="91016"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31" name="Freeform 30"/>
            <p:cNvSpPr/>
            <p:nvPr/>
          </p:nvSpPr>
          <p:spPr>
            <a:xfrm>
              <a:off x="6395033" y="3331137"/>
              <a:ext cx="923358" cy="923358"/>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a:ln w="9525" cmpd="sng">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32" name="Freeform 31"/>
            <p:cNvSpPr/>
            <p:nvPr/>
          </p:nvSpPr>
          <p:spPr>
            <a:xfrm rot="18900000">
              <a:off x="6326536" y="4092755"/>
              <a:ext cx="177600" cy="282877"/>
            </a:xfrm>
            <a:custGeom>
              <a:avLst/>
              <a:gdLst>
                <a:gd name="connsiteX0" fmla="*/ 0 w 285716"/>
                <a:gd name="connsiteY0" fmla="*/ 91016 h 455081"/>
                <a:gd name="connsiteX1" fmla="*/ 142858 w 285716"/>
                <a:gd name="connsiteY1" fmla="*/ 91016 h 455081"/>
                <a:gd name="connsiteX2" fmla="*/ 142858 w 285716"/>
                <a:gd name="connsiteY2" fmla="*/ 0 h 455081"/>
                <a:gd name="connsiteX3" fmla="*/ 285716 w 285716"/>
                <a:gd name="connsiteY3" fmla="*/ 227541 h 455081"/>
                <a:gd name="connsiteX4" fmla="*/ 142858 w 285716"/>
                <a:gd name="connsiteY4" fmla="*/ 455081 h 455081"/>
                <a:gd name="connsiteX5" fmla="*/ 142858 w 285716"/>
                <a:gd name="connsiteY5" fmla="*/ 364065 h 455081"/>
                <a:gd name="connsiteX6" fmla="*/ 0 w 285716"/>
                <a:gd name="connsiteY6" fmla="*/ 364065 h 455081"/>
                <a:gd name="connsiteX7" fmla="*/ 0 w 285716"/>
                <a:gd name="connsiteY7" fmla="*/ 91016 h 4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16" h="455081">
                  <a:moveTo>
                    <a:pt x="285716" y="364065"/>
                  </a:moveTo>
                  <a:lnTo>
                    <a:pt x="142858" y="364065"/>
                  </a:lnTo>
                  <a:lnTo>
                    <a:pt x="142858" y="455081"/>
                  </a:lnTo>
                  <a:lnTo>
                    <a:pt x="0" y="227540"/>
                  </a:lnTo>
                  <a:lnTo>
                    <a:pt x="142858" y="0"/>
                  </a:lnTo>
                  <a:lnTo>
                    <a:pt x="142858" y="91016"/>
                  </a:lnTo>
                  <a:lnTo>
                    <a:pt x="285716" y="91016"/>
                  </a:lnTo>
                  <a:lnTo>
                    <a:pt x="285716" y="364065"/>
                  </a:lnTo>
                  <a:close/>
                </a:path>
              </a:pathLst>
            </a:custGeom>
            <a:solidFill>
              <a:schemeClr val="tx2">
                <a:alpha val="50000"/>
              </a:schemeClr>
            </a:solidFill>
            <a:ln w="9525" cmpd="sng">
              <a:solidFill>
                <a:schemeClr val="bg1"/>
              </a:solidFill>
            </a:ln>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85714" tIns="91016" rIns="0" bIns="91016"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33" name="Freeform 32"/>
            <p:cNvSpPr/>
            <p:nvPr/>
          </p:nvSpPr>
          <p:spPr>
            <a:xfrm>
              <a:off x="5505172" y="4220998"/>
              <a:ext cx="923358" cy="923358"/>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a:ln w="9525" cmpd="sng">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34" name="Freeform 33"/>
            <p:cNvSpPr/>
            <p:nvPr/>
          </p:nvSpPr>
          <p:spPr>
            <a:xfrm rot="2700000">
              <a:off x="5436675" y="4099863"/>
              <a:ext cx="177600" cy="282877"/>
            </a:xfrm>
            <a:custGeom>
              <a:avLst/>
              <a:gdLst>
                <a:gd name="connsiteX0" fmla="*/ 0 w 285716"/>
                <a:gd name="connsiteY0" fmla="*/ 91016 h 455081"/>
                <a:gd name="connsiteX1" fmla="*/ 142858 w 285716"/>
                <a:gd name="connsiteY1" fmla="*/ 91016 h 455081"/>
                <a:gd name="connsiteX2" fmla="*/ 142858 w 285716"/>
                <a:gd name="connsiteY2" fmla="*/ 0 h 455081"/>
                <a:gd name="connsiteX3" fmla="*/ 285716 w 285716"/>
                <a:gd name="connsiteY3" fmla="*/ 227541 h 455081"/>
                <a:gd name="connsiteX4" fmla="*/ 142858 w 285716"/>
                <a:gd name="connsiteY4" fmla="*/ 455081 h 455081"/>
                <a:gd name="connsiteX5" fmla="*/ 142858 w 285716"/>
                <a:gd name="connsiteY5" fmla="*/ 364065 h 455081"/>
                <a:gd name="connsiteX6" fmla="*/ 0 w 285716"/>
                <a:gd name="connsiteY6" fmla="*/ 364065 h 455081"/>
                <a:gd name="connsiteX7" fmla="*/ 0 w 285716"/>
                <a:gd name="connsiteY7" fmla="*/ 91016 h 4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16" h="455081">
                  <a:moveTo>
                    <a:pt x="285716" y="364065"/>
                  </a:moveTo>
                  <a:lnTo>
                    <a:pt x="142858" y="364065"/>
                  </a:lnTo>
                  <a:lnTo>
                    <a:pt x="142858" y="455081"/>
                  </a:lnTo>
                  <a:lnTo>
                    <a:pt x="0" y="227540"/>
                  </a:lnTo>
                  <a:lnTo>
                    <a:pt x="142858" y="0"/>
                  </a:lnTo>
                  <a:lnTo>
                    <a:pt x="142858" y="91016"/>
                  </a:lnTo>
                  <a:lnTo>
                    <a:pt x="285716" y="91016"/>
                  </a:lnTo>
                  <a:lnTo>
                    <a:pt x="285716" y="364065"/>
                  </a:lnTo>
                  <a:close/>
                </a:path>
              </a:pathLst>
            </a:custGeom>
            <a:solidFill>
              <a:schemeClr val="tx2">
                <a:alpha val="50000"/>
              </a:schemeClr>
            </a:solidFill>
            <a:ln w="9525" cmpd="sng">
              <a:solidFill>
                <a:schemeClr val="bg1"/>
              </a:solidFill>
            </a:ln>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85715" tIns="91017" rIns="0" bIns="91015"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35" name="Freeform 34"/>
            <p:cNvSpPr/>
            <p:nvPr/>
          </p:nvSpPr>
          <p:spPr>
            <a:xfrm>
              <a:off x="4615311" y="3331137"/>
              <a:ext cx="923358" cy="923358"/>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a:ln w="9525" cmpd="sng">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36" name="Freeform 35"/>
            <p:cNvSpPr/>
            <p:nvPr/>
          </p:nvSpPr>
          <p:spPr>
            <a:xfrm rot="18900000">
              <a:off x="5429567" y="3210002"/>
              <a:ext cx="177600" cy="282876"/>
            </a:xfrm>
            <a:custGeom>
              <a:avLst/>
              <a:gdLst>
                <a:gd name="connsiteX0" fmla="*/ 0 w 285716"/>
                <a:gd name="connsiteY0" fmla="*/ 91016 h 455081"/>
                <a:gd name="connsiteX1" fmla="*/ 142858 w 285716"/>
                <a:gd name="connsiteY1" fmla="*/ 91016 h 455081"/>
                <a:gd name="connsiteX2" fmla="*/ 142858 w 285716"/>
                <a:gd name="connsiteY2" fmla="*/ 0 h 455081"/>
                <a:gd name="connsiteX3" fmla="*/ 285716 w 285716"/>
                <a:gd name="connsiteY3" fmla="*/ 227541 h 455081"/>
                <a:gd name="connsiteX4" fmla="*/ 142858 w 285716"/>
                <a:gd name="connsiteY4" fmla="*/ 455081 h 455081"/>
                <a:gd name="connsiteX5" fmla="*/ 142858 w 285716"/>
                <a:gd name="connsiteY5" fmla="*/ 364065 h 455081"/>
                <a:gd name="connsiteX6" fmla="*/ 0 w 285716"/>
                <a:gd name="connsiteY6" fmla="*/ 364065 h 455081"/>
                <a:gd name="connsiteX7" fmla="*/ 0 w 285716"/>
                <a:gd name="connsiteY7" fmla="*/ 91016 h 4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16" h="455081">
                  <a:moveTo>
                    <a:pt x="0" y="91016"/>
                  </a:moveTo>
                  <a:lnTo>
                    <a:pt x="142858" y="91016"/>
                  </a:lnTo>
                  <a:lnTo>
                    <a:pt x="142858" y="0"/>
                  </a:lnTo>
                  <a:lnTo>
                    <a:pt x="285716" y="227541"/>
                  </a:lnTo>
                  <a:lnTo>
                    <a:pt x="142858" y="455081"/>
                  </a:lnTo>
                  <a:lnTo>
                    <a:pt x="142858" y="364065"/>
                  </a:lnTo>
                  <a:lnTo>
                    <a:pt x="0" y="364065"/>
                  </a:lnTo>
                  <a:lnTo>
                    <a:pt x="0" y="91016"/>
                  </a:lnTo>
                  <a:close/>
                </a:path>
              </a:pathLst>
            </a:custGeom>
            <a:solidFill>
              <a:schemeClr val="tx2">
                <a:alpha val="50000"/>
              </a:schemeClr>
            </a:solidFill>
            <a:ln w="9525" cmpd="sng">
              <a:solidFill>
                <a:schemeClr val="bg1"/>
              </a:solidFill>
            </a:ln>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91016" rIns="85715" bIns="91015"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grpSp>
    </p:spTree>
    <p:extLst>
      <p:ext uri="{BB962C8B-B14F-4D97-AF65-F5344CB8AC3E}">
        <p14:creationId xmlns:p14="http://schemas.microsoft.com/office/powerpoint/2010/main" val="327048254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39</a:t>
            </a:fld>
            <a:endParaRPr lang="en-GB" dirty="0"/>
          </a:p>
        </p:txBody>
      </p:sp>
      <p:grpSp>
        <p:nvGrpSpPr>
          <p:cNvPr id="4" name="Group 3"/>
          <p:cNvGrpSpPr/>
          <p:nvPr/>
        </p:nvGrpSpPr>
        <p:grpSpPr>
          <a:xfrm>
            <a:off x="3426177" y="1505793"/>
            <a:ext cx="5339645" cy="4873306"/>
            <a:chOff x="4004216" y="1585169"/>
            <a:chExt cx="4220847" cy="3852219"/>
          </a:xfrm>
        </p:grpSpPr>
        <p:sp>
          <p:nvSpPr>
            <p:cNvPr id="5" name="Freeform 4"/>
            <p:cNvSpPr/>
            <p:nvPr/>
          </p:nvSpPr>
          <p:spPr>
            <a:xfrm>
              <a:off x="5379958" y="1585169"/>
              <a:ext cx="1469364" cy="1469364"/>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6" name="Freeform 5"/>
            <p:cNvSpPr/>
            <p:nvPr/>
          </p:nvSpPr>
          <p:spPr>
            <a:xfrm rot="3600000">
              <a:off x="6453134" y="3186018"/>
              <a:ext cx="679523" cy="617210"/>
            </a:xfrm>
            <a:custGeom>
              <a:avLst/>
              <a:gdLst>
                <a:gd name="connsiteX0" fmla="*/ 0 w 679523"/>
                <a:gd name="connsiteY0" fmla="*/ 123442 h 617210"/>
                <a:gd name="connsiteX1" fmla="*/ 370918 w 679523"/>
                <a:gd name="connsiteY1" fmla="*/ 123442 h 617210"/>
                <a:gd name="connsiteX2" fmla="*/ 370918 w 679523"/>
                <a:gd name="connsiteY2" fmla="*/ 0 h 617210"/>
                <a:gd name="connsiteX3" fmla="*/ 679523 w 679523"/>
                <a:gd name="connsiteY3" fmla="*/ 308605 h 617210"/>
                <a:gd name="connsiteX4" fmla="*/ 370918 w 679523"/>
                <a:gd name="connsiteY4" fmla="*/ 617210 h 617210"/>
                <a:gd name="connsiteX5" fmla="*/ 370918 w 679523"/>
                <a:gd name="connsiteY5" fmla="*/ 493768 h 617210"/>
                <a:gd name="connsiteX6" fmla="*/ 0 w 679523"/>
                <a:gd name="connsiteY6" fmla="*/ 493768 h 617210"/>
                <a:gd name="connsiteX7" fmla="*/ 0 w 679523"/>
                <a:gd name="connsiteY7" fmla="*/ 123442 h 6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23" h="617210">
                  <a:moveTo>
                    <a:pt x="0" y="123442"/>
                  </a:moveTo>
                  <a:lnTo>
                    <a:pt x="370918" y="123442"/>
                  </a:lnTo>
                  <a:lnTo>
                    <a:pt x="370918" y="0"/>
                  </a:lnTo>
                  <a:lnTo>
                    <a:pt x="679523" y="308605"/>
                  </a:lnTo>
                  <a:lnTo>
                    <a:pt x="370918" y="617210"/>
                  </a:lnTo>
                  <a:lnTo>
                    <a:pt x="370918" y="493768"/>
                  </a:lnTo>
                  <a:lnTo>
                    <a:pt x="0" y="493768"/>
                  </a:lnTo>
                  <a:lnTo>
                    <a:pt x="0" y="123442"/>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123441" rIns="185163" bIns="123442"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7" name="Freeform 6"/>
            <p:cNvSpPr/>
            <p:nvPr/>
          </p:nvSpPr>
          <p:spPr>
            <a:xfrm>
              <a:off x="6755699" y="3968024"/>
              <a:ext cx="1469364" cy="1469364"/>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8" name="Freeform 7"/>
            <p:cNvSpPr/>
            <p:nvPr/>
          </p:nvSpPr>
          <p:spPr>
            <a:xfrm>
              <a:off x="5794110" y="4394101"/>
              <a:ext cx="679524" cy="617211"/>
            </a:xfrm>
            <a:custGeom>
              <a:avLst/>
              <a:gdLst>
                <a:gd name="connsiteX0" fmla="*/ 0 w 679523"/>
                <a:gd name="connsiteY0" fmla="*/ 123442 h 617210"/>
                <a:gd name="connsiteX1" fmla="*/ 370918 w 679523"/>
                <a:gd name="connsiteY1" fmla="*/ 123442 h 617210"/>
                <a:gd name="connsiteX2" fmla="*/ 370918 w 679523"/>
                <a:gd name="connsiteY2" fmla="*/ 0 h 617210"/>
                <a:gd name="connsiteX3" fmla="*/ 679523 w 679523"/>
                <a:gd name="connsiteY3" fmla="*/ 308605 h 617210"/>
                <a:gd name="connsiteX4" fmla="*/ 370918 w 679523"/>
                <a:gd name="connsiteY4" fmla="*/ 617210 h 617210"/>
                <a:gd name="connsiteX5" fmla="*/ 370918 w 679523"/>
                <a:gd name="connsiteY5" fmla="*/ 493768 h 617210"/>
                <a:gd name="connsiteX6" fmla="*/ 0 w 679523"/>
                <a:gd name="connsiteY6" fmla="*/ 493768 h 617210"/>
                <a:gd name="connsiteX7" fmla="*/ 0 w 679523"/>
                <a:gd name="connsiteY7" fmla="*/ 123442 h 6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23" h="617210">
                  <a:moveTo>
                    <a:pt x="679523" y="493768"/>
                  </a:moveTo>
                  <a:lnTo>
                    <a:pt x="308605" y="493768"/>
                  </a:lnTo>
                  <a:lnTo>
                    <a:pt x="308605" y="617210"/>
                  </a:lnTo>
                  <a:lnTo>
                    <a:pt x="0" y="308605"/>
                  </a:lnTo>
                  <a:lnTo>
                    <a:pt x="308605" y="0"/>
                  </a:lnTo>
                  <a:lnTo>
                    <a:pt x="308605" y="123442"/>
                  </a:lnTo>
                  <a:lnTo>
                    <a:pt x="679523" y="123442"/>
                  </a:lnTo>
                  <a:lnTo>
                    <a:pt x="679523" y="493768"/>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85163" tIns="123443" rIns="1" bIns="123442"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9" name="Freeform 8"/>
            <p:cNvSpPr/>
            <p:nvPr/>
          </p:nvSpPr>
          <p:spPr>
            <a:xfrm>
              <a:off x="4004216" y="3968024"/>
              <a:ext cx="1469364" cy="1469364"/>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10" name="Freeform 9"/>
            <p:cNvSpPr/>
            <p:nvPr/>
          </p:nvSpPr>
          <p:spPr>
            <a:xfrm rot="18000000">
              <a:off x="5077392" y="3219328"/>
              <a:ext cx="679523" cy="617210"/>
            </a:xfrm>
            <a:custGeom>
              <a:avLst/>
              <a:gdLst>
                <a:gd name="connsiteX0" fmla="*/ 0 w 679523"/>
                <a:gd name="connsiteY0" fmla="*/ 123442 h 617210"/>
                <a:gd name="connsiteX1" fmla="*/ 370918 w 679523"/>
                <a:gd name="connsiteY1" fmla="*/ 123442 h 617210"/>
                <a:gd name="connsiteX2" fmla="*/ 370918 w 679523"/>
                <a:gd name="connsiteY2" fmla="*/ 0 h 617210"/>
                <a:gd name="connsiteX3" fmla="*/ 679523 w 679523"/>
                <a:gd name="connsiteY3" fmla="*/ 308605 h 617210"/>
                <a:gd name="connsiteX4" fmla="*/ 370918 w 679523"/>
                <a:gd name="connsiteY4" fmla="*/ 617210 h 617210"/>
                <a:gd name="connsiteX5" fmla="*/ 370918 w 679523"/>
                <a:gd name="connsiteY5" fmla="*/ 493768 h 617210"/>
                <a:gd name="connsiteX6" fmla="*/ 0 w 679523"/>
                <a:gd name="connsiteY6" fmla="*/ 493768 h 617210"/>
                <a:gd name="connsiteX7" fmla="*/ 0 w 679523"/>
                <a:gd name="connsiteY7" fmla="*/ 123442 h 6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23" h="617210">
                  <a:moveTo>
                    <a:pt x="0" y="123442"/>
                  </a:moveTo>
                  <a:lnTo>
                    <a:pt x="370918" y="123442"/>
                  </a:lnTo>
                  <a:lnTo>
                    <a:pt x="370918" y="0"/>
                  </a:lnTo>
                  <a:lnTo>
                    <a:pt x="679523" y="308605"/>
                  </a:lnTo>
                  <a:lnTo>
                    <a:pt x="370918" y="617210"/>
                  </a:lnTo>
                  <a:lnTo>
                    <a:pt x="370918" y="493768"/>
                  </a:lnTo>
                  <a:lnTo>
                    <a:pt x="0" y="493768"/>
                  </a:lnTo>
                  <a:lnTo>
                    <a:pt x="0" y="123442"/>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123442" rIns="185163" bIns="123441"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grpSp>
      <p:sp>
        <p:nvSpPr>
          <p:cNvPr id="11" name="TextBox 10"/>
          <p:cNvSpPr txBox="1"/>
          <p:nvPr/>
        </p:nvSpPr>
        <p:spPr>
          <a:xfrm>
            <a:off x="710794" y="-858820"/>
            <a:ext cx="914400" cy="914400"/>
          </a:xfrm>
          <a:prstGeom prst="rect">
            <a:avLst/>
          </a:prstGeom>
          <a:noFill/>
        </p:spPr>
        <p:txBody>
          <a:bodyPr wrap="none" lIns="0" tIns="0" rIns="0" bIns="0" rtlCol="0">
            <a:noAutofit/>
          </a:bodyPr>
          <a:lstStyle/>
          <a:p>
            <a:pPr marL="177800" indent="-177800">
              <a:lnSpc>
                <a:spcPct val="113000"/>
              </a:lnSpc>
              <a:spcAft>
                <a:spcPts val="60"/>
              </a:spcAft>
              <a:buFont typeface="Wingdings"/>
              <a:buChar char="n"/>
            </a:pPr>
            <a:endParaRPr lang="en-US" sz="1600" dirty="0"/>
          </a:p>
        </p:txBody>
      </p:sp>
    </p:spTree>
    <p:extLst>
      <p:ext uri="{BB962C8B-B14F-4D97-AF65-F5344CB8AC3E}">
        <p14:creationId xmlns:p14="http://schemas.microsoft.com/office/powerpoint/2010/main" val="128491906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4</a:t>
            </a:fld>
            <a:endParaRPr lang="en-GB" dirty="0"/>
          </a:p>
        </p:txBody>
      </p:sp>
      <p:grpSp>
        <p:nvGrpSpPr>
          <p:cNvPr id="4" name="Group 3"/>
          <p:cNvGrpSpPr/>
          <p:nvPr/>
        </p:nvGrpSpPr>
        <p:grpSpPr>
          <a:xfrm>
            <a:off x="508000" y="1528763"/>
            <a:ext cx="11171238" cy="4830762"/>
            <a:chOff x="2032000" y="1204996"/>
            <a:chExt cx="8128000" cy="4378496"/>
          </a:xfrm>
        </p:grpSpPr>
        <p:sp>
          <p:nvSpPr>
            <p:cNvPr id="6" name="TextBox 5"/>
            <p:cNvSpPr txBox="1"/>
            <p:nvPr/>
          </p:nvSpPr>
          <p:spPr>
            <a:xfrm>
              <a:off x="2032000" y="1522496"/>
              <a:ext cx="1905000" cy="40609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endParaRPr lang="en-US" sz="1400" dirty="0"/>
            </a:p>
          </p:txBody>
        </p:sp>
        <p:sp>
          <p:nvSpPr>
            <p:cNvPr id="26" name="TextBox 25"/>
            <p:cNvSpPr txBox="1"/>
            <p:nvPr/>
          </p:nvSpPr>
          <p:spPr>
            <a:xfrm>
              <a:off x="4106333" y="1522496"/>
              <a:ext cx="1905000" cy="40609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p:txBody>
        </p:sp>
        <p:sp>
          <p:nvSpPr>
            <p:cNvPr id="28" name="TextBox 27"/>
            <p:cNvSpPr txBox="1"/>
            <p:nvPr/>
          </p:nvSpPr>
          <p:spPr>
            <a:xfrm>
              <a:off x="6180666" y="1522496"/>
              <a:ext cx="1905000" cy="40609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p:txBody>
        </p:sp>
        <p:sp>
          <p:nvSpPr>
            <p:cNvPr id="13" name="TextBox 12"/>
            <p:cNvSpPr txBox="1"/>
            <p:nvPr/>
          </p:nvSpPr>
          <p:spPr>
            <a:xfrm>
              <a:off x="8255000" y="1522496"/>
              <a:ext cx="1905000" cy="4060996"/>
            </a:xfrm>
            <a:prstGeom prst="rect">
              <a:avLst/>
            </a:prstGeom>
            <a:noFill/>
            <a:ln w="9525" cmpd="sng">
              <a:solidFill>
                <a:srgbClr val="BFBFBF"/>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p:txBody>
        </p:sp>
        <p:sp>
          <p:nvSpPr>
            <p:cNvPr id="5" name="TextBox 4"/>
            <p:cNvSpPr txBox="1"/>
            <p:nvPr/>
          </p:nvSpPr>
          <p:spPr>
            <a:xfrm>
              <a:off x="2032000" y="1204996"/>
              <a:ext cx="1905000"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sp>
          <p:nvSpPr>
            <p:cNvPr id="25" name="TextBox 24"/>
            <p:cNvSpPr txBox="1"/>
            <p:nvPr/>
          </p:nvSpPr>
          <p:spPr>
            <a:xfrm>
              <a:off x="4106333" y="1204996"/>
              <a:ext cx="1905000"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sp>
          <p:nvSpPr>
            <p:cNvPr id="27" name="TextBox 26"/>
            <p:cNvSpPr txBox="1"/>
            <p:nvPr/>
          </p:nvSpPr>
          <p:spPr>
            <a:xfrm>
              <a:off x="6180666" y="1204996"/>
              <a:ext cx="1905000"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sp>
          <p:nvSpPr>
            <p:cNvPr id="12" name="TextBox 11"/>
            <p:cNvSpPr txBox="1"/>
            <p:nvPr/>
          </p:nvSpPr>
          <p:spPr>
            <a:xfrm>
              <a:off x="8255000" y="1204996"/>
              <a:ext cx="1905000" cy="317500"/>
            </a:xfrm>
            <a:prstGeom prst="rect">
              <a:avLst/>
            </a:prstGeom>
            <a:solidFill>
              <a:schemeClr val="accent1"/>
            </a:solidFill>
            <a:ln w="12700" cmpd="sng">
              <a:solidFill>
                <a:schemeClr val="accent1"/>
              </a:solidFill>
            </a:ln>
          </p:spPr>
          <p:txBody>
            <a:bodyPr wrap="none" lIns="101600" tIns="0" rIns="0" bIns="12700" rtlCol="0" anchor="ctr">
              <a:noAutofit/>
            </a:bodyPr>
            <a:lstStyle>
              <a:defPPr>
                <a:defRPr lang="en-US"/>
              </a:defPPr>
              <a:lvl1pPr>
                <a:defRPr sz="1400">
                  <a:latin typeface="+mj-lt"/>
                </a:defRPr>
              </a:lvl1pPr>
            </a:lstStyle>
            <a:p>
              <a:r>
                <a:rPr lang="en-US" dirty="0"/>
                <a:t>Title</a:t>
              </a:r>
            </a:p>
          </p:txBody>
        </p:sp>
      </p:grpSp>
    </p:spTree>
    <p:extLst>
      <p:ext uri="{BB962C8B-B14F-4D97-AF65-F5344CB8AC3E}">
        <p14:creationId xmlns:p14="http://schemas.microsoft.com/office/powerpoint/2010/main" val="3688640471"/>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0</a:t>
            </a:fld>
            <a:endParaRPr lang="en-GB" dirty="0"/>
          </a:p>
        </p:txBody>
      </p:sp>
      <p:grpSp>
        <p:nvGrpSpPr>
          <p:cNvPr id="4" name="Group 3"/>
          <p:cNvGrpSpPr/>
          <p:nvPr/>
        </p:nvGrpSpPr>
        <p:grpSpPr>
          <a:xfrm>
            <a:off x="3680618" y="1528763"/>
            <a:ext cx="4830763" cy="4830762"/>
            <a:chOff x="3900702" y="1359164"/>
            <a:chExt cx="4348616" cy="4348615"/>
          </a:xfrm>
        </p:grpSpPr>
        <p:sp>
          <p:nvSpPr>
            <p:cNvPr id="5" name="Freeform 4"/>
            <p:cNvSpPr/>
            <p:nvPr/>
          </p:nvSpPr>
          <p:spPr>
            <a:xfrm>
              <a:off x="5332278" y="1359164"/>
              <a:ext cx="1485465" cy="1485465"/>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6" name="Freeform 5"/>
            <p:cNvSpPr/>
            <p:nvPr/>
          </p:nvSpPr>
          <p:spPr>
            <a:xfrm rot="2700000">
              <a:off x="6642221" y="2584425"/>
              <a:ext cx="285716" cy="455081"/>
            </a:xfrm>
            <a:custGeom>
              <a:avLst/>
              <a:gdLst>
                <a:gd name="connsiteX0" fmla="*/ 0 w 285716"/>
                <a:gd name="connsiteY0" fmla="*/ 91016 h 455081"/>
                <a:gd name="connsiteX1" fmla="*/ 142858 w 285716"/>
                <a:gd name="connsiteY1" fmla="*/ 91016 h 455081"/>
                <a:gd name="connsiteX2" fmla="*/ 142858 w 285716"/>
                <a:gd name="connsiteY2" fmla="*/ 0 h 455081"/>
                <a:gd name="connsiteX3" fmla="*/ 285716 w 285716"/>
                <a:gd name="connsiteY3" fmla="*/ 227541 h 455081"/>
                <a:gd name="connsiteX4" fmla="*/ 142858 w 285716"/>
                <a:gd name="connsiteY4" fmla="*/ 455081 h 455081"/>
                <a:gd name="connsiteX5" fmla="*/ 142858 w 285716"/>
                <a:gd name="connsiteY5" fmla="*/ 364065 h 455081"/>
                <a:gd name="connsiteX6" fmla="*/ 0 w 285716"/>
                <a:gd name="connsiteY6" fmla="*/ 364065 h 455081"/>
                <a:gd name="connsiteX7" fmla="*/ 0 w 285716"/>
                <a:gd name="connsiteY7" fmla="*/ 91016 h 4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16" h="455081">
                  <a:moveTo>
                    <a:pt x="0" y="91016"/>
                  </a:moveTo>
                  <a:lnTo>
                    <a:pt x="142858" y="91016"/>
                  </a:lnTo>
                  <a:lnTo>
                    <a:pt x="142858" y="0"/>
                  </a:lnTo>
                  <a:lnTo>
                    <a:pt x="285716" y="227541"/>
                  </a:lnTo>
                  <a:lnTo>
                    <a:pt x="142858" y="455081"/>
                  </a:lnTo>
                  <a:lnTo>
                    <a:pt x="142858" y="364065"/>
                  </a:lnTo>
                  <a:lnTo>
                    <a:pt x="0" y="364065"/>
                  </a:lnTo>
                  <a:lnTo>
                    <a:pt x="0" y="91016"/>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0" tIns="91015" rIns="85714" bIns="91016"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7" name="Freeform 6"/>
            <p:cNvSpPr/>
            <p:nvPr/>
          </p:nvSpPr>
          <p:spPr>
            <a:xfrm>
              <a:off x="6763853" y="2790739"/>
              <a:ext cx="1485465" cy="1485465"/>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8" name="Freeform 7"/>
            <p:cNvSpPr/>
            <p:nvPr/>
          </p:nvSpPr>
          <p:spPr>
            <a:xfrm rot="18900000">
              <a:off x="6653657" y="4015999"/>
              <a:ext cx="285716" cy="455082"/>
            </a:xfrm>
            <a:custGeom>
              <a:avLst/>
              <a:gdLst>
                <a:gd name="connsiteX0" fmla="*/ 0 w 285716"/>
                <a:gd name="connsiteY0" fmla="*/ 91016 h 455081"/>
                <a:gd name="connsiteX1" fmla="*/ 142858 w 285716"/>
                <a:gd name="connsiteY1" fmla="*/ 91016 h 455081"/>
                <a:gd name="connsiteX2" fmla="*/ 142858 w 285716"/>
                <a:gd name="connsiteY2" fmla="*/ 0 h 455081"/>
                <a:gd name="connsiteX3" fmla="*/ 285716 w 285716"/>
                <a:gd name="connsiteY3" fmla="*/ 227541 h 455081"/>
                <a:gd name="connsiteX4" fmla="*/ 142858 w 285716"/>
                <a:gd name="connsiteY4" fmla="*/ 455081 h 455081"/>
                <a:gd name="connsiteX5" fmla="*/ 142858 w 285716"/>
                <a:gd name="connsiteY5" fmla="*/ 364065 h 455081"/>
                <a:gd name="connsiteX6" fmla="*/ 0 w 285716"/>
                <a:gd name="connsiteY6" fmla="*/ 364065 h 455081"/>
                <a:gd name="connsiteX7" fmla="*/ 0 w 285716"/>
                <a:gd name="connsiteY7" fmla="*/ 91016 h 4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16" h="455081">
                  <a:moveTo>
                    <a:pt x="285716" y="364065"/>
                  </a:moveTo>
                  <a:lnTo>
                    <a:pt x="142858" y="364065"/>
                  </a:lnTo>
                  <a:lnTo>
                    <a:pt x="142858" y="455081"/>
                  </a:lnTo>
                  <a:lnTo>
                    <a:pt x="0" y="227540"/>
                  </a:lnTo>
                  <a:lnTo>
                    <a:pt x="142858" y="0"/>
                  </a:lnTo>
                  <a:lnTo>
                    <a:pt x="142858" y="91016"/>
                  </a:lnTo>
                  <a:lnTo>
                    <a:pt x="285716" y="91016"/>
                  </a:lnTo>
                  <a:lnTo>
                    <a:pt x="285716" y="364065"/>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85714" tIns="91016" rIns="0" bIns="91016"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9" name="Freeform 8"/>
            <p:cNvSpPr/>
            <p:nvPr/>
          </p:nvSpPr>
          <p:spPr>
            <a:xfrm>
              <a:off x="5332278" y="4222314"/>
              <a:ext cx="1485465" cy="1485465"/>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10" name="Freeform 9"/>
            <p:cNvSpPr/>
            <p:nvPr/>
          </p:nvSpPr>
          <p:spPr>
            <a:xfrm rot="2700000">
              <a:off x="5222083" y="4027434"/>
              <a:ext cx="285717" cy="455082"/>
            </a:xfrm>
            <a:custGeom>
              <a:avLst/>
              <a:gdLst>
                <a:gd name="connsiteX0" fmla="*/ 0 w 285716"/>
                <a:gd name="connsiteY0" fmla="*/ 91016 h 455081"/>
                <a:gd name="connsiteX1" fmla="*/ 142858 w 285716"/>
                <a:gd name="connsiteY1" fmla="*/ 91016 h 455081"/>
                <a:gd name="connsiteX2" fmla="*/ 142858 w 285716"/>
                <a:gd name="connsiteY2" fmla="*/ 0 h 455081"/>
                <a:gd name="connsiteX3" fmla="*/ 285716 w 285716"/>
                <a:gd name="connsiteY3" fmla="*/ 227541 h 455081"/>
                <a:gd name="connsiteX4" fmla="*/ 142858 w 285716"/>
                <a:gd name="connsiteY4" fmla="*/ 455081 h 455081"/>
                <a:gd name="connsiteX5" fmla="*/ 142858 w 285716"/>
                <a:gd name="connsiteY5" fmla="*/ 364065 h 455081"/>
                <a:gd name="connsiteX6" fmla="*/ 0 w 285716"/>
                <a:gd name="connsiteY6" fmla="*/ 364065 h 455081"/>
                <a:gd name="connsiteX7" fmla="*/ 0 w 285716"/>
                <a:gd name="connsiteY7" fmla="*/ 91016 h 4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16" h="455081">
                  <a:moveTo>
                    <a:pt x="285716" y="364065"/>
                  </a:moveTo>
                  <a:lnTo>
                    <a:pt x="142858" y="364065"/>
                  </a:lnTo>
                  <a:lnTo>
                    <a:pt x="142858" y="455081"/>
                  </a:lnTo>
                  <a:lnTo>
                    <a:pt x="0" y="227540"/>
                  </a:lnTo>
                  <a:lnTo>
                    <a:pt x="142858" y="0"/>
                  </a:lnTo>
                  <a:lnTo>
                    <a:pt x="142858" y="91016"/>
                  </a:lnTo>
                  <a:lnTo>
                    <a:pt x="285716" y="91016"/>
                  </a:lnTo>
                  <a:lnTo>
                    <a:pt x="285716" y="364065"/>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85715" tIns="91017" rIns="0" bIns="91015"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sp>
          <p:nvSpPr>
            <p:cNvPr id="11" name="Freeform 10"/>
            <p:cNvSpPr/>
            <p:nvPr/>
          </p:nvSpPr>
          <p:spPr>
            <a:xfrm>
              <a:off x="3900702" y="2790739"/>
              <a:ext cx="1485465" cy="1485465"/>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15" name="Freeform 14"/>
            <p:cNvSpPr/>
            <p:nvPr/>
          </p:nvSpPr>
          <p:spPr>
            <a:xfrm rot="18900000">
              <a:off x="5210646" y="2595861"/>
              <a:ext cx="285716" cy="455081"/>
            </a:xfrm>
            <a:custGeom>
              <a:avLst/>
              <a:gdLst>
                <a:gd name="connsiteX0" fmla="*/ 0 w 285716"/>
                <a:gd name="connsiteY0" fmla="*/ 91016 h 455081"/>
                <a:gd name="connsiteX1" fmla="*/ 142858 w 285716"/>
                <a:gd name="connsiteY1" fmla="*/ 91016 h 455081"/>
                <a:gd name="connsiteX2" fmla="*/ 142858 w 285716"/>
                <a:gd name="connsiteY2" fmla="*/ 0 h 455081"/>
                <a:gd name="connsiteX3" fmla="*/ 285716 w 285716"/>
                <a:gd name="connsiteY3" fmla="*/ 227541 h 455081"/>
                <a:gd name="connsiteX4" fmla="*/ 142858 w 285716"/>
                <a:gd name="connsiteY4" fmla="*/ 455081 h 455081"/>
                <a:gd name="connsiteX5" fmla="*/ 142858 w 285716"/>
                <a:gd name="connsiteY5" fmla="*/ 364065 h 455081"/>
                <a:gd name="connsiteX6" fmla="*/ 0 w 285716"/>
                <a:gd name="connsiteY6" fmla="*/ 364065 h 455081"/>
                <a:gd name="connsiteX7" fmla="*/ 0 w 285716"/>
                <a:gd name="connsiteY7" fmla="*/ 91016 h 4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16" h="455081">
                  <a:moveTo>
                    <a:pt x="0" y="91016"/>
                  </a:moveTo>
                  <a:lnTo>
                    <a:pt x="142858" y="91016"/>
                  </a:lnTo>
                  <a:lnTo>
                    <a:pt x="142858" y="0"/>
                  </a:lnTo>
                  <a:lnTo>
                    <a:pt x="285716" y="227541"/>
                  </a:lnTo>
                  <a:lnTo>
                    <a:pt x="142858" y="455081"/>
                  </a:lnTo>
                  <a:lnTo>
                    <a:pt x="142858" y="364065"/>
                  </a:lnTo>
                  <a:lnTo>
                    <a:pt x="0" y="364065"/>
                  </a:lnTo>
                  <a:lnTo>
                    <a:pt x="0" y="91016"/>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91016" rIns="85715" bIns="91015" numCol="1" spcCol="1270" anchor="ctr" anchorCtr="0">
              <a:noAutofit/>
            </a:bodyPr>
            <a:lstStyle/>
            <a:p>
              <a:pPr algn="ctr" defTabSz="622300">
                <a:lnSpc>
                  <a:spcPct val="90000"/>
                </a:lnSpc>
                <a:spcBef>
                  <a:spcPct val="0"/>
                </a:spcBef>
                <a:spcAft>
                  <a:spcPct val="35000"/>
                </a:spcAft>
              </a:pPr>
              <a:endParaRPr lang="en-US" sz="1400">
                <a:solidFill>
                  <a:schemeClr val="tx1"/>
                </a:solidFill>
              </a:endParaRPr>
            </a:p>
          </p:txBody>
        </p:sp>
      </p:grpSp>
    </p:spTree>
    <p:extLst>
      <p:ext uri="{BB962C8B-B14F-4D97-AF65-F5344CB8AC3E}">
        <p14:creationId xmlns:p14="http://schemas.microsoft.com/office/powerpoint/2010/main" val="510474693"/>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1</a:t>
            </a:fld>
            <a:endParaRPr lang="en-GB" dirty="0"/>
          </a:p>
        </p:txBody>
      </p:sp>
      <p:grpSp>
        <p:nvGrpSpPr>
          <p:cNvPr id="4" name="Group 3"/>
          <p:cNvGrpSpPr/>
          <p:nvPr/>
        </p:nvGrpSpPr>
        <p:grpSpPr>
          <a:xfrm>
            <a:off x="3593862" y="1528763"/>
            <a:ext cx="5004275" cy="4830762"/>
            <a:chOff x="3914409" y="1427522"/>
            <a:chExt cx="4363182" cy="4211898"/>
          </a:xfrm>
        </p:grpSpPr>
        <p:sp>
          <p:nvSpPr>
            <p:cNvPr id="5" name="Freeform 4"/>
            <p:cNvSpPr/>
            <p:nvPr/>
          </p:nvSpPr>
          <p:spPr>
            <a:xfrm>
              <a:off x="5459906" y="1427522"/>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6" name="Freeform 5"/>
            <p:cNvSpPr/>
            <p:nvPr/>
          </p:nvSpPr>
          <p:spPr>
            <a:xfrm rot="2160000">
              <a:off x="6691894" y="2404742"/>
              <a:ext cx="338218" cy="429364"/>
            </a:xfrm>
            <a:custGeom>
              <a:avLst/>
              <a:gdLst>
                <a:gd name="connsiteX0" fmla="*/ 0 w 338218"/>
                <a:gd name="connsiteY0" fmla="*/ 85873 h 429364"/>
                <a:gd name="connsiteX1" fmla="*/ 169109 w 338218"/>
                <a:gd name="connsiteY1" fmla="*/ 85873 h 429364"/>
                <a:gd name="connsiteX2" fmla="*/ 169109 w 338218"/>
                <a:gd name="connsiteY2" fmla="*/ 0 h 429364"/>
                <a:gd name="connsiteX3" fmla="*/ 338218 w 338218"/>
                <a:gd name="connsiteY3" fmla="*/ 214682 h 429364"/>
                <a:gd name="connsiteX4" fmla="*/ 169109 w 338218"/>
                <a:gd name="connsiteY4" fmla="*/ 429364 h 429364"/>
                <a:gd name="connsiteX5" fmla="*/ 169109 w 338218"/>
                <a:gd name="connsiteY5" fmla="*/ 343491 h 429364"/>
                <a:gd name="connsiteX6" fmla="*/ 0 w 338218"/>
                <a:gd name="connsiteY6" fmla="*/ 343491 h 429364"/>
                <a:gd name="connsiteX7" fmla="*/ 0 w 338218"/>
                <a:gd name="connsiteY7" fmla="*/ 85873 h 42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18" h="429364">
                  <a:moveTo>
                    <a:pt x="0" y="85873"/>
                  </a:moveTo>
                  <a:lnTo>
                    <a:pt x="169109" y="85873"/>
                  </a:lnTo>
                  <a:lnTo>
                    <a:pt x="169109" y="0"/>
                  </a:lnTo>
                  <a:lnTo>
                    <a:pt x="338218" y="214682"/>
                  </a:lnTo>
                  <a:lnTo>
                    <a:pt x="169109" y="429364"/>
                  </a:lnTo>
                  <a:lnTo>
                    <a:pt x="169109" y="343491"/>
                  </a:lnTo>
                  <a:lnTo>
                    <a:pt x="0" y="343491"/>
                  </a:lnTo>
                  <a:lnTo>
                    <a:pt x="0" y="85873"/>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85872" rIns="101465" bIns="85873" numCol="1" spcCol="1270" anchor="ctr" anchorCtr="0">
              <a:noAutofit/>
            </a:bodyPr>
            <a:lstStyle/>
            <a:p>
              <a:pPr algn="ctr" defTabSz="622300">
                <a:lnSpc>
                  <a:spcPct val="90000"/>
                </a:lnSpc>
                <a:spcBef>
                  <a:spcPct val="0"/>
                </a:spcBef>
                <a:spcAft>
                  <a:spcPct val="35000"/>
                </a:spcAft>
              </a:pPr>
              <a:endParaRPr lang="en-US" sz="1400">
                <a:solidFill>
                  <a:srgbClr val="595959"/>
                </a:solidFill>
              </a:endParaRPr>
            </a:p>
          </p:txBody>
        </p:sp>
        <p:sp>
          <p:nvSpPr>
            <p:cNvPr id="7" name="Freeform 6"/>
            <p:cNvSpPr/>
            <p:nvPr/>
          </p:nvSpPr>
          <p:spPr>
            <a:xfrm>
              <a:off x="7005402" y="2550391"/>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9" name="Freeform 8"/>
            <p:cNvSpPr/>
            <p:nvPr/>
          </p:nvSpPr>
          <p:spPr>
            <a:xfrm rot="17280000">
              <a:off x="7180181" y="3871119"/>
              <a:ext cx="338218" cy="429365"/>
            </a:xfrm>
            <a:custGeom>
              <a:avLst/>
              <a:gdLst>
                <a:gd name="connsiteX0" fmla="*/ 0 w 338218"/>
                <a:gd name="connsiteY0" fmla="*/ 85873 h 429364"/>
                <a:gd name="connsiteX1" fmla="*/ 169109 w 338218"/>
                <a:gd name="connsiteY1" fmla="*/ 85873 h 429364"/>
                <a:gd name="connsiteX2" fmla="*/ 169109 w 338218"/>
                <a:gd name="connsiteY2" fmla="*/ 0 h 429364"/>
                <a:gd name="connsiteX3" fmla="*/ 338218 w 338218"/>
                <a:gd name="connsiteY3" fmla="*/ 214682 h 429364"/>
                <a:gd name="connsiteX4" fmla="*/ 169109 w 338218"/>
                <a:gd name="connsiteY4" fmla="*/ 429364 h 429364"/>
                <a:gd name="connsiteX5" fmla="*/ 169109 w 338218"/>
                <a:gd name="connsiteY5" fmla="*/ 343491 h 429364"/>
                <a:gd name="connsiteX6" fmla="*/ 0 w 338218"/>
                <a:gd name="connsiteY6" fmla="*/ 343491 h 429364"/>
                <a:gd name="connsiteX7" fmla="*/ 0 w 338218"/>
                <a:gd name="connsiteY7" fmla="*/ 85873 h 42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18" h="429364">
                  <a:moveTo>
                    <a:pt x="338218" y="343491"/>
                  </a:moveTo>
                  <a:lnTo>
                    <a:pt x="169109" y="343491"/>
                  </a:lnTo>
                  <a:lnTo>
                    <a:pt x="169109" y="429364"/>
                  </a:lnTo>
                  <a:lnTo>
                    <a:pt x="0" y="214682"/>
                  </a:lnTo>
                  <a:lnTo>
                    <a:pt x="169109" y="0"/>
                  </a:lnTo>
                  <a:lnTo>
                    <a:pt x="169109" y="85873"/>
                  </a:lnTo>
                  <a:lnTo>
                    <a:pt x="338218" y="85873"/>
                  </a:lnTo>
                  <a:lnTo>
                    <a:pt x="338218" y="343491"/>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01463" tIns="85873" rIns="1" bIns="85873" numCol="1" spcCol="1270" anchor="ctr" anchorCtr="0">
              <a:noAutofit/>
            </a:bodyPr>
            <a:lstStyle/>
            <a:p>
              <a:pPr algn="ctr" defTabSz="622300">
                <a:lnSpc>
                  <a:spcPct val="90000"/>
                </a:lnSpc>
                <a:spcBef>
                  <a:spcPct val="0"/>
                </a:spcBef>
                <a:spcAft>
                  <a:spcPct val="35000"/>
                </a:spcAft>
              </a:pPr>
              <a:endParaRPr lang="en-US" sz="1400">
                <a:solidFill>
                  <a:srgbClr val="595959"/>
                </a:solidFill>
              </a:endParaRPr>
            </a:p>
          </p:txBody>
        </p:sp>
        <p:sp>
          <p:nvSpPr>
            <p:cNvPr id="10" name="Freeform 9"/>
            <p:cNvSpPr/>
            <p:nvPr/>
          </p:nvSpPr>
          <p:spPr>
            <a:xfrm>
              <a:off x="6415075" y="4367231"/>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1" name="Freeform 10"/>
            <p:cNvSpPr/>
            <p:nvPr/>
          </p:nvSpPr>
          <p:spPr>
            <a:xfrm>
              <a:off x="5936463" y="4788643"/>
              <a:ext cx="338219" cy="429365"/>
            </a:xfrm>
            <a:custGeom>
              <a:avLst/>
              <a:gdLst>
                <a:gd name="connsiteX0" fmla="*/ 0 w 338218"/>
                <a:gd name="connsiteY0" fmla="*/ 85873 h 429364"/>
                <a:gd name="connsiteX1" fmla="*/ 169109 w 338218"/>
                <a:gd name="connsiteY1" fmla="*/ 85873 h 429364"/>
                <a:gd name="connsiteX2" fmla="*/ 169109 w 338218"/>
                <a:gd name="connsiteY2" fmla="*/ 0 h 429364"/>
                <a:gd name="connsiteX3" fmla="*/ 338218 w 338218"/>
                <a:gd name="connsiteY3" fmla="*/ 214682 h 429364"/>
                <a:gd name="connsiteX4" fmla="*/ 169109 w 338218"/>
                <a:gd name="connsiteY4" fmla="*/ 429364 h 429364"/>
                <a:gd name="connsiteX5" fmla="*/ 169109 w 338218"/>
                <a:gd name="connsiteY5" fmla="*/ 343491 h 429364"/>
                <a:gd name="connsiteX6" fmla="*/ 0 w 338218"/>
                <a:gd name="connsiteY6" fmla="*/ 343491 h 429364"/>
                <a:gd name="connsiteX7" fmla="*/ 0 w 338218"/>
                <a:gd name="connsiteY7" fmla="*/ 85873 h 42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18" h="429364">
                  <a:moveTo>
                    <a:pt x="338218" y="343491"/>
                  </a:moveTo>
                  <a:lnTo>
                    <a:pt x="169109" y="343491"/>
                  </a:lnTo>
                  <a:lnTo>
                    <a:pt x="169109" y="429364"/>
                  </a:lnTo>
                  <a:lnTo>
                    <a:pt x="0" y="214682"/>
                  </a:lnTo>
                  <a:lnTo>
                    <a:pt x="169109" y="0"/>
                  </a:lnTo>
                  <a:lnTo>
                    <a:pt x="169109" y="85873"/>
                  </a:lnTo>
                  <a:lnTo>
                    <a:pt x="338218" y="85873"/>
                  </a:lnTo>
                  <a:lnTo>
                    <a:pt x="338218" y="343491"/>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01465" tIns="85874" rIns="1" bIns="85873" numCol="1" spcCol="1270" anchor="ctr" anchorCtr="0">
              <a:noAutofit/>
            </a:bodyPr>
            <a:lstStyle/>
            <a:p>
              <a:pPr algn="ctr" defTabSz="622300">
                <a:lnSpc>
                  <a:spcPct val="90000"/>
                </a:lnSpc>
                <a:spcBef>
                  <a:spcPct val="0"/>
                </a:spcBef>
                <a:spcAft>
                  <a:spcPct val="35000"/>
                </a:spcAft>
              </a:pPr>
              <a:endParaRPr lang="en-US" sz="1400">
                <a:solidFill>
                  <a:srgbClr val="595959"/>
                </a:solidFill>
              </a:endParaRPr>
            </a:p>
          </p:txBody>
        </p:sp>
        <p:sp>
          <p:nvSpPr>
            <p:cNvPr id="15" name="Freeform 14"/>
            <p:cNvSpPr/>
            <p:nvPr/>
          </p:nvSpPr>
          <p:spPr>
            <a:xfrm>
              <a:off x="4504736" y="4367231"/>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6" name="Freeform 15"/>
            <p:cNvSpPr/>
            <p:nvPr/>
          </p:nvSpPr>
          <p:spPr>
            <a:xfrm rot="4320000">
              <a:off x="4679516" y="3889327"/>
              <a:ext cx="338219" cy="429365"/>
            </a:xfrm>
            <a:custGeom>
              <a:avLst/>
              <a:gdLst>
                <a:gd name="connsiteX0" fmla="*/ 0 w 338218"/>
                <a:gd name="connsiteY0" fmla="*/ 85873 h 429364"/>
                <a:gd name="connsiteX1" fmla="*/ 169109 w 338218"/>
                <a:gd name="connsiteY1" fmla="*/ 85873 h 429364"/>
                <a:gd name="connsiteX2" fmla="*/ 169109 w 338218"/>
                <a:gd name="connsiteY2" fmla="*/ 0 h 429364"/>
                <a:gd name="connsiteX3" fmla="*/ 338218 w 338218"/>
                <a:gd name="connsiteY3" fmla="*/ 214682 h 429364"/>
                <a:gd name="connsiteX4" fmla="*/ 169109 w 338218"/>
                <a:gd name="connsiteY4" fmla="*/ 429364 h 429364"/>
                <a:gd name="connsiteX5" fmla="*/ 169109 w 338218"/>
                <a:gd name="connsiteY5" fmla="*/ 343491 h 429364"/>
                <a:gd name="connsiteX6" fmla="*/ 0 w 338218"/>
                <a:gd name="connsiteY6" fmla="*/ 343491 h 429364"/>
                <a:gd name="connsiteX7" fmla="*/ 0 w 338218"/>
                <a:gd name="connsiteY7" fmla="*/ 85873 h 42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18" h="429364">
                  <a:moveTo>
                    <a:pt x="338218" y="343491"/>
                  </a:moveTo>
                  <a:lnTo>
                    <a:pt x="169109" y="343491"/>
                  </a:lnTo>
                  <a:lnTo>
                    <a:pt x="169109" y="429364"/>
                  </a:lnTo>
                  <a:lnTo>
                    <a:pt x="0" y="214682"/>
                  </a:lnTo>
                  <a:lnTo>
                    <a:pt x="169109" y="0"/>
                  </a:lnTo>
                  <a:lnTo>
                    <a:pt x="169109" y="85873"/>
                  </a:lnTo>
                  <a:lnTo>
                    <a:pt x="338218" y="85873"/>
                  </a:lnTo>
                  <a:lnTo>
                    <a:pt x="338218" y="343491"/>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01465" tIns="85872" rIns="0" bIns="85874" numCol="1" spcCol="1270" anchor="ctr" anchorCtr="0">
              <a:noAutofit/>
            </a:bodyPr>
            <a:lstStyle/>
            <a:p>
              <a:pPr algn="ctr" defTabSz="622300">
                <a:lnSpc>
                  <a:spcPct val="90000"/>
                </a:lnSpc>
                <a:spcBef>
                  <a:spcPct val="0"/>
                </a:spcBef>
                <a:spcAft>
                  <a:spcPct val="35000"/>
                </a:spcAft>
              </a:pPr>
              <a:endParaRPr lang="en-US" sz="1400">
                <a:solidFill>
                  <a:srgbClr val="595959"/>
                </a:solidFill>
              </a:endParaRPr>
            </a:p>
          </p:txBody>
        </p:sp>
        <p:sp>
          <p:nvSpPr>
            <p:cNvPr id="17" name="Freeform 16"/>
            <p:cNvSpPr/>
            <p:nvPr/>
          </p:nvSpPr>
          <p:spPr>
            <a:xfrm>
              <a:off x="3914409" y="2550391"/>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8" name="Freeform 17"/>
            <p:cNvSpPr/>
            <p:nvPr/>
          </p:nvSpPr>
          <p:spPr>
            <a:xfrm rot="19440000">
              <a:off x="5146398" y="2415995"/>
              <a:ext cx="338218" cy="429364"/>
            </a:xfrm>
            <a:custGeom>
              <a:avLst/>
              <a:gdLst>
                <a:gd name="connsiteX0" fmla="*/ 0 w 338218"/>
                <a:gd name="connsiteY0" fmla="*/ 85873 h 429364"/>
                <a:gd name="connsiteX1" fmla="*/ 169109 w 338218"/>
                <a:gd name="connsiteY1" fmla="*/ 85873 h 429364"/>
                <a:gd name="connsiteX2" fmla="*/ 169109 w 338218"/>
                <a:gd name="connsiteY2" fmla="*/ 0 h 429364"/>
                <a:gd name="connsiteX3" fmla="*/ 338218 w 338218"/>
                <a:gd name="connsiteY3" fmla="*/ 214682 h 429364"/>
                <a:gd name="connsiteX4" fmla="*/ 169109 w 338218"/>
                <a:gd name="connsiteY4" fmla="*/ 429364 h 429364"/>
                <a:gd name="connsiteX5" fmla="*/ 169109 w 338218"/>
                <a:gd name="connsiteY5" fmla="*/ 343491 h 429364"/>
                <a:gd name="connsiteX6" fmla="*/ 0 w 338218"/>
                <a:gd name="connsiteY6" fmla="*/ 343491 h 429364"/>
                <a:gd name="connsiteX7" fmla="*/ 0 w 338218"/>
                <a:gd name="connsiteY7" fmla="*/ 85873 h 42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18" h="429364">
                  <a:moveTo>
                    <a:pt x="0" y="85873"/>
                  </a:moveTo>
                  <a:lnTo>
                    <a:pt x="169109" y="85873"/>
                  </a:lnTo>
                  <a:lnTo>
                    <a:pt x="169109" y="0"/>
                  </a:lnTo>
                  <a:lnTo>
                    <a:pt x="338218" y="214682"/>
                  </a:lnTo>
                  <a:lnTo>
                    <a:pt x="169109" y="429364"/>
                  </a:lnTo>
                  <a:lnTo>
                    <a:pt x="169109" y="343491"/>
                  </a:lnTo>
                  <a:lnTo>
                    <a:pt x="0" y="343491"/>
                  </a:lnTo>
                  <a:lnTo>
                    <a:pt x="0" y="85873"/>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85873" rIns="101465" bIns="85872" numCol="1" spcCol="1270" anchor="ctr" anchorCtr="0">
              <a:noAutofit/>
            </a:bodyPr>
            <a:lstStyle/>
            <a:p>
              <a:pPr algn="ctr" defTabSz="622300">
                <a:lnSpc>
                  <a:spcPct val="90000"/>
                </a:lnSpc>
                <a:spcBef>
                  <a:spcPct val="0"/>
                </a:spcBef>
                <a:spcAft>
                  <a:spcPct val="35000"/>
                </a:spcAft>
              </a:pPr>
              <a:endParaRPr lang="en-US" sz="1400">
                <a:solidFill>
                  <a:srgbClr val="595959"/>
                </a:solidFill>
              </a:endParaRPr>
            </a:p>
          </p:txBody>
        </p:sp>
      </p:grpSp>
    </p:spTree>
    <p:extLst>
      <p:ext uri="{BB962C8B-B14F-4D97-AF65-F5344CB8AC3E}">
        <p14:creationId xmlns:p14="http://schemas.microsoft.com/office/powerpoint/2010/main" val="287576598"/>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2</a:t>
            </a:fld>
            <a:endParaRPr lang="en-GB" dirty="0"/>
          </a:p>
        </p:txBody>
      </p:sp>
      <p:grpSp>
        <p:nvGrpSpPr>
          <p:cNvPr id="4" name="Group 3"/>
          <p:cNvGrpSpPr/>
          <p:nvPr/>
        </p:nvGrpSpPr>
        <p:grpSpPr>
          <a:xfrm>
            <a:off x="3923364" y="1528763"/>
            <a:ext cx="4345272" cy="4830762"/>
            <a:chOff x="4202608" y="1428534"/>
            <a:chExt cx="3786784" cy="4209875"/>
          </a:xfrm>
        </p:grpSpPr>
        <p:sp>
          <p:nvSpPr>
            <p:cNvPr id="6" name="Freeform 5"/>
            <p:cNvSpPr/>
            <p:nvPr/>
          </p:nvSpPr>
          <p:spPr>
            <a:xfrm>
              <a:off x="5570063" y="14285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7" name="Freeform 6"/>
            <p:cNvSpPr/>
            <p:nvPr/>
          </p:nvSpPr>
          <p:spPr>
            <a:xfrm rot="1800000">
              <a:off x="6633192" y="2167763"/>
              <a:ext cx="279375" cy="355008"/>
            </a:xfrm>
            <a:custGeom>
              <a:avLst/>
              <a:gdLst>
                <a:gd name="connsiteX0" fmla="*/ 0 w 279375"/>
                <a:gd name="connsiteY0" fmla="*/ 71002 h 355008"/>
                <a:gd name="connsiteX1" fmla="*/ 139688 w 279375"/>
                <a:gd name="connsiteY1" fmla="*/ 71002 h 355008"/>
                <a:gd name="connsiteX2" fmla="*/ 139688 w 279375"/>
                <a:gd name="connsiteY2" fmla="*/ 0 h 355008"/>
                <a:gd name="connsiteX3" fmla="*/ 279375 w 279375"/>
                <a:gd name="connsiteY3" fmla="*/ 177504 h 355008"/>
                <a:gd name="connsiteX4" fmla="*/ 139688 w 279375"/>
                <a:gd name="connsiteY4" fmla="*/ 355008 h 355008"/>
                <a:gd name="connsiteX5" fmla="*/ 139688 w 279375"/>
                <a:gd name="connsiteY5" fmla="*/ 284006 h 355008"/>
                <a:gd name="connsiteX6" fmla="*/ 0 w 279375"/>
                <a:gd name="connsiteY6" fmla="*/ 284006 h 355008"/>
                <a:gd name="connsiteX7" fmla="*/ 0 w 279375"/>
                <a:gd name="connsiteY7" fmla="*/ 71002 h 3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375" h="355008">
                  <a:moveTo>
                    <a:pt x="0" y="71002"/>
                  </a:moveTo>
                  <a:lnTo>
                    <a:pt x="139688" y="71002"/>
                  </a:lnTo>
                  <a:lnTo>
                    <a:pt x="139688" y="0"/>
                  </a:lnTo>
                  <a:lnTo>
                    <a:pt x="279375" y="177504"/>
                  </a:lnTo>
                  <a:lnTo>
                    <a:pt x="139688" y="355008"/>
                  </a:lnTo>
                  <a:lnTo>
                    <a:pt x="139688" y="284006"/>
                  </a:lnTo>
                  <a:lnTo>
                    <a:pt x="0" y="284006"/>
                  </a:lnTo>
                  <a:lnTo>
                    <a:pt x="0" y="71002"/>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71001" rIns="83812" bIns="71002" numCol="1" spcCol="1270" anchor="ctr" anchorCtr="0">
              <a:noAutofit/>
            </a:bodyPr>
            <a:lstStyle/>
            <a:p>
              <a:pPr algn="ctr" defTabSz="666750">
                <a:lnSpc>
                  <a:spcPct val="90000"/>
                </a:lnSpc>
                <a:spcBef>
                  <a:spcPct val="0"/>
                </a:spcBef>
                <a:spcAft>
                  <a:spcPct val="35000"/>
                </a:spcAft>
              </a:pPr>
              <a:endParaRPr lang="en-US" sz="1500">
                <a:solidFill>
                  <a:srgbClr val="595959"/>
                </a:solidFill>
              </a:endParaRPr>
            </a:p>
          </p:txBody>
        </p:sp>
        <p:sp>
          <p:nvSpPr>
            <p:cNvPr id="9" name="Freeform 8"/>
            <p:cNvSpPr/>
            <p:nvPr/>
          </p:nvSpPr>
          <p:spPr>
            <a:xfrm>
              <a:off x="6937517" y="22180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0" name="Freeform 9"/>
            <p:cNvSpPr/>
            <p:nvPr/>
          </p:nvSpPr>
          <p:spPr>
            <a:xfrm rot="5400000">
              <a:off x="7323767" y="3348060"/>
              <a:ext cx="279375" cy="355008"/>
            </a:xfrm>
            <a:custGeom>
              <a:avLst/>
              <a:gdLst>
                <a:gd name="connsiteX0" fmla="*/ 0 w 279375"/>
                <a:gd name="connsiteY0" fmla="*/ 71002 h 355008"/>
                <a:gd name="connsiteX1" fmla="*/ 139688 w 279375"/>
                <a:gd name="connsiteY1" fmla="*/ 71002 h 355008"/>
                <a:gd name="connsiteX2" fmla="*/ 139688 w 279375"/>
                <a:gd name="connsiteY2" fmla="*/ 0 h 355008"/>
                <a:gd name="connsiteX3" fmla="*/ 279375 w 279375"/>
                <a:gd name="connsiteY3" fmla="*/ 177504 h 355008"/>
                <a:gd name="connsiteX4" fmla="*/ 139688 w 279375"/>
                <a:gd name="connsiteY4" fmla="*/ 355008 h 355008"/>
                <a:gd name="connsiteX5" fmla="*/ 139688 w 279375"/>
                <a:gd name="connsiteY5" fmla="*/ 284006 h 355008"/>
                <a:gd name="connsiteX6" fmla="*/ 0 w 279375"/>
                <a:gd name="connsiteY6" fmla="*/ 284006 h 355008"/>
                <a:gd name="connsiteX7" fmla="*/ 0 w 279375"/>
                <a:gd name="connsiteY7" fmla="*/ 71002 h 3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375" h="355008">
                  <a:moveTo>
                    <a:pt x="0" y="71002"/>
                  </a:moveTo>
                  <a:lnTo>
                    <a:pt x="139688" y="71002"/>
                  </a:lnTo>
                  <a:lnTo>
                    <a:pt x="139688" y="0"/>
                  </a:lnTo>
                  <a:lnTo>
                    <a:pt x="279375" y="177504"/>
                  </a:lnTo>
                  <a:lnTo>
                    <a:pt x="139688" y="355008"/>
                  </a:lnTo>
                  <a:lnTo>
                    <a:pt x="139688" y="284006"/>
                  </a:lnTo>
                  <a:lnTo>
                    <a:pt x="0" y="284006"/>
                  </a:lnTo>
                  <a:lnTo>
                    <a:pt x="0" y="71002"/>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71001" rIns="83812" bIns="71002" numCol="1" spcCol="1270" anchor="ctr" anchorCtr="0">
              <a:noAutofit/>
            </a:bodyPr>
            <a:lstStyle/>
            <a:p>
              <a:pPr algn="ctr" defTabSz="666750">
                <a:lnSpc>
                  <a:spcPct val="90000"/>
                </a:lnSpc>
                <a:spcBef>
                  <a:spcPct val="0"/>
                </a:spcBef>
                <a:spcAft>
                  <a:spcPct val="35000"/>
                </a:spcAft>
              </a:pPr>
              <a:endParaRPr lang="en-US" sz="1500">
                <a:solidFill>
                  <a:srgbClr val="595959"/>
                </a:solidFill>
              </a:endParaRPr>
            </a:p>
          </p:txBody>
        </p:sp>
        <p:sp>
          <p:nvSpPr>
            <p:cNvPr id="11" name="Freeform 10"/>
            <p:cNvSpPr/>
            <p:nvPr/>
          </p:nvSpPr>
          <p:spPr>
            <a:xfrm>
              <a:off x="6937517" y="37970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5" name="Freeform 14"/>
            <p:cNvSpPr/>
            <p:nvPr/>
          </p:nvSpPr>
          <p:spPr>
            <a:xfrm rot="19800000">
              <a:off x="6646887" y="4536263"/>
              <a:ext cx="279375" cy="355009"/>
            </a:xfrm>
            <a:custGeom>
              <a:avLst/>
              <a:gdLst>
                <a:gd name="connsiteX0" fmla="*/ 0 w 279375"/>
                <a:gd name="connsiteY0" fmla="*/ 71002 h 355008"/>
                <a:gd name="connsiteX1" fmla="*/ 139688 w 279375"/>
                <a:gd name="connsiteY1" fmla="*/ 71002 h 355008"/>
                <a:gd name="connsiteX2" fmla="*/ 139688 w 279375"/>
                <a:gd name="connsiteY2" fmla="*/ 0 h 355008"/>
                <a:gd name="connsiteX3" fmla="*/ 279375 w 279375"/>
                <a:gd name="connsiteY3" fmla="*/ 177504 h 355008"/>
                <a:gd name="connsiteX4" fmla="*/ 139688 w 279375"/>
                <a:gd name="connsiteY4" fmla="*/ 355008 h 355008"/>
                <a:gd name="connsiteX5" fmla="*/ 139688 w 279375"/>
                <a:gd name="connsiteY5" fmla="*/ 284006 h 355008"/>
                <a:gd name="connsiteX6" fmla="*/ 0 w 279375"/>
                <a:gd name="connsiteY6" fmla="*/ 284006 h 355008"/>
                <a:gd name="connsiteX7" fmla="*/ 0 w 279375"/>
                <a:gd name="connsiteY7" fmla="*/ 71002 h 3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375" h="355008">
                  <a:moveTo>
                    <a:pt x="279375" y="284006"/>
                  </a:moveTo>
                  <a:lnTo>
                    <a:pt x="139687" y="284006"/>
                  </a:lnTo>
                  <a:lnTo>
                    <a:pt x="139687" y="355008"/>
                  </a:lnTo>
                  <a:lnTo>
                    <a:pt x="0" y="177504"/>
                  </a:lnTo>
                  <a:lnTo>
                    <a:pt x="139687" y="0"/>
                  </a:lnTo>
                  <a:lnTo>
                    <a:pt x="139687" y="71002"/>
                  </a:lnTo>
                  <a:lnTo>
                    <a:pt x="279375" y="71002"/>
                  </a:lnTo>
                  <a:lnTo>
                    <a:pt x="279375" y="284006"/>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83811" tIns="71003" rIns="0" bIns="71001" numCol="1" spcCol="1270" anchor="ctr" anchorCtr="0">
              <a:noAutofit/>
            </a:bodyPr>
            <a:lstStyle/>
            <a:p>
              <a:pPr algn="ctr" defTabSz="666750">
                <a:lnSpc>
                  <a:spcPct val="90000"/>
                </a:lnSpc>
                <a:spcBef>
                  <a:spcPct val="0"/>
                </a:spcBef>
                <a:spcAft>
                  <a:spcPct val="35000"/>
                </a:spcAft>
              </a:pPr>
              <a:endParaRPr lang="en-US" sz="1500">
                <a:solidFill>
                  <a:srgbClr val="595959"/>
                </a:solidFill>
              </a:endParaRPr>
            </a:p>
          </p:txBody>
        </p:sp>
        <p:sp>
          <p:nvSpPr>
            <p:cNvPr id="16" name="Freeform 15"/>
            <p:cNvSpPr/>
            <p:nvPr/>
          </p:nvSpPr>
          <p:spPr>
            <a:xfrm>
              <a:off x="5570063" y="45865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7" name="Freeform 16"/>
            <p:cNvSpPr/>
            <p:nvPr/>
          </p:nvSpPr>
          <p:spPr>
            <a:xfrm rot="1800000">
              <a:off x="5279432" y="4544170"/>
              <a:ext cx="279376" cy="355009"/>
            </a:xfrm>
            <a:custGeom>
              <a:avLst/>
              <a:gdLst>
                <a:gd name="connsiteX0" fmla="*/ 0 w 279375"/>
                <a:gd name="connsiteY0" fmla="*/ 71002 h 355008"/>
                <a:gd name="connsiteX1" fmla="*/ 139688 w 279375"/>
                <a:gd name="connsiteY1" fmla="*/ 71002 h 355008"/>
                <a:gd name="connsiteX2" fmla="*/ 139688 w 279375"/>
                <a:gd name="connsiteY2" fmla="*/ 0 h 355008"/>
                <a:gd name="connsiteX3" fmla="*/ 279375 w 279375"/>
                <a:gd name="connsiteY3" fmla="*/ 177504 h 355008"/>
                <a:gd name="connsiteX4" fmla="*/ 139688 w 279375"/>
                <a:gd name="connsiteY4" fmla="*/ 355008 h 355008"/>
                <a:gd name="connsiteX5" fmla="*/ 139688 w 279375"/>
                <a:gd name="connsiteY5" fmla="*/ 284006 h 355008"/>
                <a:gd name="connsiteX6" fmla="*/ 0 w 279375"/>
                <a:gd name="connsiteY6" fmla="*/ 284006 h 355008"/>
                <a:gd name="connsiteX7" fmla="*/ 0 w 279375"/>
                <a:gd name="connsiteY7" fmla="*/ 71002 h 3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375" h="355008">
                  <a:moveTo>
                    <a:pt x="279375" y="284006"/>
                  </a:moveTo>
                  <a:lnTo>
                    <a:pt x="139687" y="284006"/>
                  </a:lnTo>
                  <a:lnTo>
                    <a:pt x="139687" y="355008"/>
                  </a:lnTo>
                  <a:lnTo>
                    <a:pt x="0" y="177504"/>
                  </a:lnTo>
                  <a:lnTo>
                    <a:pt x="139687" y="0"/>
                  </a:lnTo>
                  <a:lnTo>
                    <a:pt x="139687" y="71002"/>
                  </a:lnTo>
                  <a:lnTo>
                    <a:pt x="279375" y="71002"/>
                  </a:lnTo>
                  <a:lnTo>
                    <a:pt x="279375" y="284006"/>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83812" tIns="71002" rIns="0" bIns="71002" numCol="1" spcCol="1270" anchor="ctr" anchorCtr="0">
              <a:noAutofit/>
            </a:bodyPr>
            <a:lstStyle/>
            <a:p>
              <a:pPr algn="ctr" defTabSz="666750">
                <a:lnSpc>
                  <a:spcPct val="90000"/>
                </a:lnSpc>
                <a:spcBef>
                  <a:spcPct val="0"/>
                </a:spcBef>
                <a:spcAft>
                  <a:spcPct val="35000"/>
                </a:spcAft>
              </a:pPr>
              <a:endParaRPr lang="en-US" sz="1500">
                <a:solidFill>
                  <a:srgbClr val="595959"/>
                </a:solidFill>
              </a:endParaRPr>
            </a:p>
          </p:txBody>
        </p:sp>
        <p:sp>
          <p:nvSpPr>
            <p:cNvPr id="18" name="Freeform 17"/>
            <p:cNvSpPr/>
            <p:nvPr/>
          </p:nvSpPr>
          <p:spPr>
            <a:xfrm>
              <a:off x="4202608" y="37970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9" name="Freeform 18"/>
            <p:cNvSpPr/>
            <p:nvPr/>
          </p:nvSpPr>
          <p:spPr>
            <a:xfrm rot="16200000">
              <a:off x="4588858" y="3363873"/>
              <a:ext cx="279375" cy="355008"/>
            </a:xfrm>
            <a:custGeom>
              <a:avLst/>
              <a:gdLst>
                <a:gd name="connsiteX0" fmla="*/ 0 w 279375"/>
                <a:gd name="connsiteY0" fmla="*/ 71002 h 355008"/>
                <a:gd name="connsiteX1" fmla="*/ 139688 w 279375"/>
                <a:gd name="connsiteY1" fmla="*/ 71002 h 355008"/>
                <a:gd name="connsiteX2" fmla="*/ 139688 w 279375"/>
                <a:gd name="connsiteY2" fmla="*/ 0 h 355008"/>
                <a:gd name="connsiteX3" fmla="*/ 279375 w 279375"/>
                <a:gd name="connsiteY3" fmla="*/ 177504 h 355008"/>
                <a:gd name="connsiteX4" fmla="*/ 139688 w 279375"/>
                <a:gd name="connsiteY4" fmla="*/ 355008 h 355008"/>
                <a:gd name="connsiteX5" fmla="*/ 139688 w 279375"/>
                <a:gd name="connsiteY5" fmla="*/ 284006 h 355008"/>
                <a:gd name="connsiteX6" fmla="*/ 0 w 279375"/>
                <a:gd name="connsiteY6" fmla="*/ 284006 h 355008"/>
                <a:gd name="connsiteX7" fmla="*/ 0 w 279375"/>
                <a:gd name="connsiteY7" fmla="*/ 71002 h 3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375" h="355008">
                  <a:moveTo>
                    <a:pt x="0" y="71002"/>
                  </a:moveTo>
                  <a:lnTo>
                    <a:pt x="139688" y="71002"/>
                  </a:lnTo>
                  <a:lnTo>
                    <a:pt x="139688" y="0"/>
                  </a:lnTo>
                  <a:lnTo>
                    <a:pt x="279375" y="177504"/>
                  </a:lnTo>
                  <a:lnTo>
                    <a:pt x="139688" y="355008"/>
                  </a:lnTo>
                  <a:lnTo>
                    <a:pt x="139688" y="284006"/>
                  </a:lnTo>
                  <a:lnTo>
                    <a:pt x="0" y="284006"/>
                  </a:lnTo>
                  <a:lnTo>
                    <a:pt x="0" y="71002"/>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71002" rIns="83812" bIns="71001" numCol="1" spcCol="1270" anchor="ctr" anchorCtr="0">
              <a:noAutofit/>
            </a:bodyPr>
            <a:lstStyle/>
            <a:p>
              <a:pPr algn="ctr" defTabSz="666750">
                <a:lnSpc>
                  <a:spcPct val="90000"/>
                </a:lnSpc>
                <a:spcBef>
                  <a:spcPct val="0"/>
                </a:spcBef>
                <a:spcAft>
                  <a:spcPct val="35000"/>
                </a:spcAft>
              </a:pPr>
              <a:endParaRPr lang="en-US" sz="1500">
                <a:solidFill>
                  <a:srgbClr val="595959"/>
                </a:solidFill>
              </a:endParaRPr>
            </a:p>
          </p:txBody>
        </p:sp>
        <p:sp>
          <p:nvSpPr>
            <p:cNvPr id="20" name="Freeform 19"/>
            <p:cNvSpPr/>
            <p:nvPr/>
          </p:nvSpPr>
          <p:spPr>
            <a:xfrm>
              <a:off x="4202608" y="22180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21" name="Freeform 20"/>
            <p:cNvSpPr/>
            <p:nvPr/>
          </p:nvSpPr>
          <p:spPr>
            <a:xfrm rot="19800000">
              <a:off x="5265738" y="2175670"/>
              <a:ext cx="279375" cy="355008"/>
            </a:xfrm>
            <a:custGeom>
              <a:avLst/>
              <a:gdLst>
                <a:gd name="connsiteX0" fmla="*/ 0 w 279375"/>
                <a:gd name="connsiteY0" fmla="*/ 71002 h 355008"/>
                <a:gd name="connsiteX1" fmla="*/ 139688 w 279375"/>
                <a:gd name="connsiteY1" fmla="*/ 71002 h 355008"/>
                <a:gd name="connsiteX2" fmla="*/ 139688 w 279375"/>
                <a:gd name="connsiteY2" fmla="*/ 0 h 355008"/>
                <a:gd name="connsiteX3" fmla="*/ 279375 w 279375"/>
                <a:gd name="connsiteY3" fmla="*/ 177504 h 355008"/>
                <a:gd name="connsiteX4" fmla="*/ 139688 w 279375"/>
                <a:gd name="connsiteY4" fmla="*/ 355008 h 355008"/>
                <a:gd name="connsiteX5" fmla="*/ 139688 w 279375"/>
                <a:gd name="connsiteY5" fmla="*/ 284006 h 355008"/>
                <a:gd name="connsiteX6" fmla="*/ 0 w 279375"/>
                <a:gd name="connsiteY6" fmla="*/ 284006 h 355008"/>
                <a:gd name="connsiteX7" fmla="*/ 0 w 279375"/>
                <a:gd name="connsiteY7" fmla="*/ 71002 h 3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375" h="355008">
                  <a:moveTo>
                    <a:pt x="0" y="71002"/>
                  </a:moveTo>
                  <a:lnTo>
                    <a:pt x="139688" y="71002"/>
                  </a:lnTo>
                  <a:lnTo>
                    <a:pt x="139688" y="0"/>
                  </a:lnTo>
                  <a:lnTo>
                    <a:pt x="279375" y="177504"/>
                  </a:lnTo>
                  <a:lnTo>
                    <a:pt x="139688" y="355008"/>
                  </a:lnTo>
                  <a:lnTo>
                    <a:pt x="139688" y="284006"/>
                  </a:lnTo>
                  <a:lnTo>
                    <a:pt x="0" y="284006"/>
                  </a:lnTo>
                  <a:lnTo>
                    <a:pt x="0" y="71002"/>
                  </a:lnTo>
                  <a:close/>
                </a:path>
              </a:pathLst>
            </a:cu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71002" rIns="83812" bIns="71001" numCol="1" spcCol="1270" anchor="ctr" anchorCtr="0">
              <a:noAutofit/>
            </a:bodyPr>
            <a:lstStyle/>
            <a:p>
              <a:pPr algn="ctr" defTabSz="666750">
                <a:lnSpc>
                  <a:spcPct val="90000"/>
                </a:lnSpc>
                <a:spcBef>
                  <a:spcPct val="0"/>
                </a:spcBef>
                <a:spcAft>
                  <a:spcPct val="35000"/>
                </a:spcAft>
              </a:pPr>
              <a:endParaRPr lang="en-US" sz="1500">
                <a:solidFill>
                  <a:srgbClr val="595959"/>
                </a:solidFill>
              </a:endParaRPr>
            </a:p>
          </p:txBody>
        </p:sp>
      </p:grpSp>
    </p:spTree>
    <p:extLst>
      <p:ext uri="{BB962C8B-B14F-4D97-AF65-F5344CB8AC3E}">
        <p14:creationId xmlns:p14="http://schemas.microsoft.com/office/powerpoint/2010/main" val="3926544262"/>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3</a:t>
            </a:fld>
            <a:endParaRPr lang="en-GB" dirty="0"/>
          </a:p>
        </p:txBody>
      </p:sp>
      <p:grpSp>
        <p:nvGrpSpPr>
          <p:cNvPr id="4" name="Group 3"/>
          <p:cNvGrpSpPr/>
          <p:nvPr/>
        </p:nvGrpSpPr>
        <p:grpSpPr>
          <a:xfrm>
            <a:off x="3449485" y="1528763"/>
            <a:ext cx="5293029" cy="4830762"/>
            <a:chOff x="4004216" y="1585169"/>
            <a:chExt cx="4220847" cy="3852219"/>
          </a:xfrm>
        </p:grpSpPr>
        <p:sp>
          <p:nvSpPr>
            <p:cNvPr id="11" name="Oval 10"/>
            <p:cNvSpPr/>
            <p:nvPr/>
          </p:nvSpPr>
          <p:spPr>
            <a:xfrm>
              <a:off x="4698710" y="2329748"/>
              <a:ext cx="2840530" cy="2840530"/>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sz="1400">
                  <a:solidFill>
                    <a:schemeClr val="tx1"/>
                  </a:solidFill>
                </a:rPr>
                <a:t>Text</a:t>
              </a:r>
            </a:p>
          </p:txBody>
        </p:sp>
        <p:sp>
          <p:nvSpPr>
            <p:cNvPr id="5" name="Freeform 4"/>
            <p:cNvSpPr/>
            <p:nvPr/>
          </p:nvSpPr>
          <p:spPr>
            <a:xfrm>
              <a:off x="5379958" y="1585169"/>
              <a:ext cx="1469364" cy="1469364"/>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Freeform 6"/>
            <p:cNvSpPr/>
            <p:nvPr/>
          </p:nvSpPr>
          <p:spPr>
            <a:xfrm>
              <a:off x="6755699" y="3968024"/>
              <a:ext cx="1469364" cy="1469364"/>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9" name="Freeform 8"/>
            <p:cNvSpPr/>
            <p:nvPr/>
          </p:nvSpPr>
          <p:spPr>
            <a:xfrm>
              <a:off x="4004216" y="3968024"/>
              <a:ext cx="1469364" cy="1469364"/>
            </a:xfrm>
            <a:custGeom>
              <a:avLst/>
              <a:gdLst>
                <a:gd name="connsiteX0" fmla="*/ 0 w 1469364"/>
                <a:gd name="connsiteY0" fmla="*/ 734682 h 1469364"/>
                <a:gd name="connsiteX1" fmla="*/ 734682 w 1469364"/>
                <a:gd name="connsiteY1" fmla="*/ 0 h 1469364"/>
                <a:gd name="connsiteX2" fmla="*/ 1469364 w 1469364"/>
                <a:gd name="connsiteY2" fmla="*/ 734682 h 1469364"/>
                <a:gd name="connsiteX3" fmla="*/ 734682 w 1469364"/>
                <a:gd name="connsiteY3" fmla="*/ 1469364 h 1469364"/>
                <a:gd name="connsiteX4" fmla="*/ 0 w 1469364"/>
                <a:gd name="connsiteY4" fmla="*/ 734682 h 146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4" h="1469364">
                  <a:moveTo>
                    <a:pt x="0" y="734682"/>
                  </a:moveTo>
                  <a:cubicBezTo>
                    <a:pt x="0" y="328928"/>
                    <a:pt x="328928" y="0"/>
                    <a:pt x="734682" y="0"/>
                  </a:cubicBezTo>
                  <a:cubicBezTo>
                    <a:pt x="1140436" y="0"/>
                    <a:pt x="1469364" y="328928"/>
                    <a:pt x="1469364" y="734682"/>
                  </a:cubicBezTo>
                  <a:cubicBezTo>
                    <a:pt x="1469364" y="1140436"/>
                    <a:pt x="1140436" y="1469364"/>
                    <a:pt x="734682" y="1469364"/>
                  </a:cubicBezTo>
                  <a:cubicBezTo>
                    <a:pt x="328928" y="1469364"/>
                    <a:pt x="0" y="1140436"/>
                    <a:pt x="0" y="73468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grpSp>
    </p:spTree>
    <p:extLst>
      <p:ext uri="{BB962C8B-B14F-4D97-AF65-F5344CB8AC3E}">
        <p14:creationId xmlns:p14="http://schemas.microsoft.com/office/powerpoint/2010/main" val="1775466718"/>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4</a:t>
            </a:fld>
            <a:endParaRPr lang="en-GB" dirty="0"/>
          </a:p>
        </p:txBody>
      </p:sp>
      <p:grpSp>
        <p:nvGrpSpPr>
          <p:cNvPr id="4" name="Group 3"/>
          <p:cNvGrpSpPr/>
          <p:nvPr/>
        </p:nvGrpSpPr>
        <p:grpSpPr>
          <a:xfrm>
            <a:off x="3680618" y="1528763"/>
            <a:ext cx="4830763" cy="4830762"/>
            <a:chOff x="3900702" y="1359164"/>
            <a:chExt cx="4348616" cy="4348615"/>
          </a:xfrm>
        </p:grpSpPr>
        <p:sp>
          <p:nvSpPr>
            <p:cNvPr id="12" name="Oval 11"/>
            <p:cNvSpPr/>
            <p:nvPr/>
          </p:nvSpPr>
          <p:spPr>
            <a:xfrm>
              <a:off x="4656358" y="2128748"/>
              <a:ext cx="2840530" cy="2840530"/>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sz="1400">
                  <a:solidFill>
                    <a:schemeClr val="tx1"/>
                  </a:solidFill>
                </a:rPr>
                <a:t>Text</a:t>
              </a:r>
            </a:p>
          </p:txBody>
        </p:sp>
        <p:sp>
          <p:nvSpPr>
            <p:cNvPr id="5" name="Freeform 4"/>
            <p:cNvSpPr/>
            <p:nvPr/>
          </p:nvSpPr>
          <p:spPr>
            <a:xfrm>
              <a:off x="5332278" y="1359164"/>
              <a:ext cx="1485465" cy="1485465"/>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Freeform 6"/>
            <p:cNvSpPr/>
            <p:nvPr/>
          </p:nvSpPr>
          <p:spPr>
            <a:xfrm>
              <a:off x="6763853" y="2790739"/>
              <a:ext cx="1485465" cy="1485465"/>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9" name="Freeform 8"/>
            <p:cNvSpPr/>
            <p:nvPr/>
          </p:nvSpPr>
          <p:spPr>
            <a:xfrm>
              <a:off x="5332278" y="4222314"/>
              <a:ext cx="1485465" cy="1485465"/>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11" name="Freeform 10"/>
            <p:cNvSpPr/>
            <p:nvPr/>
          </p:nvSpPr>
          <p:spPr>
            <a:xfrm>
              <a:off x="3900702" y="2790739"/>
              <a:ext cx="1485465" cy="1485465"/>
            </a:xfrm>
            <a:custGeom>
              <a:avLst/>
              <a:gdLst>
                <a:gd name="connsiteX0" fmla="*/ 0 w 1485465"/>
                <a:gd name="connsiteY0" fmla="*/ 742733 h 1485465"/>
                <a:gd name="connsiteX1" fmla="*/ 742733 w 1485465"/>
                <a:gd name="connsiteY1" fmla="*/ 0 h 1485465"/>
                <a:gd name="connsiteX2" fmla="*/ 1485466 w 1485465"/>
                <a:gd name="connsiteY2" fmla="*/ 742733 h 1485465"/>
                <a:gd name="connsiteX3" fmla="*/ 742733 w 1485465"/>
                <a:gd name="connsiteY3" fmla="*/ 1485466 h 1485465"/>
                <a:gd name="connsiteX4" fmla="*/ 0 w 1485465"/>
                <a:gd name="connsiteY4" fmla="*/ 742733 h 1485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465" h="1485465">
                  <a:moveTo>
                    <a:pt x="0" y="742733"/>
                  </a:moveTo>
                  <a:cubicBezTo>
                    <a:pt x="0" y="332533"/>
                    <a:pt x="332533" y="0"/>
                    <a:pt x="742733" y="0"/>
                  </a:cubicBezTo>
                  <a:cubicBezTo>
                    <a:pt x="1152933" y="0"/>
                    <a:pt x="1485466" y="332533"/>
                    <a:pt x="1485466" y="742733"/>
                  </a:cubicBezTo>
                  <a:cubicBezTo>
                    <a:pt x="1485466" y="1152933"/>
                    <a:pt x="1152933" y="1485466"/>
                    <a:pt x="742733" y="1485466"/>
                  </a:cubicBezTo>
                  <a:cubicBezTo>
                    <a:pt x="332533" y="1485466"/>
                    <a:pt x="0" y="1152933"/>
                    <a:pt x="0" y="7427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grpSp>
    </p:spTree>
    <p:extLst>
      <p:ext uri="{BB962C8B-B14F-4D97-AF65-F5344CB8AC3E}">
        <p14:creationId xmlns:p14="http://schemas.microsoft.com/office/powerpoint/2010/main" val="2120733506"/>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5</a:t>
            </a:fld>
            <a:endParaRPr lang="en-GB" dirty="0"/>
          </a:p>
        </p:txBody>
      </p:sp>
      <p:grpSp>
        <p:nvGrpSpPr>
          <p:cNvPr id="4" name="Group 3"/>
          <p:cNvGrpSpPr/>
          <p:nvPr/>
        </p:nvGrpSpPr>
        <p:grpSpPr>
          <a:xfrm>
            <a:off x="3593862" y="1528763"/>
            <a:ext cx="5004275" cy="4830762"/>
            <a:chOff x="3914409" y="1427522"/>
            <a:chExt cx="4363182" cy="4211898"/>
          </a:xfrm>
        </p:grpSpPr>
        <p:sp>
          <p:nvSpPr>
            <p:cNvPr id="14" name="Oval 13"/>
            <p:cNvSpPr/>
            <p:nvPr/>
          </p:nvSpPr>
          <p:spPr>
            <a:xfrm>
              <a:off x="4674632" y="2188068"/>
              <a:ext cx="2840530" cy="2840530"/>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sz="1400">
                  <a:solidFill>
                    <a:schemeClr val="tx1"/>
                  </a:solidFill>
                </a:rPr>
                <a:t>Text</a:t>
              </a:r>
            </a:p>
          </p:txBody>
        </p:sp>
        <p:sp>
          <p:nvSpPr>
            <p:cNvPr id="5" name="Freeform 4"/>
            <p:cNvSpPr/>
            <p:nvPr/>
          </p:nvSpPr>
          <p:spPr>
            <a:xfrm>
              <a:off x="5459906" y="1427522"/>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7" name="Freeform 6"/>
            <p:cNvSpPr/>
            <p:nvPr/>
          </p:nvSpPr>
          <p:spPr>
            <a:xfrm>
              <a:off x="7005402" y="2550391"/>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0" name="Freeform 9"/>
            <p:cNvSpPr/>
            <p:nvPr/>
          </p:nvSpPr>
          <p:spPr>
            <a:xfrm>
              <a:off x="6415075" y="4367231"/>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5" name="Freeform 14"/>
            <p:cNvSpPr/>
            <p:nvPr/>
          </p:nvSpPr>
          <p:spPr>
            <a:xfrm>
              <a:off x="4504736" y="4367231"/>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7" name="Freeform 16"/>
            <p:cNvSpPr/>
            <p:nvPr/>
          </p:nvSpPr>
          <p:spPr>
            <a:xfrm>
              <a:off x="3914409" y="2550391"/>
              <a:ext cx="1272189" cy="1272189"/>
            </a:xfrm>
            <a:custGeom>
              <a:avLst/>
              <a:gdLst>
                <a:gd name="connsiteX0" fmla="*/ 0 w 1272189"/>
                <a:gd name="connsiteY0" fmla="*/ 636095 h 1272189"/>
                <a:gd name="connsiteX1" fmla="*/ 636095 w 1272189"/>
                <a:gd name="connsiteY1" fmla="*/ 0 h 1272189"/>
                <a:gd name="connsiteX2" fmla="*/ 1272190 w 1272189"/>
                <a:gd name="connsiteY2" fmla="*/ 636095 h 1272189"/>
                <a:gd name="connsiteX3" fmla="*/ 636095 w 1272189"/>
                <a:gd name="connsiteY3" fmla="*/ 1272190 h 1272189"/>
                <a:gd name="connsiteX4" fmla="*/ 0 w 1272189"/>
                <a:gd name="connsiteY4" fmla="*/ 636095 h 1272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189" h="1272189">
                  <a:moveTo>
                    <a:pt x="0" y="636095"/>
                  </a:moveTo>
                  <a:cubicBezTo>
                    <a:pt x="0" y="284789"/>
                    <a:pt x="284789" y="0"/>
                    <a:pt x="636095" y="0"/>
                  </a:cubicBezTo>
                  <a:cubicBezTo>
                    <a:pt x="987401" y="0"/>
                    <a:pt x="1272190" y="284789"/>
                    <a:pt x="1272190" y="636095"/>
                  </a:cubicBezTo>
                  <a:cubicBezTo>
                    <a:pt x="1272190" y="987401"/>
                    <a:pt x="987401" y="1272190"/>
                    <a:pt x="636095" y="1272190"/>
                  </a:cubicBezTo>
                  <a:cubicBezTo>
                    <a:pt x="284789" y="1272190"/>
                    <a:pt x="0" y="987401"/>
                    <a:pt x="0" y="63609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grpSp>
    </p:spTree>
    <p:extLst>
      <p:ext uri="{BB962C8B-B14F-4D97-AF65-F5344CB8AC3E}">
        <p14:creationId xmlns:p14="http://schemas.microsoft.com/office/powerpoint/2010/main" val="3617512424"/>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6</a:t>
            </a:fld>
            <a:endParaRPr lang="en-GB" dirty="0"/>
          </a:p>
        </p:txBody>
      </p:sp>
      <p:grpSp>
        <p:nvGrpSpPr>
          <p:cNvPr id="4" name="Group 3"/>
          <p:cNvGrpSpPr/>
          <p:nvPr/>
        </p:nvGrpSpPr>
        <p:grpSpPr>
          <a:xfrm>
            <a:off x="3923364" y="1528763"/>
            <a:ext cx="4345272" cy="4830762"/>
            <a:chOff x="4202608" y="1428534"/>
            <a:chExt cx="3786784" cy="4209875"/>
          </a:xfrm>
        </p:grpSpPr>
        <p:sp>
          <p:nvSpPr>
            <p:cNvPr id="22" name="Oval 21"/>
            <p:cNvSpPr/>
            <p:nvPr/>
          </p:nvSpPr>
          <p:spPr>
            <a:xfrm>
              <a:off x="4674632" y="2113322"/>
              <a:ext cx="2840530" cy="2840530"/>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sz="1400">
                  <a:solidFill>
                    <a:schemeClr val="tx1"/>
                  </a:solidFill>
                </a:rPr>
                <a:t>Text</a:t>
              </a:r>
            </a:p>
          </p:txBody>
        </p:sp>
        <p:sp>
          <p:nvSpPr>
            <p:cNvPr id="6" name="Freeform 5"/>
            <p:cNvSpPr/>
            <p:nvPr/>
          </p:nvSpPr>
          <p:spPr>
            <a:xfrm>
              <a:off x="5570063" y="14285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9" name="Freeform 8"/>
            <p:cNvSpPr/>
            <p:nvPr/>
          </p:nvSpPr>
          <p:spPr>
            <a:xfrm>
              <a:off x="6937517" y="22180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1" name="Freeform 10"/>
            <p:cNvSpPr/>
            <p:nvPr/>
          </p:nvSpPr>
          <p:spPr>
            <a:xfrm>
              <a:off x="6937517" y="37970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6" name="Freeform 15"/>
            <p:cNvSpPr/>
            <p:nvPr/>
          </p:nvSpPr>
          <p:spPr>
            <a:xfrm>
              <a:off x="5570063" y="45865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8" name="Freeform 17"/>
            <p:cNvSpPr/>
            <p:nvPr/>
          </p:nvSpPr>
          <p:spPr>
            <a:xfrm>
              <a:off x="4202608" y="37970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20" name="Freeform 19"/>
            <p:cNvSpPr/>
            <p:nvPr/>
          </p:nvSpPr>
          <p:spPr>
            <a:xfrm>
              <a:off x="4202608" y="2218034"/>
              <a:ext cx="1051875" cy="1051875"/>
            </a:xfrm>
            <a:custGeom>
              <a:avLst/>
              <a:gdLst>
                <a:gd name="connsiteX0" fmla="*/ 0 w 1051875"/>
                <a:gd name="connsiteY0" fmla="*/ 525938 h 1051875"/>
                <a:gd name="connsiteX1" fmla="*/ 525938 w 1051875"/>
                <a:gd name="connsiteY1" fmla="*/ 0 h 1051875"/>
                <a:gd name="connsiteX2" fmla="*/ 1051876 w 1051875"/>
                <a:gd name="connsiteY2" fmla="*/ 525938 h 1051875"/>
                <a:gd name="connsiteX3" fmla="*/ 525938 w 1051875"/>
                <a:gd name="connsiteY3" fmla="*/ 1051876 h 1051875"/>
                <a:gd name="connsiteX4" fmla="*/ 0 w 1051875"/>
                <a:gd name="connsiteY4" fmla="*/ 525938 h 105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875" h="1051875">
                  <a:moveTo>
                    <a:pt x="0" y="525938"/>
                  </a:moveTo>
                  <a:cubicBezTo>
                    <a:pt x="0" y="235470"/>
                    <a:pt x="235470" y="0"/>
                    <a:pt x="525938" y="0"/>
                  </a:cubicBezTo>
                  <a:cubicBezTo>
                    <a:pt x="816406" y="0"/>
                    <a:pt x="1051876" y="235470"/>
                    <a:pt x="1051876" y="525938"/>
                  </a:cubicBezTo>
                  <a:cubicBezTo>
                    <a:pt x="1051876" y="816406"/>
                    <a:pt x="816406" y="1051876"/>
                    <a:pt x="525938" y="1051876"/>
                  </a:cubicBezTo>
                  <a:cubicBezTo>
                    <a:pt x="235470" y="1051876"/>
                    <a:pt x="0" y="816406"/>
                    <a:pt x="0" y="52593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grpSp>
    </p:spTree>
    <p:extLst>
      <p:ext uri="{BB962C8B-B14F-4D97-AF65-F5344CB8AC3E}">
        <p14:creationId xmlns:p14="http://schemas.microsoft.com/office/powerpoint/2010/main" val="2924552020"/>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7</a:t>
            </a:fld>
            <a:endParaRPr lang="en-GB" dirty="0"/>
          </a:p>
        </p:txBody>
      </p:sp>
      <p:grpSp>
        <p:nvGrpSpPr>
          <p:cNvPr id="4" name="Group 3"/>
          <p:cNvGrpSpPr/>
          <p:nvPr/>
        </p:nvGrpSpPr>
        <p:grpSpPr>
          <a:xfrm>
            <a:off x="3298774" y="1515931"/>
            <a:ext cx="5594452" cy="4843594"/>
            <a:chOff x="4004216" y="1684105"/>
            <a:chExt cx="4220847" cy="3654347"/>
          </a:xfrm>
        </p:grpSpPr>
        <p:sp>
          <p:nvSpPr>
            <p:cNvPr id="11" name="Oval 10"/>
            <p:cNvSpPr/>
            <p:nvPr/>
          </p:nvSpPr>
          <p:spPr>
            <a:xfrm>
              <a:off x="4698710" y="2329748"/>
              <a:ext cx="2840530" cy="2840530"/>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sz="1400">
                  <a:solidFill>
                    <a:schemeClr val="tx1"/>
                  </a:solidFill>
                </a:rPr>
                <a:t>Text</a:t>
              </a:r>
            </a:p>
          </p:txBody>
        </p:sp>
        <p:sp>
          <p:nvSpPr>
            <p:cNvPr id="5" name="Rectangle 4"/>
            <p:cNvSpPr/>
            <p:nvPr/>
          </p:nvSpPr>
          <p:spPr>
            <a:xfrm>
              <a:off x="5379958" y="1684105"/>
              <a:ext cx="1469364" cy="1271492"/>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Rectangle 6"/>
            <p:cNvSpPr/>
            <p:nvPr/>
          </p:nvSpPr>
          <p:spPr>
            <a:xfrm>
              <a:off x="6755699" y="4066960"/>
              <a:ext cx="1469364" cy="1271492"/>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9" name="Rectangle 8"/>
            <p:cNvSpPr/>
            <p:nvPr/>
          </p:nvSpPr>
          <p:spPr>
            <a:xfrm>
              <a:off x="4004216" y="4066960"/>
              <a:ext cx="1469364" cy="1271492"/>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2963" tIns="232963" rIns="232963" bIns="232963"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grpSp>
    </p:spTree>
    <p:extLst>
      <p:ext uri="{BB962C8B-B14F-4D97-AF65-F5344CB8AC3E}">
        <p14:creationId xmlns:p14="http://schemas.microsoft.com/office/powerpoint/2010/main" val="1612675167"/>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8</a:t>
            </a:fld>
            <a:endParaRPr lang="en-GB" dirty="0"/>
          </a:p>
        </p:txBody>
      </p:sp>
      <p:grpSp>
        <p:nvGrpSpPr>
          <p:cNvPr id="4" name="Group 3"/>
          <p:cNvGrpSpPr/>
          <p:nvPr/>
        </p:nvGrpSpPr>
        <p:grpSpPr>
          <a:xfrm>
            <a:off x="3474903" y="1528763"/>
            <a:ext cx="5242194" cy="4830762"/>
            <a:chOff x="3900702" y="1529813"/>
            <a:chExt cx="4348616" cy="4007316"/>
          </a:xfrm>
        </p:grpSpPr>
        <p:sp>
          <p:nvSpPr>
            <p:cNvPr id="12" name="Oval 11"/>
            <p:cNvSpPr/>
            <p:nvPr/>
          </p:nvSpPr>
          <p:spPr>
            <a:xfrm>
              <a:off x="4656358" y="2128748"/>
              <a:ext cx="2840530" cy="2840530"/>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sz="1400">
                  <a:solidFill>
                    <a:schemeClr val="tx1"/>
                  </a:solidFill>
                </a:rPr>
                <a:t>Text</a:t>
              </a:r>
            </a:p>
          </p:txBody>
        </p:sp>
        <p:sp>
          <p:nvSpPr>
            <p:cNvPr id="5" name="Rectangle 4"/>
            <p:cNvSpPr/>
            <p:nvPr/>
          </p:nvSpPr>
          <p:spPr>
            <a:xfrm>
              <a:off x="5332278" y="1529813"/>
              <a:ext cx="1485465" cy="114416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7" name="Rectangle 6"/>
            <p:cNvSpPr/>
            <p:nvPr/>
          </p:nvSpPr>
          <p:spPr>
            <a:xfrm>
              <a:off x="6763853" y="2961388"/>
              <a:ext cx="1485465" cy="114416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9" name="Rectangle 8"/>
            <p:cNvSpPr/>
            <p:nvPr/>
          </p:nvSpPr>
          <p:spPr>
            <a:xfrm>
              <a:off x="5332278" y="4392963"/>
              <a:ext cx="1485465" cy="114416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sp>
          <p:nvSpPr>
            <p:cNvPr id="11" name="Rectangle 10"/>
            <p:cNvSpPr/>
            <p:nvPr/>
          </p:nvSpPr>
          <p:spPr>
            <a:xfrm>
              <a:off x="3900702" y="2961388"/>
              <a:ext cx="1485465" cy="114416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5321" tIns="235321" rIns="235321" bIns="235321"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p>
          </p:txBody>
        </p:sp>
      </p:grpSp>
    </p:spTree>
    <p:extLst>
      <p:ext uri="{BB962C8B-B14F-4D97-AF65-F5344CB8AC3E}">
        <p14:creationId xmlns:p14="http://schemas.microsoft.com/office/powerpoint/2010/main" val="699308321"/>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49</a:t>
            </a:fld>
            <a:endParaRPr lang="en-GB" dirty="0"/>
          </a:p>
        </p:txBody>
      </p:sp>
      <p:grpSp>
        <p:nvGrpSpPr>
          <p:cNvPr id="4" name="Group 3"/>
          <p:cNvGrpSpPr/>
          <p:nvPr/>
        </p:nvGrpSpPr>
        <p:grpSpPr>
          <a:xfrm>
            <a:off x="3465610" y="1531224"/>
            <a:ext cx="5260780" cy="4828301"/>
            <a:chOff x="3914409" y="1531224"/>
            <a:chExt cx="4363182" cy="4004493"/>
          </a:xfrm>
        </p:grpSpPr>
        <p:sp>
          <p:nvSpPr>
            <p:cNvPr id="14" name="Oval 13"/>
            <p:cNvSpPr/>
            <p:nvPr/>
          </p:nvSpPr>
          <p:spPr>
            <a:xfrm>
              <a:off x="4674632" y="2188068"/>
              <a:ext cx="2840530" cy="2840530"/>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sz="1400">
                  <a:solidFill>
                    <a:schemeClr val="tx1"/>
                  </a:solidFill>
                </a:rPr>
                <a:t>Text</a:t>
              </a:r>
            </a:p>
          </p:txBody>
        </p:sp>
        <p:sp>
          <p:nvSpPr>
            <p:cNvPr id="5" name="Rectangle 4"/>
            <p:cNvSpPr/>
            <p:nvPr/>
          </p:nvSpPr>
          <p:spPr>
            <a:xfrm>
              <a:off x="5459906" y="1531224"/>
              <a:ext cx="1272189" cy="1064784"/>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7" name="Rectangle 6"/>
            <p:cNvSpPr/>
            <p:nvPr/>
          </p:nvSpPr>
          <p:spPr>
            <a:xfrm>
              <a:off x="7005402" y="2654093"/>
              <a:ext cx="1272189" cy="1064784"/>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0" name="Rectangle 9"/>
            <p:cNvSpPr/>
            <p:nvPr/>
          </p:nvSpPr>
          <p:spPr>
            <a:xfrm>
              <a:off x="6415075" y="4470933"/>
              <a:ext cx="1272189" cy="1064784"/>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5" name="Rectangle 14"/>
            <p:cNvSpPr/>
            <p:nvPr/>
          </p:nvSpPr>
          <p:spPr>
            <a:xfrm>
              <a:off x="4504736" y="4470933"/>
              <a:ext cx="1272189" cy="1064784"/>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sp>
          <p:nvSpPr>
            <p:cNvPr id="17" name="Rectangle 16"/>
            <p:cNvSpPr/>
            <p:nvPr/>
          </p:nvSpPr>
          <p:spPr>
            <a:xfrm>
              <a:off x="3914409" y="2654093"/>
              <a:ext cx="1272189" cy="1064784"/>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088" tIns="204088" rIns="204088" bIns="204088" numCol="1" spcCol="1270" anchor="ctr" anchorCtr="0">
              <a:noAutofit/>
            </a:bodyPr>
            <a:lstStyle/>
            <a:p>
              <a:pPr algn="ctr" defTabSz="622300">
                <a:lnSpc>
                  <a:spcPct val="90000"/>
                </a:lnSpc>
                <a:spcBef>
                  <a:spcPct val="0"/>
                </a:spcBef>
                <a:spcAft>
                  <a:spcPct val="35000"/>
                </a:spcAft>
              </a:pPr>
              <a:r>
                <a:rPr lang="en-US" sz="1400">
                  <a:solidFill>
                    <a:schemeClr val="tx1"/>
                  </a:solidFill>
                </a:rPr>
                <a:t>Text</a:t>
              </a:r>
              <a:endParaRPr lang="en-US" sz="1400">
                <a:solidFill>
                  <a:srgbClr val="595959"/>
                </a:solidFill>
              </a:endParaRPr>
            </a:p>
          </p:txBody>
        </p:sp>
      </p:grpSp>
    </p:spTree>
    <p:extLst>
      <p:ext uri="{BB962C8B-B14F-4D97-AF65-F5344CB8AC3E}">
        <p14:creationId xmlns:p14="http://schemas.microsoft.com/office/powerpoint/2010/main" val="403353048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5</a:t>
            </a:fld>
            <a:endParaRPr lang="en-GB" dirty="0"/>
          </a:p>
        </p:txBody>
      </p:sp>
      <p:grpSp>
        <p:nvGrpSpPr>
          <p:cNvPr id="5" name="Group 4"/>
          <p:cNvGrpSpPr/>
          <p:nvPr/>
        </p:nvGrpSpPr>
        <p:grpSpPr>
          <a:xfrm>
            <a:off x="508000" y="1528763"/>
            <a:ext cx="11171237" cy="4830762"/>
            <a:chOff x="508000" y="1528763"/>
            <a:chExt cx="11171237" cy="4830762"/>
          </a:xfrm>
        </p:grpSpPr>
        <p:sp>
          <p:nvSpPr>
            <p:cNvPr id="15" name="Rectangle 14"/>
            <p:cNvSpPr/>
            <p:nvPr/>
          </p:nvSpPr>
          <p:spPr>
            <a:xfrm>
              <a:off x="508000" y="1888225"/>
              <a:ext cx="3425256" cy="1956858"/>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dirty="0">
                  <a:solidFill>
                    <a:schemeClr val="accent2"/>
                  </a:solidFill>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cs typeface="Futura Medium"/>
              </a:endParaRPr>
            </a:p>
            <a:p>
              <a:pPr defTabSz="914400">
                <a:lnSpc>
                  <a:spcPct val="140000"/>
                </a:lnSpc>
                <a:defRPr/>
              </a:pPr>
              <a:endParaRPr lang="en-US" sz="1200" kern="0" dirty="0">
                <a:solidFill>
                  <a:srgbClr val="595959"/>
                </a:solidFill>
                <a:cs typeface="Futura Bold"/>
              </a:endParaRPr>
            </a:p>
          </p:txBody>
        </p:sp>
        <p:sp>
          <p:nvSpPr>
            <p:cNvPr id="30" name="Rectangle 29"/>
            <p:cNvSpPr/>
            <p:nvPr/>
          </p:nvSpPr>
          <p:spPr>
            <a:xfrm>
              <a:off x="508000" y="1528763"/>
              <a:ext cx="3425256" cy="359462"/>
            </a:xfrm>
            <a:prstGeom prst="rect">
              <a:avLst/>
            </a:prstGeom>
            <a:solidFill>
              <a:schemeClr val="accent1"/>
            </a:solidFill>
            <a:ln w="12700" cmpd="sng">
              <a:solidFill>
                <a:schemeClr val="accent1"/>
              </a:solidFill>
            </a:ln>
          </p:spPr>
          <p:txBody>
            <a:bodyPr lIns="127000" rIns="63500" rtlCol="0" anchor="ctr"/>
            <a:lstStyle/>
            <a:p>
              <a:pPr defTabSz="914400">
                <a:defRPr/>
              </a:pPr>
              <a:r>
                <a:rPr lang="en-US" sz="1200" kern="0" dirty="0">
                  <a:solidFill>
                    <a:srgbClr val="535353"/>
                  </a:solidFill>
                  <a:latin typeface="Futura Bold"/>
                  <a:cs typeface="Futura Bold"/>
                </a:rPr>
                <a:t>Title</a:t>
              </a:r>
            </a:p>
          </p:txBody>
        </p:sp>
        <p:sp>
          <p:nvSpPr>
            <p:cNvPr id="37" name="Rectangle 36"/>
            <p:cNvSpPr/>
            <p:nvPr/>
          </p:nvSpPr>
          <p:spPr>
            <a:xfrm>
              <a:off x="8253981" y="1888225"/>
              <a:ext cx="3425256" cy="1956858"/>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dirty="0">
                  <a:solidFill>
                    <a:schemeClr val="accent2"/>
                  </a:solidFill>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cs typeface="Futura Medium"/>
              </a:endParaRPr>
            </a:p>
            <a:p>
              <a:pPr defTabSz="914400">
                <a:lnSpc>
                  <a:spcPct val="140000"/>
                </a:lnSpc>
                <a:defRPr/>
              </a:pPr>
              <a:endParaRPr lang="en-US" sz="1200" kern="0" dirty="0">
                <a:solidFill>
                  <a:srgbClr val="595959"/>
                </a:solidFill>
                <a:cs typeface="Futura Bold"/>
              </a:endParaRPr>
            </a:p>
          </p:txBody>
        </p:sp>
        <p:sp>
          <p:nvSpPr>
            <p:cNvPr id="38" name="Rectangle 37"/>
            <p:cNvSpPr/>
            <p:nvPr/>
          </p:nvSpPr>
          <p:spPr>
            <a:xfrm>
              <a:off x="8253981" y="1528763"/>
              <a:ext cx="3425256" cy="359462"/>
            </a:xfrm>
            <a:prstGeom prst="rect">
              <a:avLst/>
            </a:prstGeom>
            <a:solidFill>
              <a:schemeClr val="accent1"/>
            </a:solidFill>
            <a:ln w="12700" cmpd="sng">
              <a:solidFill>
                <a:schemeClr val="accent1"/>
              </a:solidFill>
            </a:ln>
          </p:spPr>
          <p:txBody>
            <a:bodyPr lIns="127000" rIns="63500" rtlCol="0" anchor="ctr"/>
            <a:lstStyle/>
            <a:p>
              <a:pPr defTabSz="914400">
                <a:defRPr/>
              </a:pPr>
              <a:r>
                <a:rPr lang="en-US" sz="1200" kern="0" dirty="0">
                  <a:solidFill>
                    <a:srgbClr val="535353"/>
                  </a:solidFill>
                  <a:latin typeface="Futura Bold"/>
                  <a:cs typeface="Futura Bold"/>
                </a:rPr>
                <a:t>Title</a:t>
              </a:r>
            </a:p>
          </p:txBody>
        </p:sp>
        <p:sp>
          <p:nvSpPr>
            <p:cNvPr id="43" name="Rectangle 42"/>
            <p:cNvSpPr/>
            <p:nvPr/>
          </p:nvSpPr>
          <p:spPr>
            <a:xfrm>
              <a:off x="4380990" y="1888225"/>
              <a:ext cx="3425256" cy="1956858"/>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dirty="0">
                  <a:solidFill>
                    <a:schemeClr val="accent2"/>
                  </a:solidFill>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cs typeface="Futura Medium"/>
              </a:endParaRPr>
            </a:p>
            <a:p>
              <a:pPr defTabSz="914400">
                <a:lnSpc>
                  <a:spcPct val="140000"/>
                </a:lnSpc>
                <a:defRPr/>
              </a:pPr>
              <a:endParaRPr lang="en-US" sz="1200" kern="0" dirty="0">
                <a:solidFill>
                  <a:srgbClr val="595959"/>
                </a:solidFill>
                <a:cs typeface="Futura Bold"/>
              </a:endParaRPr>
            </a:p>
          </p:txBody>
        </p:sp>
        <p:sp>
          <p:nvSpPr>
            <p:cNvPr id="44" name="Rectangle 43"/>
            <p:cNvSpPr/>
            <p:nvPr/>
          </p:nvSpPr>
          <p:spPr>
            <a:xfrm>
              <a:off x="4380990" y="1528763"/>
              <a:ext cx="3425256" cy="359462"/>
            </a:xfrm>
            <a:prstGeom prst="rect">
              <a:avLst/>
            </a:prstGeom>
            <a:solidFill>
              <a:schemeClr val="accent1"/>
            </a:solidFill>
            <a:ln w="12700" cmpd="sng">
              <a:solidFill>
                <a:schemeClr val="accent1"/>
              </a:solidFill>
            </a:ln>
          </p:spPr>
          <p:txBody>
            <a:bodyPr lIns="127000" rIns="63500" rtlCol="0" anchor="ctr"/>
            <a:lstStyle/>
            <a:p>
              <a:pPr defTabSz="914400">
                <a:defRPr/>
              </a:pPr>
              <a:r>
                <a:rPr lang="en-US" sz="1200" kern="0" dirty="0">
                  <a:solidFill>
                    <a:srgbClr val="535353"/>
                  </a:solidFill>
                  <a:latin typeface="Futura Bold"/>
                  <a:cs typeface="Futura Bold"/>
                </a:rPr>
                <a:t>Title</a:t>
              </a:r>
            </a:p>
          </p:txBody>
        </p:sp>
        <p:sp>
          <p:nvSpPr>
            <p:cNvPr id="45" name="Rectangle 44"/>
            <p:cNvSpPr/>
            <p:nvPr/>
          </p:nvSpPr>
          <p:spPr>
            <a:xfrm>
              <a:off x="508000" y="4402667"/>
              <a:ext cx="3425256" cy="1956858"/>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dirty="0">
                  <a:solidFill>
                    <a:schemeClr val="accent2"/>
                  </a:solidFill>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cs typeface="Futura Medium"/>
              </a:endParaRPr>
            </a:p>
            <a:p>
              <a:pPr defTabSz="914400">
                <a:lnSpc>
                  <a:spcPct val="140000"/>
                </a:lnSpc>
                <a:defRPr/>
              </a:pPr>
              <a:endParaRPr lang="en-US" sz="1200" kern="0" dirty="0">
                <a:solidFill>
                  <a:srgbClr val="595959"/>
                </a:solidFill>
                <a:cs typeface="Futura Bold"/>
              </a:endParaRPr>
            </a:p>
          </p:txBody>
        </p:sp>
        <p:sp>
          <p:nvSpPr>
            <p:cNvPr id="46" name="Rectangle 45"/>
            <p:cNvSpPr/>
            <p:nvPr/>
          </p:nvSpPr>
          <p:spPr>
            <a:xfrm>
              <a:off x="508000" y="4043205"/>
              <a:ext cx="3425256" cy="359462"/>
            </a:xfrm>
            <a:prstGeom prst="rect">
              <a:avLst/>
            </a:prstGeom>
            <a:solidFill>
              <a:schemeClr val="accent1"/>
            </a:solidFill>
            <a:ln w="12700" cmpd="sng">
              <a:solidFill>
                <a:schemeClr val="accent1"/>
              </a:solidFill>
            </a:ln>
          </p:spPr>
          <p:txBody>
            <a:bodyPr lIns="127000" rIns="63500" rtlCol="0" anchor="ctr"/>
            <a:lstStyle/>
            <a:p>
              <a:pPr defTabSz="914400">
                <a:defRPr/>
              </a:pPr>
              <a:r>
                <a:rPr lang="en-US" sz="1200" kern="0" dirty="0">
                  <a:solidFill>
                    <a:srgbClr val="535353"/>
                  </a:solidFill>
                  <a:latin typeface="Futura Bold"/>
                  <a:cs typeface="Futura Bold"/>
                </a:rPr>
                <a:t>Title</a:t>
              </a:r>
            </a:p>
          </p:txBody>
        </p:sp>
        <p:sp>
          <p:nvSpPr>
            <p:cNvPr id="47" name="Rectangle 46"/>
            <p:cNvSpPr/>
            <p:nvPr/>
          </p:nvSpPr>
          <p:spPr>
            <a:xfrm>
              <a:off x="8253981" y="4402667"/>
              <a:ext cx="3425256" cy="1956858"/>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dirty="0">
                  <a:solidFill>
                    <a:schemeClr val="accent2"/>
                  </a:solidFill>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cs typeface="Futura Medium"/>
              </a:endParaRPr>
            </a:p>
            <a:p>
              <a:pPr defTabSz="914400">
                <a:lnSpc>
                  <a:spcPct val="140000"/>
                </a:lnSpc>
                <a:defRPr/>
              </a:pPr>
              <a:endParaRPr lang="en-US" sz="1200" kern="0" dirty="0">
                <a:solidFill>
                  <a:srgbClr val="595959"/>
                </a:solidFill>
                <a:cs typeface="Futura Bold"/>
              </a:endParaRPr>
            </a:p>
          </p:txBody>
        </p:sp>
        <p:sp>
          <p:nvSpPr>
            <p:cNvPr id="48" name="Rectangle 47"/>
            <p:cNvSpPr/>
            <p:nvPr/>
          </p:nvSpPr>
          <p:spPr>
            <a:xfrm>
              <a:off x="8253981" y="4043205"/>
              <a:ext cx="3425256" cy="359462"/>
            </a:xfrm>
            <a:prstGeom prst="rect">
              <a:avLst/>
            </a:prstGeom>
            <a:solidFill>
              <a:schemeClr val="accent1"/>
            </a:solidFill>
            <a:ln w="12700" cmpd="sng">
              <a:solidFill>
                <a:schemeClr val="accent1"/>
              </a:solidFill>
            </a:ln>
          </p:spPr>
          <p:txBody>
            <a:bodyPr lIns="127000" rIns="63500" rtlCol="0" anchor="ctr"/>
            <a:lstStyle/>
            <a:p>
              <a:pPr defTabSz="914400">
                <a:defRPr/>
              </a:pPr>
              <a:r>
                <a:rPr lang="en-US" sz="1200" kern="0" dirty="0">
                  <a:solidFill>
                    <a:srgbClr val="535353"/>
                  </a:solidFill>
                  <a:latin typeface="Futura Bold"/>
                  <a:cs typeface="Futura Bold"/>
                </a:rPr>
                <a:t>Title</a:t>
              </a:r>
            </a:p>
          </p:txBody>
        </p:sp>
        <p:sp>
          <p:nvSpPr>
            <p:cNvPr id="49" name="Rectangle 48"/>
            <p:cNvSpPr/>
            <p:nvPr/>
          </p:nvSpPr>
          <p:spPr>
            <a:xfrm>
              <a:off x="4380990" y="4402667"/>
              <a:ext cx="3425256" cy="1956858"/>
            </a:xfrm>
            <a:prstGeom prst="rect">
              <a:avLst/>
            </a:prstGeom>
            <a:solidFill>
              <a:srgbClr val="FFFFFF"/>
            </a:solidFill>
            <a:ln w="9525" cap="flat" cmpd="sng" algn="ctr">
              <a:solidFill>
                <a:schemeClr val="bg2"/>
              </a:solidFill>
              <a:prstDash val="solid"/>
            </a:ln>
            <a:effectLst/>
          </p:spPr>
          <p:txBody>
            <a:bodyPr lIns="127000" tIns="127000" rIns="38100" rtlCol="0" anchor="t"/>
            <a:lstStyle/>
            <a:p>
              <a:pPr lvl="0">
                <a:lnSpc>
                  <a:spcPct val="140000"/>
                </a:lnSpc>
                <a:defRPr/>
              </a:pPr>
              <a:r>
                <a:rPr lang="en-US" sz="1400" kern="0" dirty="0">
                  <a:solidFill>
                    <a:srgbClr val="535353"/>
                  </a:solidFill>
                  <a:cs typeface="Futura Medium"/>
                </a:rPr>
                <a:t>Lorem ipsum dolor sit amet, </a:t>
              </a:r>
              <a:r>
                <a:rPr lang="en-US" sz="1400" dirty="0">
                  <a:solidFill>
                    <a:schemeClr val="accent2"/>
                  </a:solidFill>
                </a:rPr>
                <a:t>mattis leo semper </a:t>
              </a:r>
              <a:r>
                <a:rPr lang="en-US" sz="1400" kern="0" dirty="0">
                  <a:solidFill>
                    <a:srgbClr val="535353"/>
                  </a:solidFill>
                  <a:cs typeface="Futura Medium"/>
                </a:rPr>
                <a:t>nullam eros sed eiusmod</a:t>
              </a:r>
            </a:p>
            <a:p>
              <a:pPr defTabSz="914400">
                <a:lnSpc>
                  <a:spcPct val="140000"/>
                </a:lnSpc>
                <a:defRPr/>
              </a:pPr>
              <a:endParaRPr lang="en-US" sz="1200" kern="0" dirty="0">
                <a:solidFill>
                  <a:srgbClr val="595959"/>
                </a:solidFill>
                <a:cs typeface="Futura Medium"/>
              </a:endParaRPr>
            </a:p>
            <a:p>
              <a:pPr defTabSz="914400">
                <a:lnSpc>
                  <a:spcPct val="140000"/>
                </a:lnSpc>
                <a:defRPr/>
              </a:pPr>
              <a:endParaRPr lang="en-US" sz="1200" kern="0" dirty="0">
                <a:solidFill>
                  <a:srgbClr val="595959"/>
                </a:solidFill>
                <a:cs typeface="Futura Bold"/>
              </a:endParaRPr>
            </a:p>
          </p:txBody>
        </p:sp>
        <p:sp>
          <p:nvSpPr>
            <p:cNvPr id="50" name="Rectangle 49"/>
            <p:cNvSpPr/>
            <p:nvPr/>
          </p:nvSpPr>
          <p:spPr>
            <a:xfrm>
              <a:off x="4380990" y="4043205"/>
              <a:ext cx="3425256" cy="359462"/>
            </a:xfrm>
            <a:prstGeom prst="rect">
              <a:avLst/>
            </a:prstGeom>
            <a:solidFill>
              <a:schemeClr val="accent1"/>
            </a:solidFill>
            <a:ln w="12700" cmpd="sng">
              <a:solidFill>
                <a:schemeClr val="accent1"/>
              </a:solidFill>
            </a:ln>
          </p:spPr>
          <p:txBody>
            <a:bodyPr lIns="127000" rIns="63500" rtlCol="0" anchor="ctr"/>
            <a:lstStyle/>
            <a:p>
              <a:pPr defTabSz="914400">
                <a:defRPr/>
              </a:pPr>
              <a:r>
                <a:rPr lang="en-US" sz="1200" kern="0" dirty="0">
                  <a:solidFill>
                    <a:srgbClr val="535353"/>
                  </a:solidFill>
                  <a:latin typeface="Futura Bold"/>
                  <a:cs typeface="Futura Bold"/>
                </a:rPr>
                <a:t>Title</a:t>
              </a:r>
            </a:p>
          </p:txBody>
        </p:sp>
      </p:grpSp>
    </p:spTree>
    <p:extLst>
      <p:ext uri="{BB962C8B-B14F-4D97-AF65-F5344CB8AC3E}">
        <p14:creationId xmlns:p14="http://schemas.microsoft.com/office/powerpoint/2010/main" val="2241128350"/>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ycle</a:t>
            </a:r>
          </a:p>
        </p:txBody>
      </p:sp>
      <p:sp>
        <p:nvSpPr>
          <p:cNvPr id="3" name="Slide Number Placeholder 2"/>
          <p:cNvSpPr>
            <a:spLocks noGrp="1"/>
          </p:cNvSpPr>
          <p:nvPr>
            <p:ph type="sldNum" sz="quarter" idx="4"/>
          </p:nvPr>
        </p:nvSpPr>
        <p:spPr/>
        <p:txBody>
          <a:bodyPr/>
          <a:lstStyle/>
          <a:p>
            <a:fld id="{D32BAE6A-B452-4007-8177-56DD051636F9}" type="slidenum">
              <a:rPr lang="en-GB" smtClean="0"/>
              <a:pPr/>
              <a:t>50</a:t>
            </a:fld>
            <a:endParaRPr lang="en-GB" dirty="0"/>
          </a:p>
        </p:txBody>
      </p:sp>
      <p:grpSp>
        <p:nvGrpSpPr>
          <p:cNvPr id="4" name="Group 3"/>
          <p:cNvGrpSpPr/>
          <p:nvPr/>
        </p:nvGrpSpPr>
        <p:grpSpPr>
          <a:xfrm>
            <a:off x="3817215" y="1517116"/>
            <a:ext cx="4557570" cy="4853551"/>
            <a:chOff x="4202608" y="1517117"/>
            <a:chExt cx="3786784" cy="4032708"/>
          </a:xfrm>
        </p:grpSpPr>
        <p:sp>
          <p:nvSpPr>
            <p:cNvPr id="22" name="Oval 21"/>
            <p:cNvSpPr/>
            <p:nvPr/>
          </p:nvSpPr>
          <p:spPr>
            <a:xfrm>
              <a:off x="4674632" y="2113322"/>
              <a:ext cx="2840530" cy="2840530"/>
            </a:xfrm>
            <a:prstGeom prst="ellipse">
              <a:avLst/>
            </a:prstGeom>
            <a:solidFill>
              <a:schemeClr val="bg1"/>
            </a:solidFill>
            <a:ln w="1270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en-US" sz="1400">
                  <a:solidFill>
                    <a:schemeClr val="tx1"/>
                  </a:solidFill>
                </a:rPr>
                <a:t>Text</a:t>
              </a:r>
            </a:p>
          </p:txBody>
        </p:sp>
        <p:sp>
          <p:nvSpPr>
            <p:cNvPr id="6" name="Rectangle 5"/>
            <p:cNvSpPr/>
            <p:nvPr/>
          </p:nvSpPr>
          <p:spPr>
            <a:xfrm>
              <a:off x="5570063" y="1517117"/>
              <a:ext cx="1051875" cy="87470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9" name="Rectangle 8"/>
            <p:cNvSpPr/>
            <p:nvPr/>
          </p:nvSpPr>
          <p:spPr>
            <a:xfrm>
              <a:off x="6937517" y="2391825"/>
              <a:ext cx="1051875" cy="87470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1" name="Rectangle 10"/>
            <p:cNvSpPr/>
            <p:nvPr/>
          </p:nvSpPr>
          <p:spPr>
            <a:xfrm>
              <a:off x="6937517" y="3800409"/>
              <a:ext cx="1051875" cy="87470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6" name="Rectangle 15"/>
            <p:cNvSpPr/>
            <p:nvPr/>
          </p:nvSpPr>
          <p:spPr>
            <a:xfrm>
              <a:off x="5570063" y="4675117"/>
              <a:ext cx="1051875" cy="87470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18" name="Rectangle 17"/>
            <p:cNvSpPr/>
            <p:nvPr/>
          </p:nvSpPr>
          <p:spPr>
            <a:xfrm>
              <a:off x="4202608" y="3800409"/>
              <a:ext cx="1051875" cy="87470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sp>
          <p:nvSpPr>
            <p:cNvPr id="20" name="Rectangle 19"/>
            <p:cNvSpPr/>
            <p:nvPr/>
          </p:nvSpPr>
          <p:spPr>
            <a:xfrm>
              <a:off x="4202608" y="2391825"/>
              <a:ext cx="1051875" cy="87470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1824" tIns="171824" rIns="171824" bIns="171824" numCol="1" spcCol="1270" anchor="ctr" anchorCtr="0">
              <a:noAutofit/>
            </a:bodyPr>
            <a:lstStyle/>
            <a:p>
              <a:pPr algn="ctr" defTabSz="622300">
                <a:lnSpc>
                  <a:spcPct val="90000"/>
                </a:lnSpc>
                <a:spcBef>
                  <a:spcPct val="0"/>
                </a:spcBef>
                <a:spcAft>
                  <a:spcPct val="35000"/>
                </a:spcAft>
              </a:pPr>
              <a:r>
                <a:rPr lang="en-US" sz="1400">
                  <a:solidFill>
                    <a:srgbClr val="535353"/>
                  </a:solidFill>
                </a:rPr>
                <a:t>Text</a:t>
              </a:r>
            </a:p>
          </p:txBody>
        </p:sp>
      </p:grpSp>
    </p:spTree>
    <p:extLst>
      <p:ext uri="{BB962C8B-B14F-4D97-AF65-F5344CB8AC3E}">
        <p14:creationId xmlns:p14="http://schemas.microsoft.com/office/powerpoint/2010/main" val="692601719"/>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ogram</a:t>
            </a:r>
          </a:p>
        </p:txBody>
      </p:sp>
      <p:sp>
        <p:nvSpPr>
          <p:cNvPr id="4" name="Slide Number Placeholder 3"/>
          <p:cNvSpPr>
            <a:spLocks noGrp="1"/>
          </p:cNvSpPr>
          <p:nvPr>
            <p:ph type="sldNum" sz="quarter" idx="4"/>
          </p:nvPr>
        </p:nvSpPr>
        <p:spPr/>
        <p:txBody>
          <a:bodyPr/>
          <a:lstStyle/>
          <a:p>
            <a:fld id="{D32BAE6A-B452-4007-8177-56DD051636F9}" type="slidenum">
              <a:rPr lang="en-GB" smtClean="0"/>
              <a:pPr/>
              <a:t>51</a:t>
            </a:fld>
            <a:endParaRPr lang="en-GB" dirty="0"/>
          </a:p>
        </p:txBody>
      </p:sp>
      <p:grpSp>
        <p:nvGrpSpPr>
          <p:cNvPr id="3" name="Group 2"/>
          <p:cNvGrpSpPr/>
          <p:nvPr/>
        </p:nvGrpSpPr>
        <p:grpSpPr>
          <a:xfrm>
            <a:off x="508000" y="1528763"/>
            <a:ext cx="11171238" cy="4830762"/>
            <a:chOff x="2032000" y="1553643"/>
            <a:chExt cx="8073331" cy="4011337"/>
          </a:xfrm>
        </p:grpSpPr>
        <p:sp>
          <p:nvSpPr>
            <p:cNvPr id="47" name="AutoShape 13"/>
            <p:cNvSpPr>
              <a:spLocks noChangeArrowheads="1"/>
            </p:cNvSpPr>
            <p:nvPr/>
          </p:nvSpPr>
          <p:spPr bwMode="auto">
            <a:xfrm>
              <a:off x="5242830" y="1553643"/>
              <a:ext cx="1651000" cy="812800"/>
            </a:xfrm>
            <a:prstGeom prst="rect">
              <a:avLst/>
            </a:prstGeom>
            <a:solidFill>
              <a:schemeClr val="accent1"/>
            </a:solidFill>
            <a:ln w="19050">
              <a:noFill/>
              <a:round/>
              <a:headEnd/>
              <a:tailEnd/>
            </a:ln>
            <a:effectLst/>
          </p:spPr>
          <p:txBody>
            <a:bodyPr wrap="square" lIns="76200" tIns="50800" rIns="36000" bIns="36000" anchor="t" anchorCtr="0"/>
            <a:lstStyle/>
            <a:p>
              <a:pPr defTabSz="914400">
                <a:lnSpc>
                  <a:spcPct val="110000"/>
                </a:lnSpc>
                <a:defRPr/>
              </a:pPr>
              <a:r>
                <a:rPr lang="en-MY" sz="1000" kern="0" dirty="0">
                  <a:latin typeface="+mj-lt"/>
                </a:rPr>
                <a:t>Name</a:t>
              </a:r>
            </a:p>
            <a:p>
              <a:pPr defTabSz="914400">
                <a:lnSpc>
                  <a:spcPct val="110000"/>
                </a:lnSpc>
                <a:defRPr/>
              </a:pPr>
              <a:endParaRPr lang="en-MY" sz="1000" kern="0" dirty="0">
                <a:latin typeface="+mj-lt"/>
              </a:endParaRPr>
            </a:p>
            <a:p>
              <a:pPr defTabSz="914400">
                <a:lnSpc>
                  <a:spcPct val="110000"/>
                </a:lnSpc>
                <a:defRPr/>
              </a:pPr>
              <a:r>
                <a:rPr lang="en-MY" sz="1000" kern="0" dirty="0"/>
                <a:t>Job Title	</a:t>
              </a:r>
            </a:p>
            <a:p>
              <a:pPr defTabSz="914400">
                <a:lnSpc>
                  <a:spcPct val="110000"/>
                </a:lnSpc>
                <a:defRPr/>
              </a:pPr>
              <a:r>
                <a:rPr lang="en-MY" sz="1000" kern="0" dirty="0"/>
                <a:t>Company</a:t>
              </a:r>
            </a:p>
          </p:txBody>
        </p:sp>
        <p:sp>
          <p:nvSpPr>
            <p:cNvPr id="48" name="AutoShape 13"/>
            <p:cNvSpPr>
              <a:spLocks noChangeArrowheads="1"/>
            </p:cNvSpPr>
            <p:nvPr/>
          </p:nvSpPr>
          <p:spPr bwMode="auto">
            <a:xfrm>
              <a:off x="6313330" y="2619822"/>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p:txBody>
        </p:sp>
        <p:sp>
          <p:nvSpPr>
            <p:cNvPr id="49" name="AutoShape 13"/>
            <p:cNvSpPr>
              <a:spLocks noChangeArrowheads="1"/>
            </p:cNvSpPr>
            <p:nvPr/>
          </p:nvSpPr>
          <p:spPr bwMode="auto">
            <a:xfrm>
              <a:off x="2032000" y="2619822"/>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0" name="AutoShape 13"/>
            <p:cNvSpPr>
              <a:spLocks noChangeArrowheads="1"/>
            </p:cNvSpPr>
            <p:nvPr/>
          </p:nvSpPr>
          <p:spPr bwMode="auto">
            <a:xfrm>
              <a:off x="4172331" y="2619822"/>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p:txBody>
        </p:sp>
        <p:sp>
          <p:nvSpPr>
            <p:cNvPr id="51" name="AutoShape 13"/>
            <p:cNvSpPr>
              <a:spLocks noChangeArrowheads="1"/>
            </p:cNvSpPr>
            <p:nvPr/>
          </p:nvSpPr>
          <p:spPr bwMode="auto">
            <a:xfrm>
              <a:off x="8454329" y="2619822"/>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a:p>
              <a:pPr defTabSz="914400">
                <a:lnSpc>
                  <a:spcPct val="110000"/>
                </a:lnSpc>
                <a:defRPr/>
              </a:pPr>
              <a:endParaRPr lang="en-MY" sz="1000" kern="0" dirty="0">
                <a:solidFill>
                  <a:srgbClr val="595959"/>
                </a:solidFill>
              </a:endParaRPr>
            </a:p>
          </p:txBody>
        </p:sp>
        <p:sp>
          <p:nvSpPr>
            <p:cNvPr id="52" name="AutoShape 13"/>
            <p:cNvSpPr>
              <a:spLocks noChangeArrowheads="1"/>
            </p:cNvSpPr>
            <p:nvPr/>
          </p:nvSpPr>
          <p:spPr bwMode="auto">
            <a:xfrm>
              <a:off x="6313391" y="3686001"/>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3" name="AutoShape 13"/>
            <p:cNvSpPr>
              <a:spLocks noChangeArrowheads="1"/>
            </p:cNvSpPr>
            <p:nvPr/>
          </p:nvSpPr>
          <p:spPr bwMode="auto">
            <a:xfrm>
              <a:off x="8454331" y="3686001"/>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fr-FR" sz="1000" kern="0" dirty="0">
                <a:solidFill>
                  <a:srgbClr val="595959"/>
                </a:solidFill>
              </a:endParaRPr>
            </a:p>
            <a:p>
              <a:pPr defTabSz="914400">
                <a:lnSpc>
                  <a:spcPct val="110000"/>
                </a:lnSpc>
                <a:defRPr/>
              </a:pPr>
              <a:endParaRPr lang="fr-FR" sz="1000" kern="0" dirty="0">
                <a:solidFill>
                  <a:srgbClr val="595959"/>
                </a:solidFill>
              </a:endParaRPr>
            </a:p>
          </p:txBody>
        </p:sp>
        <p:sp>
          <p:nvSpPr>
            <p:cNvPr id="54" name="AutoShape 13"/>
            <p:cNvSpPr>
              <a:spLocks noChangeArrowheads="1"/>
            </p:cNvSpPr>
            <p:nvPr/>
          </p:nvSpPr>
          <p:spPr bwMode="auto">
            <a:xfrm>
              <a:off x="4169970" y="4752180"/>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5" name="AutoShape 13"/>
            <p:cNvSpPr>
              <a:spLocks noChangeArrowheads="1"/>
            </p:cNvSpPr>
            <p:nvPr/>
          </p:nvSpPr>
          <p:spPr bwMode="auto">
            <a:xfrm>
              <a:off x="4172451" y="3686001"/>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a:p>
              <a:pPr defTabSz="914400">
                <a:lnSpc>
                  <a:spcPct val="110000"/>
                </a:lnSpc>
                <a:defRPr/>
              </a:pPr>
              <a:endParaRPr lang="en-MY" sz="1000" kern="0" dirty="0">
                <a:solidFill>
                  <a:srgbClr val="595959"/>
                </a:solidFill>
              </a:endParaRPr>
            </a:p>
          </p:txBody>
        </p:sp>
        <p:sp>
          <p:nvSpPr>
            <p:cNvPr id="56" name="AutoShape 13"/>
            <p:cNvSpPr>
              <a:spLocks noChangeArrowheads="1"/>
            </p:cNvSpPr>
            <p:nvPr/>
          </p:nvSpPr>
          <p:spPr bwMode="auto">
            <a:xfrm>
              <a:off x="2032000" y="3686001"/>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7" name="AutoShape 13"/>
            <p:cNvSpPr>
              <a:spLocks noChangeArrowheads="1"/>
            </p:cNvSpPr>
            <p:nvPr/>
          </p:nvSpPr>
          <p:spPr bwMode="auto">
            <a:xfrm>
              <a:off x="6316490" y="4752180"/>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spcBef>
                  <a:spcPts val="300"/>
                </a:spcBef>
                <a:defRPr/>
              </a:pPr>
              <a:endParaRPr lang="en-MY" sz="1000" kern="0" dirty="0">
                <a:solidFill>
                  <a:srgbClr val="595959"/>
                </a:solidFill>
              </a:endParaRPr>
            </a:p>
          </p:txBody>
        </p:sp>
        <p:cxnSp>
          <p:nvCxnSpPr>
            <p:cNvPr id="58" name="Elbow Connector 57"/>
            <p:cNvCxnSpPr>
              <a:stCxn id="47" idx="2"/>
              <a:endCxn id="49" idx="0"/>
            </p:cNvCxnSpPr>
            <p:nvPr/>
          </p:nvCxnSpPr>
          <p:spPr>
            <a:xfrm rot="5400000">
              <a:off x="4336227" y="887717"/>
              <a:ext cx="253379" cy="3210830"/>
            </a:xfrm>
            <a:prstGeom prst="bentConnector3">
              <a:avLst/>
            </a:prstGeom>
            <a:noFill/>
            <a:ln w="9525" cap="flat" cmpd="sng" algn="ctr">
              <a:solidFill>
                <a:schemeClr val="tx2"/>
              </a:solidFill>
              <a:prstDash val="solid"/>
            </a:ln>
            <a:effectLst/>
          </p:spPr>
        </p:cxnSp>
        <p:cxnSp>
          <p:nvCxnSpPr>
            <p:cNvPr id="59" name="Elbow Connector 58"/>
            <p:cNvCxnSpPr>
              <a:stCxn id="47" idx="2"/>
              <a:endCxn id="50" idx="0"/>
            </p:cNvCxnSpPr>
            <p:nvPr/>
          </p:nvCxnSpPr>
          <p:spPr>
            <a:xfrm rot="5400000">
              <a:off x="5406393" y="1957884"/>
              <a:ext cx="253379" cy="1070499"/>
            </a:xfrm>
            <a:prstGeom prst="bentConnector3">
              <a:avLst/>
            </a:prstGeom>
            <a:noFill/>
            <a:ln w="9525" cap="flat" cmpd="sng" algn="ctr">
              <a:solidFill>
                <a:schemeClr val="tx2"/>
              </a:solidFill>
              <a:prstDash val="solid"/>
            </a:ln>
            <a:effectLst/>
          </p:spPr>
        </p:cxnSp>
        <p:cxnSp>
          <p:nvCxnSpPr>
            <p:cNvPr id="60" name="Elbow Connector 59"/>
            <p:cNvCxnSpPr>
              <a:stCxn id="47" idx="2"/>
              <a:endCxn id="48" idx="0"/>
            </p:cNvCxnSpPr>
            <p:nvPr/>
          </p:nvCxnSpPr>
          <p:spPr>
            <a:xfrm rot="16200000" flipH="1">
              <a:off x="6476892" y="1957882"/>
              <a:ext cx="253379" cy="1070500"/>
            </a:xfrm>
            <a:prstGeom prst="bentConnector3">
              <a:avLst/>
            </a:prstGeom>
            <a:noFill/>
            <a:ln w="9525" cap="flat" cmpd="sng" algn="ctr">
              <a:solidFill>
                <a:schemeClr val="tx2"/>
              </a:solidFill>
              <a:prstDash val="solid"/>
            </a:ln>
            <a:effectLst/>
          </p:spPr>
        </p:cxnSp>
        <p:cxnSp>
          <p:nvCxnSpPr>
            <p:cNvPr id="61" name="Elbow Connector 60"/>
            <p:cNvCxnSpPr>
              <a:stCxn id="47" idx="2"/>
              <a:endCxn id="51" idx="0"/>
            </p:cNvCxnSpPr>
            <p:nvPr/>
          </p:nvCxnSpPr>
          <p:spPr>
            <a:xfrm rot="16200000" flipH="1">
              <a:off x="7547391" y="887383"/>
              <a:ext cx="253379" cy="3211499"/>
            </a:xfrm>
            <a:prstGeom prst="bentConnector3">
              <a:avLst/>
            </a:prstGeom>
            <a:noFill/>
            <a:ln w="9525" cap="flat" cmpd="sng" algn="ctr">
              <a:solidFill>
                <a:schemeClr val="tx2"/>
              </a:solidFill>
              <a:prstDash val="solid"/>
            </a:ln>
            <a:effectLst/>
          </p:spPr>
        </p:cxnSp>
        <p:cxnSp>
          <p:nvCxnSpPr>
            <p:cNvPr id="62" name="Elbow Connector 61"/>
            <p:cNvCxnSpPr>
              <a:stCxn id="47" idx="2"/>
              <a:endCxn id="54" idx="3"/>
            </p:cNvCxnSpPr>
            <p:nvPr/>
          </p:nvCxnSpPr>
          <p:spPr>
            <a:xfrm rot="5400000">
              <a:off x="4548583" y="3638831"/>
              <a:ext cx="2792137" cy="247360"/>
            </a:xfrm>
            <a:prstGeom prst="bentConnector2">
              <a:avLst/>
            </a:prstGeom>
            <a:noFill/>
            <a:ln w="9525" cap="flat" cmpd="sng" algn="ctr">
              <a:solidFill>
                <a:schemeClr val="tx2"/>
              </a:solidFill>
              <a:prstDash val="solid"/>
            </a:ln>
            <a:effectLst/>
          </p:spPr>
        </p:cxnSp>
        <p:cxnSp>
          <p:nvCxnSpPr>
            <p:cNvPr id="63" name="Elbow Connector 62"/>
            <p:cNvCxnSpPr>
              <a:stCxn id="47" idx="2"/>
              <a:endCxn id="57" idx="1"/>
            </p:cNvCxnSpPr>
            <p:nvPr/>
          </p:nvCxnSpPr>
          <p:spPr>
            <a:xfrm rot="16200000" flipH="1">
              <a:off x="4796343" y="3638431"/>
              <a:ext cx="2792137" cy="248160"/>
            </a:xfrm>
            <a:prstGeom prst="bentConnector2">
              <a:avLst/>
            </a:prstGeom>
            <a:noFill/>
            <a:ln w="9525" cap="flat" cmpd="sng" algn="ctr">
              <a:solidFill>
                <a:schemeClr val="tx2"/>
              </a:solidFill>
              <a:prstDash val="solid"/>
            </a:ln>
            <a:effectLst/>
          </p:spPr>
        </p:cxnSp>
        <p:cxnSp>
          <p:nvCxnSpPr>
            <p:cNvPr id="64" name="Elbow Connector 63"/>
            <p:cNvCxnSpPr/>
            <p:nvPr/>
          </p:nvCxnSpPr>
          <p:spPr>
            <a:xfrm rot="5400000">
              <a:off x="4335893" y="1949408"/>
              <a:ext cx="253379" cy="3211498"/>
            </a:xfrm>
            <a:prstGeom prst="bentConnector3">
              <a:avLst/>
            </a:prstGeom>
            <a:noFill/>
            <a:ln w="9525" cap="flat" cmpd="sng" algn="ctr">
              <a:solidFill>
                <a:schemeClr val="tx2"/>
              </a:solidFill>
              <a:prstDash val="solid"/>
            </a:ln>
            <a:effectLst/>
          </p:spPr>
        </p:cxnSp>
        <p:cxnSp>
          <p:nvCxnSpPr>
            <p:cNvPr id="65" name="Elbow Connector 64"/>
            <p:cNvCxnSpPr/>
            <p:nvPr/>
          </p:nvCxnSpPr>
          <p:spPr>
            <a:xfrm rot="5400000">
              <a:off x="5406393" y="3019909"/>
              <a:ext cx="253379" cy="1070499"/>
            </a:xfrm>
            <a:prstGeom prst="bentConnector3">
              <a:avLst/>
            </a:prstGeom>
            <a:noFill/>
            <a:ln w="9525" cap="flat" cmpd="sng" algn="ctr">
              <a:solidFill>
                <a:schemeClr val="tx2"/>
              </a:solidFill>
              <a:prstDash val="solid"/>
            </a:ln>
            <a:effectLst/>
          </p:spPr>
        </p:cxnSp>
        <p:cxnSp>
          <p:nvCxnSpPr>
            <p:cNvPr id="66" name="Elbow Connector 65"/>
            <p:cNvCxnSpPr/>
            <p:nvPr/>
          </p:nvCxnSpPr>
          <p:spPr>
            <a:xfrm rot="16200000" flipH="1">
              <a:off x="6476892" y="3019907"/>
              <a:ext cx="253379" cy="1070500"/>
            </a:xfrm>
            <a:prstGeom prst="bentConnector3">
              <a:avLst/>
            </a:prstGeom>
            <a:noFill/>
            <a:ln w="9525" cap="flat" cmpd="sng" algn="ctr">
              <a:solidFill>
                <a:schemeClr val="tx2"/>
              </a:solidFill>
              <a:prstDash val="solid"/>
            </a:ln>
            <a:effectLst/>
          </p:spPr>
        </p:cxnSp>
        <p:cxnSp>
          <p:nvCxnSpPr>
            <p:cNvPr id="67" name="Elbow Connector 66"/>
            <p:cNvCxnSpPr/>
            <p:nvPr/>
          </p:nvCxnSpPr>
          <p:spPr>
            <a:xfrm rot="16200000" flipH="1">
              <a:off x="7547391" y="1949408"/>
              <a:ext cx="253379" cy="3211499"/>
            </a:xfrm>
            <a:prstGeom prst="bentConnector3">
              <a:avLst/>
            </a:prstGeom>
            <a:noFill/>
            <a:ln w="9525" cap="flat" cmpd="sng" algn="ctr">
              <a:solidFill>
                <a:schemeClr val="tx2"/>
              </a:solidFill>
              <a:prstDash val="solid"/>
            </a:ln>
            <a:effectLst/>
          </p:spPr>
        </p:cxnSp>
      </p:grpSp>
    </p:spTree>
    <p:extLst>
      <p:ext uri="{BB962C8B-B14F-4D97-AF65-F5344CB8AC3E}">
        <p14:creationId xmlns:p14="http://schemas.microsoft.com/office/powerpoint/2010/main" val="2382210003"/>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ogram</a:t>
            </a:r>
          </a:p>
        </p:txBody>
      </p:sp>
      <p:sp>
        <p:nvSpPr>
          <p:cNvPr id="4" name="Slide Number Placeholder 3"/>
          <p:cNvSpPr>
            <a:spLocks noGrp="1"/>
          </p:cNvSpPr>
          <p:nvPr>
            <p:ph type="sldNum" sz="quarter" idx="4"/>
          </p:nvPr>
        </p:nvSpPr>
        <p:spPr/>
        <p:txBody>
          <a:bodyPr/>
          <a:lstStyle/>
          <a:p>
            <a:fld id="{D32BAE6A-B452-4007-8177-56DD051636F9}" type="slidenum">
              <a:rPr lang="en-GB" smtClean="0"/>
              <a:pPr/>
              <a:t>52</a:t>
            </a:fld>
            <a:endParaRPr lang="en-GB" dirty="0"/>
          </a:p>
        </p:txBody>
      </p:sp>
      <p:grpSp>
        <p:nvGrpSpPr>
          <p:cNvPr id="3" name="Group 2"/>
          <p:cNvGrpSpPr/>
          <p:nvPr/>
        </p:nvGrpSpPr>
        <p:grpSpPr>
          <a:xfrm>
            <a:off x="508000" y="1528763"/>
            <a:ext cx="11171741" cy="4830762"/>
            <a:chOff x="2032000" y="1553643"/>
            <a:chExt cx="8073331" cy="4011337"/>
          </a:xfrm>
        </p:grpSpPr>
        <p:sp>
          <p:nvSpPr>
            <p:cNvPr id="47" name="AutoShape 13"/>
            <p:cNvSpPr>
              <a:spLocks noChangeArrowheads="1"/>
            </p:cNvSpPr>
            <p:nvPr/>
          </p:nvSpPr>
          <p:spPr bwMode="auto">
            <a:xfrm>
              <a:off x="5242830" y="1553643"/>
              <a:ext cx="1651000" cy="812800"/>
            </a:xfrm>
            <a:prstGeom prst="rect">
              <a:avLst/>
            </a:prstGeom>
            <a:solidFill>
              <a:schemeClr val="accent1"/>
            </a:solidFill>
            <a:ln w="19050">
              <a:noFill/>
              <a:round/>
              <a:headEnd/>
              <a:tailEnd/>
            </a:ln>
            <a:effectLst/>
          </p:spPr>
          <p:txBody>
            <a:bodyPr wrap="square" lIns="76200" tIns="50800" rIns="36000" bIns="36000" anchor="t" anchorCtr="0"/>
            <a:lstStyle/>
            <a:p>
              <a:pPr defTabSz="914400">
                <a:lnSpc>
                  <a:spcPct val="110000"/>
                </a:lnSpc>
                <a:defRPr/>
              </a:pPr>
              <a:r>
                <a:rPr lang="en-MY" sz="1000" kern="0" dirty="0">
                  <a:latin typeface="+mj-lt"/>
                </a:rPr>
                <a:t>Name</a:t>
              </a:r>
            </a:p>
            <a:p>
              <a:pPr defTabSz="914400">
                <a:lnSpc>
                  <a:spcPct val="110000"/>
                </a:lnSpc>
                <a:defRPr/>
              </a:pPr>
              <a:endParaRPr lang="en-MY" sz="1000" kern="0" dirty="0">
                <a:latin typeface="+mj-lt"/>
              </a:endParaRPr>
            </a:p>
            <a:p>
              <a:pPr defTabSz="914400">
                <a:lnSpc>
                  <a:spcPct val="110000"/>
                </a:lnSpc>
                <a:defRPr/>
              </a:pPr>
              <a:r>
                <a:rPr lang="en-MY" sz="1000" kern="0" dirty="0"/>
                <a:t>Job Title	</a:t>
              </a:r>
            </a:p>
            <a:p>
              <a:pPr defTabSz="914400">
                <a:lnSpc>
                  <a:spcPct val="110000"/>
                </a:lnSpc>
                <a:defRPr/>
              </a:pPr>
              <a:r>
                <a:rPr lang="en-MY" sz="1000" kern="0" dirty="0"/>
                <a:t>Company</a:t>
              </a:r>
            </a:p>
          </p:txBody>
        </p:sp>
        <p:sp>
          <p:nvSpPr>
            <p:cNvPr id="48" name="AutoShape 13"/>
            <p:cNvSpPr>
              <a:spLocks noChangeArrowheads="1"/>
            </p:cNvSpPr>
            <p:nvPr/>
          </p:nvSpPr>
          <p:spPr bwMode="auto">
            <a:xfrm>
              <a:off x="6313330" y="2619822"/>
              <a:ext cx="1651000" cy="812800"/>
            </a:xfrm>
            <a:prstGeom prst="rect">
              <a:avLst/>
            </a:prstGeom>
            <a:solidFill>
              <a:schemeClr val="accent1">
                <a:alpha val="75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p:txBody>
        </p:sp>
        <p:sp>
          <p:nvSpPr>
            <p:cNvPr id="49" name="AutoShape 13"/>
            <p:cNvSpPr>
              <a:spLocks noChangeArrowheads="1"/>
            </p:cNvSpPr>
            <p:nvPr/>
          </p:nvSpPr>
          <p:spPr bwMode="auto">
            <a:xfrm>
              <a:off x="2032000" y="2619822"/>
              <a:ext cx="1651000" cy="812800"/>
            </a:xfrm>
            <a:prstGeom prst="rect">
              <a:avLst/>
            </a:prstGeom>
            <a:solidFill>
              <a:schemeClr val="accent1">
                <a:alpha val="75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0" name="AutoShape 13"/>
            <p:cNvSpPr>
              <a:spLocks noChangeArrowheads="1"/>
            </p:cNvSpPr>
            <p:nvPr/>
          </p:nvSpPr>
          <p:spPr bwMode="auto">
            <a:xfrm>
              <a:off x="4172331" y="2619822"/>
              <a:ext cx="1651000" cy="812800"/>
            </a:xfrm>
            <a:prstGeom prst="rect">
              <a:avLst/>
            </a:prstGeom>
            <a:solidFill>
              <a:schemeClr val="accent1">
                <a:alpha val="75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p:txBody>
        </p:sp>
        <p:sp>
          <p:nvSpPr>
            <p:cNvPr id="51" name="AutoShape 13"/>
            <p:cNvSpPr>
              <a:spLocks noChangeArrowheads="1"/>
            </p:cNvSpPr>
            <p:nvPr/>
          </p:nvSpPr>
          <p:spPr bwMode="auto">
            <a:xfrm>
              <a:off x="8454329" y="2619822"/>
              <a:ext cx="1651000" cy="812800"/>
            </a:xfrm>
            <a:prstGeom prst="rect">
              <a:avLst/>
            </a:prstGeom>
            <a:solidFill>
              <a:schemeClr val="accent1">
                <a:alpha val="75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a:p>
              <a:pPr defTabSz="914400">
                <a:lnSpc>
                  <a:spcPct val="110000"/>
                </a:lnSpc>
                <a:defRPr/>
              </a:pPr>
              <a:endParaRPr lang="en-MY" sz="1000" kern="0" dirty="0">
                <a:solidFill>
                  <a:srgbClr val="595959"/>
                </a:solidFill>
              </a:endParaRPr>
            </a:p>
          </p:txBody>
        </p:sp>
        <p:sp>
          <p:nvSpPr>
            <p:cNvPr id="52" name="AutoShape 13"/>
            <p:cNvSpPr>
              <a:spLocks noChangeArrowheads="1"/>
            </p:cNvSpPr>
            <p:nvPr/>
          </p:nvSpPr>
          <p:spPr bwMode="auto">
            <a:xfrm>
              <a:off x="6313391" y="3686001"/>
              <a:ext cx="1651000" cy="812800"/>
            </a:xfrm>
            <a:prstGeom prst="rect">
              <a:avLst/>
            </a:prstGeom>
            <a:solidFill>
              <a:schemeClr val="accent1">
                <a:alpha val="50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3" name="AutoShape 13"/>
            <p:cNvSpPr>
              <a:spLocks noChangeArrowheads="1"/>
            </p:cNvSpPr>
            <p:nvPr/>
          </p:nvSpPr>
          <p:spPr bwMode="auto">
            <a:xfrm>
              <a:off x="8454331" y="3686001"/>
              <a:ext cx="1651000" cy="812800"/>
            </a:xfrm>
            <a:prstGeom prst="rect">
              <a:avLst/>
            </a:prstGeom>
            <a:solidFill>
              <a:schemeClr val="accent1">
                <a:alpha val="50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fr-FR" sz="1000" kern="0" dirty="0">
                <a:solidFill>
                  <a:srgbClr val="595959"/>
                </a:solidFill>
              </a:endParaRPr>
            </a:p>
            <a:p>
              <a:pPr defTabSz="914400">
                <a:lnSpc>
                  <a:spcPct val="110000"/>
                </a:lnSpc>
                <a:defRPr/>
              </a:pPr>
              <a:endParaRPr lang="fr-FR" sz="1000" kern="0" dirty="0">
                <a:solidFill>
                  <a:srgbClr val="595959"/>
                </a:solidFill>
              </a:endParaRPr>
            </a:p>
          </p:txBody>
        </p:sp>
        <p:sp>
          <p:nvSpPr>
            <p:cNvPr id="54" name="AutoShape 13"/>
            <p:cNvSpPr>
              <a:spLocks noChangeArrowheads="1"/>
            </p:cNvSpPr>
            <p:nvPr/>
          </p:nvSpPr>
          <p:spPr bwMode="auto">
            <a:xfrm>
              <a:off x="4169970" y="4752180"/>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5" name="AutoShape 13"/>
            <p:cNvSpPr>
              <a:spLocks noChangeArrowheads="1"/>
            </p:cNvSpPr>
            <p:nvPr/>
          </p:nvSpPr>
          <p:spPr bwMode="auto">
            <a:xfrm>
              <a:off x="4172451" y="3686001"/>
              <a:ext cx="1651000" cy="812800"/>
            </a:xfrm>
            <a:prstGeom prst="rect">
              <a:avLst/>
            </a:prstGeom>
            <a:solidFill>
              <a:schemeClr val="accent1">
                <a:alpha val="50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a:p>
              <a:pPr defTabSz="914400">
                <a:lnSpc>
                  <a:spcPct val="110000"/>
                </a:lnSpc>
                <a:defRPr/>
              </a:pPr>
              <a:endParaRPr lang="en-MY" sz="1000" kern="0" dirty="0">
                <a:solidFill>
                  <a:srgbClr val="595959"/>
                </a:solidFill>
              </a:endParaRPr>
            </a:p>
          </p:txBody>
        </p:sp>
        <p:sp>
          <p:nvSpPr>
            <p:cNvPr id="56" name="AutoShape 13"/>
            <p:cNvSpPr>
              <a:spLocks noChangeArrowheads="1"/>
            </p:cNvSpPr>
            <p:nvPr/>
          </p:nvSpPr>
          <p:spPr bwMode="auto">
            <a:xfrm>
              <a:off x="2032000" y="3686001"/>
              <a:ext cx="1651000" cy="812800"/>
            </a:xfrm>
            <a:prstGeom prst="rect">
              <a:avLst/>
            </a:prstGeom>
            <a:solidFill>
              <a:schemeClr val="accent1">
                <a:alpha val="50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7" name="AutoShape 13"/>
            <p:cNvSpPr>
              <a:spLocks noChangeArrowheads="1"/>
            </p:cNvSpPr>
            <p:nvPr/>
          </p:nvSpPr>
          <p:spPr bwMode="auto">
            <a:xfrm>
              <a:off x="6316490" y="4752180"/>
              <a:ext cx="1651000" cy="8128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spcBef>
                  <a:spcPts val="300"/>
                </a:spcBef>
                <a:defRPr/>
              </a:pPr>
              <a:endParaRPr lang="en-MY" sz="1000" kern="0" dirty="0">
                <a:solidFill>
                  <a:srgbClr val="595959"/>
                </a:solidFill>
              </a:endParaRPr>
            </a:p>
          </p:txBody>
        </p:sp>
        <p:cxnSp>
          <p:nvCxnSpPr>
            <p:cNvPr id="58" name="Elbow Connector 57"/>
            <p:cNvCxnSpPr>
              <a:stCxn id="47" idx="2"/>
              <a:endCxn id="49" idx="0"/>
            </p:cNvCxnSpPr>
            <p:nvPr/>
          </p:nvCxnSpPr>
          <p:spPr>
            <a:xfrm rot="5400000">
              <a:off x="4336227" y="887717"/>
              <a:ext cx="253379" cy="3210830"/>
            </a:xfrm>
            <a:prstGeom prst="bentConnector3">
              <a:avLst/>
            </a:prstGeom>
            <a:noFill/>
            <a:ln w="9525" cap="flat" cmpd="sng" algn="ctr">
              <a:solidFill>
                <a:schemeClr val="tx2"/>
              </a:solidFill>
              <a:prstDash val="solid"/>
            </a:ln>
            <a:effectLst/>
          </p:spPr>
        </p:cxnSp>
        <p:cxnSp>
          <p:nvCxnSpPr>
            <p:cNvPr id="59" name="Elbow Connector 58"/>
            <p:cNvCxnSpPr>
              <a:stCxn id="47" idx="2"/>
              <a:endCxn id="50" idx="0"/>
            </p:cNvCxnSpPr>
            <p:nvPr/>
          </p:nvCxnSpPr>
          <p:spPr>
            <a:xfrm rot="5400000">
              <a:off x="5406393" y="1957884"/>
              <a:ext cx="253379" cy="1070499"/>
            </a:xfrm>
            <a:prstGeom prst="bentConnector3">
              <a:avLst/>
            </a:prstGeom>
            <a:noFill/>
            <a:ln w="9525" cap="flat" cmpd="sng" algn="ctr">
              <a:solidFill>
                <a:schemeClr val="tx2"/>
              </a:solidFill>
              <a:prstDash val="solid"/>
            </a:ln>
            <a:effectLst/>
          </p:spPr>
        </p:cxnSp>
        <p:cxnSp>
          <p:nvCxnSpPr>
            <p:cNvPr id="60" name="Elbow Connector 59"/>
            <p:cNvCxnSpPr>
              <a:stCxn id="47" idx="2"/>
              <a:endCxn id="48" idx="0"/>
            </p:cNvCxnSpPr>
            <p:nvPr/>
          </p:nvCxnSpPr>
          <p:spPr>
            <a:xfrm rot="16200000" flipH="1">
              <a:off x="6476892" y="1957882"/>
              <a:ext cx="253379" cy="1070500"/>
            </a:xfrm>
            <a:prstGeom prst="bentConnector3">
              <a:avLst/>
            </a:prstGeom>
            <a:noFill/>
            <a:ln w="9525" cap="flat" cmpd="sng" algn="ctr">
              <a:solidFill>
                <a:schemeClr val="tx2"/>
              </a:solidFill>
              <a:prstDash val="solid"/>
            </a:ln>
            <a:effectLst/>
          </p:spPr>
        </p:cxnSp>
        <p:cxnSp>
          <p:nvCxnSpPr>
            <p:cNvPr id="61" name="Elbow Connector 60"/>
            <p:cNvCxnSpPr>
              <a:stCxn id="47" idx="2"/>
              <a:endCxn id="51" idx="0"/>
            </p:cNvCxnSpPr>
            <p:nvPr/>
          </p:nvCxnSpPr>
          <p:spPr>
            <a:xfrm rot="16200000" flipH="1">
              <a:off x="7547391" y="887383"/>
              <a:ext cx="253379" cy="3211499"/>
            </a:xfrm>
            <a:prstGeom prst="bentConnector3">
              <a:avLst/>
            </a:prstGeom>
            <a:noFill/>
            <a:ln w="9525" cap="flat" cmpd="sng" algn="ctr">
              <a:solidFill>
                <a:schemeClr val="tx2"/>
              </a:solidFill>
              <a:prstDash val="solid"/>
            </a:ln>
            <a:effectLst/>
          </p:spPr>
        </p:cxnSp>
        <p:cxnSp>
          <p:nvCxnSpPr>
            <p:cNvPr id="62" name="Elbow Connector 61"/>
            <p:cNvCxnSpPr>
              <a:stCxn id="47" idx="2"/>
              <a:endCxn id="54" idx="3"/>
            </p:cNvCxnSpPr>
            <p:nvPr/>
          </p:nvCxnSpPr>
          <p:spPr>
            <a:xfrm rot="5400000">
              <a:off x="4548583" y="3638831"/>
              <a:ext cx="2792137" cy="247360"/>
            </a:xfrm>
            <a:prstGeom prst="bentConnector2">
              <a:avLst/>
            </a:prstGeom>
            <a:noFill/>
            <a:ln w="9525" cap="flat" cmpd="sng" algn="ctr">
              <a:solidFill>
                <a:schemeClr val="tx2"/>
              </a:solidFill>
              <a:prstDash val="solid"/>
            </a:ln>
            <a:effectLst/>
          </p:spPr>
        </p:cxnSp>
        <p:cxnSp>
          <p:nvCxnSpPr>
            <p:cNvPr id="63" name="Elbow Connector 62"/>
            <p:cNvCxnSpPr>
              <a:stCxn id="47" idx="2"/>
              <a:endCxn id="57" idx="1"/>
            </p:cNvCxnSpPr>
            <p:nvPr/>
          </p:nvCxnSpPr>
          <p:spPr>
            <a:xfrm rot="16200000" flipH="1">
              <a:off x="4796343" y="3638431"/>
              <a:ext cx="2792137" cy="248160"/>
            </a:xfrm>
            <a:prstGeom prst="bentConnector2">
              <a:avLst/>
            </a:prstGeom>
            <a:noFill/>
            <a:ln w="9525" cap="flat" cmpd="sng" algn="ctr">
              <a:solidFill>
                <a:schemeClr val="tx2"/>
              </a:solidFill>
              <a:prstDash val="solid"/>
            </a:ln>
            <a:effectLst/>
          </p:spPr>
        </p:cxnSp>
        <p:cxnSp>
          <p:nvCxnSpPr>
            <p:cNvPr id="64" name="Elbow Connector 63"/>
            <p:cNvCxnSpPr/>
            <p:nvPr/>
          </p:nvCxnSpPr>
          <p:spPr>
            <a:xfrm rot="5400000">
              <a:off x="4335893" y="1949408"/>
              <a:ext cx="253379" cy="3211498"/>
            </a:xfrm>
            <a:prstGeom prst="bentConnector3">
              <a:avLst/>
            </a:prstGeom>
            <a:noFill/>
            <a:ln w="9525" cap="flat" cmpd="sng" algn="ctr">
              <a:solidFill>
                <a:schemeClr val="tx2"/>
              </a:solidFill>
              <a:prstDash val="solid"/>
            </a:ln>
            <a:effectLst/>
          </p:spPr>
        </p:cxnSp>
        <p:cxnSp>
          <p:nvCxnSpPr>
            <p:cNvPr id="65" name="Elbow Connector 64"/>
            <p:cNvCxnSpPr/>
            <p:nvPr/>
          </p:nvCxnSpPr>
          <p:spPr>
            <a:xfrm rot="5400000">
              <a:off x="5406393" y="3019909"/>
              <a:ext cx="253379" cy="1070499"/>
            </a:xfrm>
            <a:prstGeom prst="bentConnector3">
              <a:avLst/>
            </a:prstGeom>
            <a:noFill/>
            <a:ln w="9525" cap="flat" cmpd="sng" algn="ctr">
              <a:solidFill>
                <a:schemeClr val="tx2"/>
              </a:solidFill>
              <a:prstDash val="solid"/>
            </a:ln>
            <a:effectLst/>
          </p:spPr>
        </p:cxnSp>
        <p:cxnSp>
          <p:nvCxnSpPr>
            <p:cNvPr id="66" name="Elbow Connector 65"/>
            <p:cNvCxnSpPr/>
            <p:nvPr/>
          </p:nvCxnSpPr>
          <p:spPr>
            <a:xfrm rot="16200000" flipH="1">
              <a:off x="6476892" y="3019907"/>
              <a:ext cx="253379" cy="1070500"/>
            </a:xfrm>
            <a:prstGeom prst="bentConnector3">
              <a:avLst/>
            </a:prstGeom>
            <a:noFill/>
            <a:ln w="9525" cap="flat" cmpd="sng" algn="ctr">
              <a:solidFill>
                <a:schemeClr val="tx2"/>
              </a:solidFill>
              <a:prstDash val="solid"/>
            </a:ln>
            <a:effectLst/>
          </p:spPr>
        </p:cxnSp>
        <p:cxnSp>
          <p:nvCxnSpPr>
            <p:cNvPr id="67" name="Elbow Connector 66"/>
            <p:cNvCxnSpPr/>
            <p:nvPr/>
          </p:nvCxnSpPr>
          <p:spPr>
            <a:xfrm rot="16200000" flipH="1">
              <a:off x="7547391" y="1949408"/>
              <a:ext cx="253379" cy="3211499"/>
            </a:xfrm>
            <a:prstGeom prst="bentConnector3">
              <a:avLst/>
            </a:prstGeom>
            <a:noFill/>
            <a:ln w="9525" cap="flat" cmpd="sng" algn="ctr">
              <a:solidFill>
                <a:schemeClr val="tx2"/>
              </a:solidFill>
              <a:prstDash val="solid"/>
            </a:ln>
            <a:effectLst/>
          </p:spPr>
        </p:cxnSp>
      </p:grpSp>
    </p:spTree>
    <p:extLst>
      <p:ext uri="{BB962C8B-B14F-4D97-AF65-F5344CB8AC3E}">
        <p14:creationId xmlns:p14="http://schemas.microsoft.com/office/powerpoint/2010/main" val="2263342336"/>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ogram</a:t>
            </a:r>
          </a:p>
        </p:txBody>
      </p:sp>
      <p:sp>
        <p:nvSpPr>
          <p:cNvPr id="4" name="Slide Number Placeholder 3"/>
          <p:cNvSpPr>
            <a:spLocks noGrp="1"/>
          </p:cNvSpPr>
          <p:nvPr>
            <p:ph type="sldNum" sz="quarter" idx="4"/>
          </p:nvPr>
        </p:nvSpPr>
        <p:spPr/>
        <p:txBody>
          <a:bodyPr/>
          <a:lstStyle/>
          <a:p>
            <a:fld id="{D32BAE6A-B452-4007-8177-56DD051636F9}" type="slidenum">
              <a:rPr lang="en-GB" smtClean="0"/>
              <a:pPr/>
              <a:t>53</a:t>
            </a:fld>
            <a:endParaRPr lang="en-GB" dirty="0"/>
          </a:p>
        </p:txBody>
      </p:sp>
      <p:grpSp>
        <p:nvGrpSpPr>
          <p:cNvPr id="3" name="Group 2"/>
          <p:cNvGrpSpPr/>
          <p:nvPr/>
        </p:nvGrpSpPr>
        <p:grpSpPr>
          <a:xfrm>
            <a:off x="508001" y="1528763"/>
            <a:ext cx="11171238" cy="4830762"/>
            <a:chOff x="2032000" y="1553643"/>
            <a:chExt cx="8073331" cy="4011337"/>
          </a:xfrm>
        </p:grpSpPr>
        <p:sp>
          <p:nvSpPr>
            <p:cNvPr id="47" name="AutoShape 13"/>
            <p:cNvSpPr>
              <a:spLocks noChangeArrowheads="1"/>
            </p:cNvSpPr>
            <p:nvPr/>
          </p:nvSpPr>
          <p:spPr bwMode="auto">
            <a:xfrm>
              <a:off x="5242830" y="1553643"/>
              <a:ext cx="1651000" cy="812800"/>
            </a:xfrm>
            <a:prstGeom prst="rect">
              <a:avLst/>
            </a:prstGeom>
            <a:solidFill>
              <a:schemeClr val="accent2"/>
            </a:solidFill>
            <a:ln w="19050">
              <a:noFill/>
              <a:round/>
              <a:headEnd/>
              <a:tailEnd/>
            </a:ln>
            <a:effectLst/>
          </p:spPr>
          <p:txBody>
            <a:bodyPr wrap="square" lIns="76200" tIns="50800" rIns="36000" bIns="36000" anchor="t" anchorCtr="0"/>
            <a:lstStyle/>
            <a:p>
              <a:pPr defTabSz="914400">
                <a:lnSpc>
                  <a:spcPct val="110000"/>
                </a:lnSpc>
                <a:defRPr/>
              </a:pPr>
              <a:r>
                <a:rPr lang="en-MY" sz="1000" kern="0" dirty="0">
                  <a:solidFill>
                    <a:schemeClr val="bg1"/>
                  </a:solidFill>
                  <a:latin typeface="+mj-lt"/>
                </a:rPr>
                <a:t>Name</a:t>
              </a:r>
            </a:p>
            <a:p>
              <a:pPr defTabSz="914400">
                <a:lnSpc>
                  <a:spcPct val="110000"/>
                </a:lnSpc>
                <a:defRPr/>
              </a:pPr>
              <a:endParaRPr lang="en-MY" sz="1000" kern="0" dirty="0">
                <a:solidFill>
                  <a:schemeClr val="bg1"/>
                </a:solidFill>
                <a:latin typeface="+mj-lt"/>
              </a:endParaRPr>
            </a:p>
            <a:p>
              <a:pPr defTabSz="914400">
                <a:lnSpc>
                  <a:spcPct val="110000"/>
                </a:lnSpc>
                <a:defRPr/>
              </a:pPr>
              <a:r>
                <a:rPr lang="en-MY" sz="1000" kern="0" dirty="0">
                  <a:solidFill>
                    <a:schemeClr val="bg1"/>
                  </a:solidFill>
                </a:rPr>
                <a:t>Job Title	</a:t>
              </a:r>
            </a:p>
            <a:p>
              <a:pPr defTabSz="914400">
                <a:lnSpc>
                  <a:spcPct val="110000"/>
                </a:lnSpc>
                <a:defRPr/>
              </a:pPr>
              <a:r>
                <a:rPr lang="en-MY" sz="1000" kern="0" dirty="0">
                  <a:solidFill>
                    <a:schemeClr val="bg1"/>
                  </a:solidFill>
                </a:rPr>
                <a:t>Company</a:t>
              </a:r>
            </a:p>
          </p:txBody>
        </p:sp>
        <p:sp>
          <p:nvSpPr>
            <p:cNvPr id="48" name="AutoShape 13"/>
            <p:cNvSpPr>
              <a:spLocks noChangeArrowheads="1"/>
            </p:cNvSpPr>
            <p:nvPr/>
          </p:nvSpPr>
          <p:spPr bwMode="auto">
            <a:xfrm>
              <a:off x="6313330" y="2619822"/>
              <a:ext cx="1651000" cy="812800"/>
            </a:xfrm>
            <a:prstGeom prst="rect">
              <a:avLst/>
            </a:prstGeom>
            <a:solidFill>
              <a:schemeClr val="accent1">
                <a:alpha val="80000"/>
              </a:schemeClr>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p:txBody>
        </p:sp>
        <p:sp>
          <p:nvSpPr>
            <p:cNvPr id="49" name="AutoShape 13"/>
            <p:cNvSpPr>
              <a:spLocks noChangeArrowheads="1"/>
            </p:cNvSpPr>
            <p:nvPr/>
          </p:nvSpPr>
          <p:spPr bwMode="auto">
            <a:xfrm>
              <a:off x="2032000" y="2619822"/>
              <a:ext cx="1651000" cy="812800"/>
            </a:xfrm>
            <a:prstGeom prst="rect">
              <a:avLst/>
            </a:prstGeom>
            <a:solidFill>
              <a:schemeClr val="accent1">
                <a:alpha val="80000"/>
              </a:schemeClr>
            </a:solidFill>
            <a:ln w="19050">
              <a:noFill/>
              <a:round/>
              <a:headEnd/>
              <a:tailEnd/>
            </a:ln>
            <a:effectLst/>
          </p:spPr>
          <p:txBody>
            <a:bodyPr wrap="square" lIns="76200" tIns="50800" rIns="36000" bIns="36000" anchor="t" anchorCtr="0"/>
            <a:lstStyle/>
            <a:p>
              <a:pPr lvl="0">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0" name="AutoShape 13"/>
            <p:cNvSpPr>
              <a:spLocks noChangeArrowheads="1"/>
            </p:cNvSpPr>
            <p:nvPr/>
          </p:nvSpPr>
          <p:spPr bwMode="auto">
            <a:xfrm>
              <a:off x="4172331" y="2619822"/>
              <a:ext cx="1651000" cy="812800"/>
            </a:xfrm>
            <a:prstGeom prst="rect">
              <a:avLst/>
            </a:prstGeom>
            <a:solidFill>
              <a:schemeClr val="accent1">
                <a:alpha val="80000"/>
              </a:schemeClr>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p:txBody>
        </p:sp>
        <p:sp>
          <p:nvSpPr>
            <p:cNvPr id="51" name="AutoShape 13"/>
            <p:cNvSpPr>
              <a:spLocks noChangeArrowheads="1"/>
            </p:cNvSpPr>
            <p:nvPr/>
          </p:nvSpPr>
          <p:spPr bwMode="auto">
            <a:xfrm>
              <a:off x="8454329" y="2619822"/>
              <a:ext cx="1651000" cy="812800"/>
            </a:xfrm>
            <a:prstGeom prst="rect">
              <a:avLst/>
            </a:prstGeom>
            <a:solidFill>
              <a:schemeClr val="accent1">
                <a:alpha val="80000"/>
              </a:schemeClr>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a:p>
              <a:pPr defTabSz="914400">
                <a:lnSpc>
                  <a:spcPct val="110000"/>
                </a:lnSpc>
                <a:defRPr/>
              </a:pPr>
              <a:endParaRPr lang="en-MY" sz="1000" kern="0" dirty="0">
                <a:solidFill>
                  <a:srgbClr val="595959"/>
                </a:solidFill>
              </a:endParaRPr>
            </a:p>
          </p:txBody>
        </p:sp>
        <p:sp>
          <p:nvSpPr>
            <p:cNvPr id="52" name="AutoShape 13"/>
            <p:cNvSpPr>
              <a:spLocks noChangeArrowheads="1"/>
            </p:cNvSpPr>
            <p:nvPr/>
          </p:nvSpPr>
          <p:spPr bwMode="auto">
            <a:xfrm>
              <a:off x="6313391" y="3686001"/>
              <a:ext cx="16510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3" name="AutoShape 13"/>
            <p:cNvSpPr>
              <a:spLocks noChangeArrowheads="1"/>
            </p:cNvSpPr>
            <p:nvPr/>
          </p:nvSpPr>
          <p:spPr bwMode="auto">
            <a:xfrm>
              <a:off x="8454331" y="3686001"/>
              <a:ext cx="16510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fr-FR" sz="1000" kern="0" dirty="0">
                <a:solidFill>
                  <a:srgbClr val="595959"/>
                </a:solidFill>
              </a:endParaRPr>
            </a:p>
            <a:p>
              <a:pPr defTabSz="914400">
                <a:lnSpc>
                  <a:spcPct val="110000"/>
                </a:lnSpc>
                <a:defRPr/>
              </a:pPr>
              <a:endParaRPr lang="fr-FR" sz="1000" kern="0" dirty="0">
                <a:solidFill>
                  <a:srgbClr val="595959"/>
                </a:solidFill>
              </a:endParaRPr>
            </a:p>
          </p:txBody>
        </p:sp>
        <p:sp>
          <p:nvSpPr>
            <p:cNvPr id="54" name="AutoShape 13"/>
            <p:cNvSpPr>
              <a:spLocks noChangeArrowheads="1"/>
            </p:cNvSpPr>
            <p:nvPr/>
          </p:nvSpPr>
          <p:spPr bwMode="auto">
            <a:xfrm>
              <a:off x="4169970" y="4752180"/>
              <a:ext cx="16510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5" name="AutoShape 13"/>
            <p:cNvSpPr>
              <a:spLocks noChangeArrowheads="1"/>
            </p:cNvSpPr>
            <p:nvPr/>
          </p:nvSpPr>
          <p:spPr bwMode="auto">
            <a:xfrm>
              <a:off x="4172451" y="3686001"/>
              <a:ext cx="16510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a:p>
              <a:pPr defTabSz="914400">
                <a:lnSpc>
                  <a:spcPct val="110000"/>
                </a:lnSpc>
                <a:defRPr/>
              </a:pPr>
              <a:endParaRPr lang="en-MY" sz="1000" kern="0" dirty="0">
                <a:solidFill>
                  <a:srgbClr val="595959"/>
                </a:solidFill>
              </a:endParaRPr>
            </a:p>
          </p:txBody>
        </p:sp>
        <p:sp>
          <p:nvSpPr>
            <p:cNvPr id="56" name="AutoShape 13"/>
            <p:cNvSpPr>
              <a:spLocks noChangeArrowheads="1"/>
            </p:cNvSpPr>
            <p:nvPr/>
          </p:nvSpPr>
          <p:spPr bwMode="auto">
            <a:xfrm>
              <a:off x="2032000" y="3686001"/>
              <a:ext cx="16510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7" name="AutoShape 13"/>
            <p:cNvSpPr>
              <a:spLocks noChangeArrowheads="1"/>
            </p:cNvSpPr>
            <p:nvPr/>
          </p:nvSpPr>
          <p:spPr bwMode="auto">
            <a:xfrm>
              <a:off x="6316490" y="4752180"/>
              <a:ext cx="16510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spcBef>
                  <a:spcPts val="300"/>
                </a:spcBef>
                <a:defRPr/>
              </a:pPr>
              <a:endParaRPr lang="en-MY" sz="1000" kern="0" dirty="0">
                <a:solidFill>
                  <a:srgbClr val="595959"/>
                </a:solidFill>
              </a:endParaRPr>
            </a:p>
          </p:txBody>
        </p:sp>
        <p:cxnSp>
          <p:nvCxnSpPr>
            <p:cNvPr id="58" name="Elbow Connector 57"/>
            <p:cNvCxnSpPr>
              <a:stCxn id="47" idx="2"/>
              <a:endCxn id="49" idx="0"/>
            </p:cNvCxnSpPr>
            <p:nvPr/>
          </p:nvCxnSpPr>
          <p:spPr>
            <a:xfrm rot="5400000">
              <a:off x="4336227" y="887717"/>
              <a:ext cx="253379" cy="3210830"/>
            </a:xfrm>
            <a:prstGeom prst="bentConnector3">
              <a:avLst/>
            </a:prstGeom>
            <a:noFill/>
            <a:ln w="9525" cap="flat" cmpd="sng" algn="ctr">
              <a:solidFill>
                <a:schemeClr val="tx2"/>
              </a:solidFill>
              <a:prstDash val="solid"/>
            </a:ln>
            <a:effectLst/>
          </p:spPr>
        </p:cxnSp>
        <p:cxnSp>
          <p:nvCxnSpPr>
            <p:cNvPr id="59" name="Elbow Connector 58"/>
            <p:cNvCxnSpPr>
              <a:stCxn id="47" idx="2"/>
              <a:endCxn id="50" idx="0"/>
            </p:cNvCxnSpPr>
            <p:nvPr/>
          </p:nvCxnSpPr>
          <p:spPr>
            <a:xfrm rot="5400000">
              <a:off x="5406393" y="1957884"/>
              <a:ext cx="253379" cy="1070499"/>
            </a:xfrm>
            <a:prstGeom prst="bentConnector3">
              <a:avLst/>
            </a:prstGeom>
            <a:noFill/>
            <a:ln w="9525" cap="flat" cmpd="sng" algn="ctr">
              <a:solidFill>
                <a:schemeClr val="tx2"/>
              </a:solidFill>
              <a:prstDash val="solid"/>
            </a:ln>
            <a:effectLst/>
          </p:spPr>
        </p:cxnSp>
        <p:cxnSp>
          <p:nvCxnSpPr>
            <p:cNvPr id="60" name="Elbow Connector 59"/>
            <p:cNvCxnSpPr>
              <a:stCxn id="47" idx="2"/>
              <a:endCxn id="48" idx="0"/>
            </p:cNvCxnSpPr>
            <p:nvPr/>
          </p:nvCxnSpPr>
          <p:spPr>
            <a:xfrm rot="16200000" flipH="1">
              <a:off x="6476892" y="1957882"/>
              <a:ext cx="253379" cy="1070500"/>
            </a:xfrm>
            <a:prstGeom prst="bentConnector3">
              <a:avLst/>
            </a:prstGeom>
            <a:noFill/>
            <a:ln w="9525" cap="flat" cmpd="sng" algn="ctr">
              <a:solidFill>
                <a:schemeClr val="tx2"/>
              </a:solidFill>
              <a:prstDash val="solid"/>
            </a:ln>
            <a:effectLst/>
          </p:spPr>
        </p:cxnSp>
        <p:cxnSp>
          <p:nvCxnSpPr>
            <p:cNvPr id="61" name="Elbow Connector 60"/>
            <p:cNvCxnSpPr>
              <a:stCxn id="47" idx="2"/>
              <a:endCxn id="51" idx="0"/>
            </p:cNvCxnSpPr>
            <p:nvPr/>
          </p:nvCxnSpPr>
          <p:spPr>
            <a:xfrm rot="16200000" flipH="1">
              <a:off x="7547391" y="887383"/>
              <a:ext cx="253379" cy="3211499"/>
            </a:xfrm>
            <a:prstGeom prst="bentConnector3">
              <a:avLst/>
            </a:prstGeom>
            <a:noFill/>
            <a:ln w="9525" cap="flat" cmpd="sng" algn="ctr">
              <a:solidFill>
                <a:schemeClr val="tx2"/>
              </a:solidFill>
              <a:prstDash val="solid"/>
            </a:ln>
            <a:effectLst/>
          </p:spPr>
        </p:cxnSp>
        <p:cxnSp>
          <p:nvCxnSpPr>
            <p:cNvPr id="62" name="Elbow Connector 61"/>
            <p:cNvCxnSpPr>
              <a:stCxn id="47" idx="2"/>
              <a:endCxn id="54" idx="3"/>
            </p:cNvCxnSpPr>
            <p:nvPr/>
          </p:nvCxnSpPr>
          <p:spPr>
            <a:xfrm rot="5400000">
              <a:off x="4548583" y="3638831"/>
              <a:ext cx="2792137" cy="247360"/>
            </a:xfrm>
            <a:prstGeom prst="bentConnector2">
              <a:avLst/>
            </a:prstGeom>
            <a:noFill/>
            <a:ln w="9525" cap="flat" cmpd="sng" algn="ctr">
              <a:solidFill>
                <a:schemeClr val="tx2"/>
              </a:solidFill>
              <a:prstDash val="solid"/>
            </a:ln>
            <a:effectLst/>
          </p:spPr>
        </p:cxnSp>
        <p:cxnSp>
          <p:nvCxnSpPr>
            <p:cNvPr id="63" name="Elbow Connector 62"/>
            <p:cNvCxnSpPr>
              <a:stCxn id="47" idx="2"/>
              <a:endCxn id="57" idx="1"/>
            </p:cNvCxnSpPr>
            <p:nvPr/>
          </p:nvCxnSpPr>
          <p:spPr>
            <a:xfrm rot="16200000" flipH="1">
              <a:off x="4796343" y="3638431"/>
              <a:ext cx="2792137" cy="248160"/>
            </a:xfrm>
            <a:prstGeom prst="bentConnector2">
              <a:avLst/>
            </a:prstGeom>
            <a:noFill/>
            <a:ln w="9525" cap="flat" cmpd="sng" algn="ctr">
              <a:solidFill>
                <a:schemeClr val="tx2"/>
              </a:solidFill>
              <a:prstDash val="solid"/>
            </a:ln>
            <a:effectLst/>
          </p:spPr>
        </p:cxnSp>
        <p:cxnSp>
          <p:nvCxnSpPr>
            <p:cNvPr id="64" name="Elbow Connector 63"/>
            <p:cNvCxnSpPr/>
            <p:nvPr/>
          </p:nvCxnSpPr>
          <p:spPr>
            <a:xfrm rot="5400000">
              <a:off x="4335893" y="1949408"/>
              <a:ext cx="253379" cy="3211498"/>
            </a:xfrm>
            <a:prstGeom prst="bentConnector3">
              <a:avLst/>
            </a:prstGeom>
            <a:noFill/>
            <a:ln w="9525" cap="flat" cmpd="sng" algn="ctr">
              <a:solidFill>
                <a:schemeClr val="tx2"/>
              </a:solidFill>
              <a:prstDash val="solid"/>
            </a:ln>
            <a:effectLst/>
          </p:spPr>
        </p:cxnSp>
        <p:cxnSp>
          <p:nvCxnSpPr>
            <p:cNvPr id="65" name="Elbow Connector 64"/>
            <p:cNvCxnSpPr/>
            <p:nvPr/>
          </p:nvCxnSpPr>
          <p:spPr>
            <a:xfrm rot="5400000">
              <a:off x="5406393" y="3019909"/>
              <a:ext cx="253379" cy="1070499"/>
            </a:xfrm>
            <a:prstGeom prst="bentConnector3">
              <a:avLst/>
            </a:prstGeom>
            <a:noFill/>
            <a:ln w="9525" cap="flat" cmpd="sng" algn="ctr">
              <a:solidFill>
                <a:schemeClr val="tx2"/>
              </a:solidFill>
              <a:prstDash val="solid"/>
            </a:ln>
            <a:effectLst/>
          </p:spPr>
        </p:cxnSp>
        <p:cxnSp>
          <p:nvCxnSpPr>
            <p:cNvPr id="66" name="Elbow Connector 65"/>
            <p:cNvCxnSpPr/>
            <p:nvPr/>
          </p:nvCxnSpPr>
          <p:spPr>
            <a:xfrm rot="16200000" flipH="1">
              <a:off x="6476892" y="3019907"/>
              <a:ext cx="253379" cy="1070500"/>
            </a:xfrm>
            <a:prstGeom prst="bentConnector3">
              <a:avLst/>
            </a:prstGeom>
            <a:noFill/>
            <a:ln w="9525" cap="flat" cmpd="sng" algn="ctr">
              <a:solidFill>
                <a:schemeClr val="tx2"/>
              </a:solidFill>
              <a:prstDash val="solid"/>
            </a:ln>
            <a:effectLst/>
          </p:spPr>
        </p:cxnSp>
        <p:cxnSp>
          <p:nvCxnSpPr>
            <p:cNvPr id="67" name="Elbow Connector 66"/>
            <p:cNvCxnSpPr/>
            <p:nvPr/>
          </p:nvCxnSpPr>
          <p:spPr>
            <a:xfrm rot="16200000" flipH="1">
              <a:off x="7547391" y="1949408"/>
              <a:ext cx="253379" cy="3211499"/>
            </a:xfrm>
            <a:prstGeom prst="bentConnector3">
              <a:avLst/>
            </a:prstGeom>
            <a:noFill/>
            <a:ln w="9525" cap="flat" cmpd="sng" algn="ctr">
              <a:solidFill>
                <a:schemeClr val="tx2"/>
              </a:solidFill>
              <a:prstDash val="solid"/>
            </a:ln>
            <a:effectLst/>
          </p:spPr>
        </p:cxnSp>
      </p:grpSp>
    </p:spTree>
    <p:extLst>
      <p:ext uri="{BB962C8B-B14F-4D97-AF65-F5344CB8AC3E}">
        <p14:creationId xmlns:p14="http://schemas.microsoft.com/office/powerpoint/2010/main" val="1951987227"/>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ogram</a:t>
            </a:r>
          </a:p>
        </p:txBody>
      </p:sp>
      <p:sp>
        <p:nvSpPr>
          <p:cNvPr id="4" name="Slide Number Placeholder 3"/>
          <p:cNvSpPr>
            <a:spLocks noGrp="1"/>
          </p:cNvSpPr>
          <p:nvPr>
            <p:ph type="sldNum" sz="quarter" idx="4"/>
          </p:nvPr>
        </p:nvSpPr>
        <p:spPr/>
        <p:txBody>
          <a:bodyPr/>
          <a:lstStyle/>
          <a:p>
            <a:fld id="{D32BAE6A-B452-4007-8177-56DD051636F9}" type="slidenum">
              <a:rPr lang="en-GB" smtClean="0"/>
              <a:pPr/>
              <a:t>54</a:t>
            </a:fld>
            <a:endParaRPr lang="en-GB" dirty="0"/>
          </a:p>
        </p:txBody>
      </p:sp>
      <p:grpSp>
        <p:nvGrpSpPr>
          <p:cNvPr id="3" name="Group 2"/>
          <p:cNvGrpSpPr/>
          <p:nvPr/>
        </p:nvGrpSpPr>
        <p:grpSpPr>
          <a:xfrm>
            <a:off x="507999" y="1528763"/>
            <a:ext cx="11171741" cy="4830761"/>
            <a:chOff x="2031332" y="1696040"/>
            <a:chExt cx="8168356" cy="3658175"/>
          </a:xfrm>
        </p:grpSpPr>
        <p:cxnSp>
          <p:nvCxnSpPr>
            <p:cNvPr id="18" name="Elbow Connector 17"/>
            <p:cNvCxnSpPr>
              <a:stCxn id="47" idx="3"/>
              <a:endCxn id="55" idx="1"/>
            </p:cNvCxnSpPr>
            <p:nvPr/>
          </p:nvCxnSpPr>
          <p:spPr>
            <a:xfrm>
              <a:off x="3872832" y="2102440"/>
              <a:ext cx="267452" cy="1896916"/>
            </a:xfrm>
            <a:prstGeom prst="bentConnector3">
              <a:avLst/>
            </a:prstGeom>
            <a:noFill/>
            <a:ln w="9525" cap="flat" cmpd="sng" algn="ctr">
              <a:solidFill>
                <a:schemeClr val="tx2"/>
              </a:solidFill>
              <a:prstDash val="solid"/>
            </a:ln>
            <a:effectLst/>
          </p:spPr>
        </p:cxnSp>
        <p:cxnSp>
          <p:nvCxnSpPr>
            <p:cNvPr id="22" name="Elbow Connector 21"/>
            <p:cNvCxnSpPr>
              <a:stCxn id="41" idx="3"/>
              <a:endCxn id="34" idx="1"/>
            </p:cNvCxnSpPr>
            <p:nvPr/>
          </p:nvCxnSpPr>
          <p:spPr>
            <a:xfrm>
              <a:off x="5981784" y="2102440"/>
              <a:ext cx="267452" cy="948458"/>
            </a:xfrm>
            <a:prstGeom prst="bentConnector3">
              <a:avLst/>
            </a:prstGeom>
            <a:noFill/>
            <a:ln w="9525" cap="flat" cmpd="sng" algn="ctr">
              <a:solidFill>
                <a:schemeClr val="tx2"/>
              </a:solidFill>
              <a:prstDash val="solid"/>
            </a:ln>
            <a:effectLst/>
          </p:spPr>
        </p:cxnSp>
        <p:cxnSp>
          <p:nvCxnSpPr>
            <p:cNvPr id="26" name="Elbow Connector 25"/>
            <p:cNvCxnSpPr>
              <a:stCxn id="55" idx="3"/>
              <a:endCxn id="36" idx="1"/>
            </p:cNvCxnSpPr>
            <p:nvPr/>
          </p:nvCxnSpPr>
          <p:spPr>
            <a:xfrm>
              <a:off x="5981784" y="3999357"/>
              <a:ext cx="267452" cy="948459"/>
            </a:xfrm>
            <a:prstGeom prst="bentConnector3">
              <a:avLst/>
            </a:prstGeom>
            <a:noFill/>
            <a:ln w="9525" cap="flat" cmpd="sng" algn="ctr">
              <a:solidFill>
                <a:schemeClr val="tx2"/>
              </a:solidFill>
              <a:prstDash val="solid"/>
            </a:ln>
            <a:effectLst/>
          </p:spPr>
        </p:cxnSp>
        <p:cxnSp>
          <p:nvCxnSpPr>
            <p:cNvPr id="32" name="Elbow Connector 31"/>
            <p:cNvCxnSpPr>
              <a:stCxn id="54" idx="3"/>
              <a:endCxn id="33" idx="1"/>
            </p:cNvCxnSpPr>
            <p:nvPr/>
          </p:nvCxnSpPr>
          <p:spPr>
            <a:xfrm flipV="1">
              <a:off x="8090736" y="1886542"/>
              <a:ext cx="267452" cy="215899"/>
            </a:xfrm>
            <a:prstGeom prst="bentConnector3">
              <a:avLst/>
            </a:prstGeom>
            <a:noFill/>
            <a:ln w="9525" cap="flat" cmpd="sng" algn="ctr">
              <a:solidFill>
                <a:schemeClr val="tx2"/>
              </a:solidFill>
              <a:prstDash val="solid"/>
            </a:ln>
            <a:effectLst/>
          </p:spPr>
        </p:cxnSp>
        <p:cxnSp>
          <p:nvCxnSpPr>
            <p:cNvPr id="69" name="Elbow Connector 68"/>
            <p:cNvCxnSpPr>
              <a:stCxn id="54" idx="3"/>
              <a:endCxn id="38" idx="1"/>
            </p:cNvCxnSpPr>
            <p:nvPr/>
          </p:nvCxnSpPr>
          <p:spPr>
            <a:xfrm>
              <a:off x="8090736" y="2102440"/>
              <a:ext cx="267452" cy="215900"/>
            </a:xfrm>
            <a:prstGeom prst="bentConnector3">
              <a:avLst/>
            </a:prstGeom>
            <a:noFill/>
            <a:ln w="9525" cap="flat" cmpd="sng" algn="ctr">
              <a:solidFill>
                <a:schemeClr val="tx2"/>
              </a:solidFill>
              <a:prstDash val="solid"/>
            </a:ln>
            <a:effectLst/>
          </p:spPr>
        </p:cxnSp>
        <p:cxnSp>
          <p:nvCxnSpPr>
            <p:cNvPr id="70" name="Elbow Connector 69"/>
            <p:cNvCxnSpPr/>
            <p:nvPr/>
          </p:nvCxnSpPr>
          <p:spPr>
            <a:xfrm flipV="1">
              <a:off x="8090736" y="2835000"/>
              <a:ext cx="267452" cy="215899"/>
            </a:xfrm>
            <a:prstGeom prst="bentConnector3">
              <a:avLst/>
            </a:prstGeom>
            <a:noFill/>
            <a:ln w="9525" cap="flat" cmpd="sng" algn="ctr">
              <a:solidFill>
                <a:schemeClr val="tx2"/>
              </a:solidFill>
              <a:prstDash val="solid"/>
            </a:ln>
            <a:effectLst/>
          </p:spPr>
        </p:cxnSp>
        <p:cxnSp>
          <p:nvCxnSpPr>
            <p:cNvPr id="71" name="Elbow Connector 70"/>
            <p:cNvCxnSpPr/>
            <p:nvPr/>
          </p:nvCxnSpPr>
          <p:spPr>
            <a:xfrm>
              <a:off x="8090736" y="3050898"/>
              <a:ext cx="267452" cy="215900"/>
            </a:xfrm>
            <a:prstGeom prst="bentConnector3">
              <a:avLst/>
            </a:prstGeom>
            <a:noFill/>
            <a:ln w="9525" cap="flat" cmpd="sng" algn="ctr">
              <a:solidFill>
                <a:schemeClr val="tx2"/>
              </a:solidFill>
              <a:prstDash val="solid"/>
            </a:ln>
            <a:effectLst/>
          </p:spPr>
        </p:cxnSp>
        <p:cxnSp>
          <p:nvCxnSpPr>
            <p:cNvPr id="72" name="Elbow Connector 71"/>
            <p:cNvCxnSpPr/>
            <p:nvPr/>
          </p:nvCxnSpPr>
          <p:spPr>
            <a:xfrm flipV="1">
              <a:off x="8090736" y="3783458"/>
              <a:ext cx="267452" cy="215899"/>
            </a:xfrm>
            <a:prstGeom prst="bentConnector3">
              <a:avLst/>
            </a:prstGeom>
            <a:noFill/>
            <a:ln w="9525" cap="flat" cmpd="sng" algn="ctr">
              <a:solidFill>
                <a:schemeClr val="tx2"/>
              </a:solidFill>
              <a:prstDash val="solid"/>
            </a:ln>
            <a:effectLst/>
          </p:spPr>
        </p:cxnSp>
        <p:cxnSp>
          <p:nvCxnSpPr>
            <p:cNvPr id="73" name="Elbow Connector 72"/>
            <p:cNvCxnSpPr/>
            <p:nvPr/>
          </p:nvCxnSpPr>
          <p:spPr>
            <a:xfrm>
              <a:off x="8090736" y="3999356"/>
              <a:ext cx="267452" cy="215900"/>
            </a:xfrm>
            <a:prstGeom prst="bentConnector3">
              <a:avLst/>
            </a:prstGeom>
            <a:noFill/>
            <a:ln w="9525" cap="flat" cmpd="sng" algn="ctr">
              <a:solidFill>
                <a:schemeClr val="tx2"/>
              </a:solidFill>
              <a:prstDash val="solid"/>
            </a:ln>
            <a:effectLst/>
          </p:spPr>
        </p:cxnSp>
        <p:cxnSp>
          <p:nvCxnSpPr>
            <p:cNvPr id="74" name="Elbow Connector 73"/>
            <p:cNvCxnSpPr/>
            <p:nvPr/>
          </p:nvCxnSpPr>
          <p:spPr>
            <a:xfrm flipV="1">
              <a:off x="8090736" y="4731917"/>
              <a:ext cx="267452" cy="215899"/>
            </a:xfrm>
            <a:prstGeom prst="bentConnector3">
              <a:avLst/>
            </a:prstGeom>
            <a:noFill/>
            <a:ln w="9525" cap="flat" cmpd="sng" algn="ctr">
              <a:solidFill>
                <a:schemeClr val="tx2"/>
              </a:solidFill>
              <a:prstDash val="solid"/>
            </a:ln>
            <a:effectLst/>
          </p:spPr>
        </p:cxnSp>
        <p:cxnSp>
          <p:nvCxnSpPr>
            <p:cNvPr id="75" name="Elbow Connector 74"/>
            <p:cNvCxnSpPr/>
            <p:nvPr/>
          </p:nvCxnSpPr>
          <p:spPr>
            <a:xfrm>
              <a:off x="8090736" y="4947815"/>
              <a:ext cx="267452" cy="215900"/>
            </a:xfrm>
            <a:prstGeom prst="bentConnector3">
              <a:avLst/>
            </a:prstGeom>
            <a:noFill/>
            <a:ln w="9525" cap="flat" cmpd="sng" algn="ctr">
              <a:solidFill>
                <a:schemeClr val="tx2"/>
              </a:solidFill>
              <a:prstDash val="solid"/>
            </a:ln>
            <a:effectLst/>
          </p:spPr>
        </p:cxnSp>
        <p:sp>
          <p:nvSpPr>
            <p:cNvPr id="47" name="AutoShape 13"/>
            <p:cNvSpPr>
              <a:spLocks noChangeArrowheads="1"/>
            </p:cNvSpPr>
            <p:nvPr/>
          </p:nvSpPr>
          <p:spPr bwMode="auto">
            <a:xfrm>
              <a:off x="2031332" y="1696040"/>
              <a:ext cx="1841500" cy="812800"/>
            </a:xfrm>
            <a:prstGeom prst="rect">
              <a:avLst/>
            </a:prstGeom>
            <a:solidFill>
              <a:schemeClr val="accent2"/>
            </a:solidFill>
            <a:ln w="19050">
              <a:noFill/>
              <a:round/>
              <a:headEnd/>
              <a:tailEnd/>
            </a:ln>
            <a:effectLst/>
          </p:spPr>
          <p:txBody>
            <a:bodyPr wrap="square" lIns="76200" tIns="50800" rIns="36000" bIns="36000" anchor="t" anchorCtr="0"/>
            <a:lstStyle/>
            <a:p>
              <a:pPr defTabSz="914400">
                <a:lnSpc>
                  <a:spcPct val="110000"/>
                </a:lnSpc>
                <a:defRPr/>
              </a:pPr>
              <a:r>
                <a:rPr lang="en-MY" sz="1000" kern="0" dirty="0">
                  <a:solidFill>
                    <a:srgbClr val="FFFFFF"/>
                  </a:solidFill>
                  <a:latin typeface="+mj-lt"/>
                </a:rPr>
                <a:t>Name</a:t>
              </a:r>
            </a:p>
            <a:p>
              <a:pPr defTabSz="914400">
                <a:lnSpc>
                  <a:spcPct val="110000"/>
                </a:lnSpc>
                <a:defRPr/>
              </a:pPr>
              <a:endParaRPr lang="en-MY" sz="1000" kern="0" dirty="0">
                <a:solidFill>
                  <a:srgbClr val="FFFFFF"/>
                </a:solidFill>
                <a:latin typeface="+mj-lt"/>
              </a:endParaRPr>
            </a:p>
            <a:p>
              <a:pPr defTabSz="914400">
                <a:lnSpc>
                  <a:spcPct val="110000"/>
                </a:lnSpc>
                <a:defRPr/>
              </a:pPr>
              <a:r>
                <a:rPr lang="en-MY" sz="1000" kern="0" dirty="0">
                  <a:solidFill>
                    <a:srgbClr val="FFFFFF"/>
                  </a:solidFill>
                </a:rPr>
                <a:t>Job Title	</a:t>
              </a:r>
            </a:p>
            <a:p>
              <a:pPr defTabSz="914400">
                <a:lnSpc>
                  <a:spcPct val="110000"/>
                </a:lnSpc>
                <a:defRPr/>
              </a:pPr>
              <a:r>
                <a:rPr lang="en-MY" sz="1000" kern="0" dirty="0">
                  <a:solidFill>
                    <a:srgbClr val="FFFFFF"/>
                  </a:solidFill>
                </a:rPr>
                <a:t>Company</a:t>
              </a:r>
            </a:p>
          </p:txBody>
        </p:sp>
        <p:sp>
          <p:nvSpPr>
            <p:cNvPr id="54" name="AutoShape 13"/>
            <p:cNvSpPr>
              <a:spLocks noChangeArrowheads="1"/>
            </p:cNvSpPr>
            <p:nvPr/>
          </p:nvSpPr>
          <p:spPr bwMode="auto">
            <a:xfrm>
              <a:off x="6249236" y="1696040"/>
              <a:ext cx="18415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5" name="AutoShape 13"/>
            <p:cNvSpPr>
              <a:spLocks noChangeArrowheads="1"/>
            </p:cNvSpPr>
            <p:nvPr/>
          </p:nvSpPr>
          <p:spPr bwMode="auto">
            <a:xfrm>
              <a:off x="4140284" y="3592956"/>
              <a:ext cx="1841500" cy="812800"/>
            </a:xfrm>
            <a:prstGeom prst="rect">
              <a:avLst/>
            </a:prstGeom>
            <a:solidFill>
              <a:schemeClr val="accent1">
                <a:alpha val="80000"/>
              </a:schemeClr>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a:p>
              <a:pPr defTabSz="914400">
                <a:lnSpc>
                  <a:spcPct val="110000"/>
                </a:lnSpc>
                <a:defRPr/>
              </a:pPr>
              <a:endParaRPr lang="en-MY" sz="1000" kern="0" dirty="0">
                <a:solidFill>
                  <a:srgbClr val="595959"/>
                </a:solidFill>
              </a:endParaRPr>
            </a:p>
          </p:txBody>
        </p:sp>
        <p:sp>
          <p:nvSpPr>
            <p:cNvPr id="33" name="AutoShape 13"/>
            <p:cNvSpPr>
              <a:spLocks noChangeArrowheads="1"/>
            </p:cNvSpPr>
            <p:nvPr/>
          </p:nvSpPr>
          <p:spPr bwMode="auto">
            <a:xfrm>
              <a:off x="8358188" y="1696041"/>
              <a:ext cx="1841500" cy="3810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900" kern="0" dirty="0">
                  <a:latin typeface="+mj-lt"/>
                </a:rPr>
                <a:t>Name</a:t>
              </a:r>
            </a:p>
            <a:p>
              <a:pPr lvl="0">
                <a:lnSpc>
                  <a:spcPct val="110000"/>
                </a:lnSpc>
                <a:defRPr/>
              </a:pPr>
              <a:r>
                <a:rPr lang="en-MY" sz="900" kern="0" dirty="0"/>
                <a:t>Job Title</a:t>
              </a:r>
            </a:p>
          </p:txBody>
        </p:sp>
        <p:sp>
          <p:nvSpPr>
            <p:cNvPr id="34" name="AutoShape 13"/>
            <p:cNvSpPr>
              <a:spLocks noChangeArrowheads="1"/>
            </p:cNvSpPr>
            <p:nvPr/>
          </p:nvSpPr>
          <p:spPr bwMode="auto">
            <a:xfrm>
              <a:off x="6249236" y="2644498"/>
              <a:ext cx="18415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35" name="AutoShape 13"/>
            <p:cNvSpPr>
              <a:spLocks noChangeArrowheads="1"/>
            </p:cNvSpPr>
            <p:nvPr/>
          </p:nvSpPr>
          <p:spPr bwMode="auto">
            <a:xfrm>
              <a:off x="6249236" y="3592956"/>
              <a:ext cx="18415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36" name="AutoShape 13"/>
            <p:cNvSpPr>
              <a:spLocks noChangeArrowheads="1"/>
            </p:cNvSpPr>
            <p:nvPr/>
          </p:nvSpPr>
          <p:spPr bwMode="auto">
            <a:xfrm>
              <a:off x="6249236" y="4541415"/>
              <a:ext cx="18415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38" name="AutoShape 13"/>
            <p:cNvSpPr>
              <a:spLocks noChangeArrowheads="1"/>
            </p:cNvSpPr>
            <p:nvPr/>
          </p:nvSpPr>
          <p:spPr bwMode="auto">
            <a:xfrm>
              <a:off x="8358188" y="2127840"/>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1" name="AutoShape 13"/>
            <p:cNvSpPr>
              <a:spLocks noChangeArrowheads="1"/>
            </p:cNvSpPr>
            <p:nvPr/>
          </p:nvSpPr>
          <p:spPr bwMode="auto">
            <a:xfrm>
              <a:off x="4140284" y="1696040"/>
              <a:ext cx="1841500" cy="812800"/>
            </a:xfrm>
            <a:prstGeom prst="rect">
              <a:avLst/>
            </a:prstGeom>
            <a:solidFill>
              <a:schemeClr val="accent1">
                <a:alpha val="80000"/>
              </a:schemeClr>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p:txBody>
        </p:sp>
        <p:sp>
          <p:nvSpPr>
            <p:cNvPr id="42" name="AutoShape 13"/>
            <p:cNvSpPr>
              <a:spLocks noChangeArrowheads="1"/>
            </p:cNvSpPr>
            <p:nvPr/>
          </p:nvSpPr>
          <p:spPr bwMode="auto">
            <a:xfrm>
              <a:off x="8358188" y="2644499"/>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3" name="AutoShape 13"/>
            <p:cNvSpPr>
              <a:spLocks noChangeArrowheads="1"/>
            </p:cNvSpPr>
            <p:nvPr/>
          </p:nvSpPr>
          <p:spPr bwMode="auto">
            <a:xfrm>
              <a:off x="8358188" y="3076298"/>
              <a:ext cx="1841500" cy="381000"/>
            </a:xfrm>
            <a:prstGeom prst="rect">
              <a:avLst/>
            </a:prstGeom>
            <a:solidFill>
              <a:srgbClr val="DEDEDE"/>
            </a:solidFill>
            <a:ln w="19050">
              <a:noFill/>
              <a:round/>
              <a:headEnd/>
              <a:tailEnd/>
            </a:ln>
            <a:effectLst/>
          </p:spPr>
          <p:txBody>
            <a:bodyPr wrap="square" lIns="76200" tIns="50800" rIns="36000" bIns="36000" anchor="t" anchorCtr="0"/>
            <a:lstStyle/>
            <a:p>
              <a:pPr lvl="0">
                <a:lnSpc>
                  <a:spcPct val="110000"/>
                </a:lnSpc>
                <a:defRPr/>
              </a:pPr>
              <a:r>
                <a:rPr lang="en-MY" sz="900" kern="0" dirty="0">
                  <a:latin typeface="+mj-lt"/>
                </a:rPr>
                <a:t>Name</a:t>
              </a:r>
            </a:p>
            <a:p>
              <a:pPr lvl="0">
                <a:lnSpc>
                  <a:spcPct val="110000"/>
                </a:lnSpc>
                <a:defRPr/>
              </a:pPr>
              <a:r>
                <a:rPr lang="en-MY" sz="900" kern="0" dirty="0"/>
                <a:t>Job Title</a:t>
              </a:r>
            </a:p>
          </p:txBody>
        </p:sp>
        <p:sp>
          <p:nvSpPr>
            <p:cNvPr id="44" name="AutoShape 13"/>
            <p:cNvSpPr>
              <a:spLocks noChangeArrowheads="1"/>
            </p:cNvSpPr>
            <p:nvPr/>
          </p:nvSpPr>
          <p:spPr bwMode="auto">
            <a:xfrm>
              <a:off x="8358188" y="3592957"/>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5" name="AutoShape 13"/>
            <p:cNvSpPr>
              <a:spLocks noChangeArrowheads="1"/>
            </p:cNvSpPr>
            <p:nvPr/>
          </p:nvSpPr>
          <p:spPr bwMode="auto">
            <a:xfrm>
              <a:off x="8358188" y="4024756"/>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6" name="AutoShape 13"/>
            <p:cNvSpPr>
              <a:spLocks noChangeArrowheads="1"/>
            </p:cNvSpPr>
            <p:nvPr/>
          </p:nvSpPr>
          <p:spPr bwMode="auto">
            <a:xfrm>
              <a:off x="8358188" y="4541416"/>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68" name="AutoShape 13"/>
            <p:cNvSpPr>
              <a:spLocks noChangeArrowheads="1"/>
            </p:cNvSpPr>
            <p:nvPr/>
          </p:nvSpPr>
          <p:spPr bwMode="auto">
            <a:xfrm>
              <a:off x="8358188" y="4973215"/>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cxnSp>
          <p:nvCxnSpPr>
            <p:cNvPr id="86" name="Straight Connector 85"/>
            <p:cNvCxnSpPr>
              <a:stCxn id="47" idx="3"/>
              <a:endCxn id="41" idx="1"/>
            </p:cNvCxnSpPr>
            <p:nvPr/>
          </p:nvCxnSpPr>
          <p:spPr>
            <a:xfrm>
              <a:off x="3872832" y="2102440"/>
              <a:ext cx="267452" cy="0"/>
            </a:xfrm>
            <a:prstGeom prst="line">
              <a:avLst/>
            </a:prstGeom>
            <a:noFill/>
            <a:ln w="9525" cap="flat" cmpd="sng" algn="ctr">
              <a:solidFill>
                <a:schemeClr val="tx2"/>
              </a:solidFill>
              <a:prstDash val="solid"/>
            </a:ln>
            <a:effectLst/>
          </p:spPr>
        </p:cxnSp>
        <p:cxnSp>
          <p:nvCxnSpPr>
            <p:cNvPr id="87" name="Straight Connector 86"/>
            <p:cNvCxnSpPr/>
            <p:nvPr/>
          </p:nvCxnSpPr>
          <p:spPr>
            <a:xfrm>
              <a:off x="5981784" y="2102440"/>
              <a:ext cx="267452" cy="0"/>
            </a:xfrm>
            <a:prstGeom prst="line">
              <a:avLst/>
            </a:prstGeom>
            <a:noFill/>
            <a:ln w="9525" cap="flat" cmpd="sng" algn="ctr">
              <a:solidFill>
                <a:schemeClr val="tx2"/>
              </a:solidFill>
              <a:prstDash val="solid"/>
            </a:ln>
            <a:effectLst/>
          </p:spPr>
        </p:cxnSp>
        <p:cxnSp>
          <p:nvCxnSpPr>
            <p:cNvPr id="88" name="Straight Connector 87"/>
            <p:cNvCxnSpPr/>
            <p:nvPr/>
          </p:nvCxnSpPr>
          <p:spPr>
            <a:xfrm>
              <a:off x="5981784" y="3999356"/>
              <a:ext cx="267452" cy="0"/>
            </a:xfrm>
            <a:prstGeom prst="line">
              <a:avLst/>
            </a:prstGeom>
            <a:noFill/>
            <a:ln w="9525" cap="flat" cmpd="sng" algn="ctr">
              <a:solidFill>
                <a:schemeClr val="tx2"/>
              </a:solidFill>
              <a:prstDash val="solid"/>
            </a:ln>
            <a:effectLst/>
          </p:spPr>
        </p:cxnSp>
      </p:grpSp>
    </p:spTree>
    <p:extLst>
      <p:ext uri="{BB962C8B-B14F-4D97-AF65-F5344CB8AC3E}">
        <p14:creationId xmlns:p14="http://schemas.microsoft.com/office/powerpoint/2010/main" val="3432590325"/>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ganogram</a:t>
            </a:r>
          </a:p>
        </p:txBody>
      </p:sp>
      <p:sp>
        <p:nvSpPr>
          <p:cNvPr id="4" name="Slide Number Placeholder 3"/>
          <p:cNvSpPr>
            <a:spLocks noGrp="1"/>
          </p:cNvSpPr>
          <p:nvPr>
            <p:ph type="sldNum" sz="quarter" idx="4"/>
          </p:nvPr>
        </p:nvSpPr>
        <p:spPr/>
        <p:txBody>
          <a:bodyPr/>
          <a:lstStyle/>
          <a:p>
            <a:fld id="{D32BAE6A-B452-4007-8177-56DD051636F9}" type="slidenum">
              <a:rPr lang="en-GB" smtClean="0"/>
              <a:pPr/>
              <a:t>55</a:t>
            </a:fld>
            <a:endParaRPr lang="en-GB" dirty="0"/>
          </a:p>
        </p:txBody>
      </p:sp>
      <p:grpSp>
        <p:nvGrpSpPr>
          <p:cNvPr id="3" name="Group 2"/>
          <p:cNvGrpSpPr/>
          <p:nvPr/>
        </p:nvGrpSpPr>
        <p:grpSpPr>
          <a:xfrm>
            <a:off x="508001" y="1528763"/>
            <a:ext cx="11171740" cy="4830761"/>
            <a:chOff x="2031332" y="1696040"/>
            <a:chExt cx="8168356" cy="3658175"/>
          </a:xfrm>
        </p:grpSpPr>
        <p:cxnSp>
          <p:nvCxnSpPr>
            <p:cNvPr id="18" name="Elbow Connector 17"/>
            <p:cNvCxnSpPr>
              <a:stCxn id="47" idx="3"/>
              <a:endCxn id="55" idx="1"/>
            </p:cNvCxnSpPr>
            <p:nvPr/>
          </p:nvCxnSpPr>
          <p:spPr>
            <a:xfrm>
              <a:off x="3872832" y="3525127"/>
              <a:ext cx="267452" cy="794654"/>
            </a:xfrm>
            <a:prstGeom prst="bentConnector3">
              <a:avLst/>
            </a:prstGeom>
            <a:noFill/>
            <a:ln w="9525" cap="flat" cmpd="sng" algn="ctr">
              <a:solidFill>
                <a:schemeClr val="tx2"/>
              </a:solidFill>
              <a:prstDash val="solid"/>
            </a:ln>
            <a:effectLst/>
          </p:spPr>
        </p:cxnSp>
        <p:cxnSp>
          <p:nvCxnSpPr>
            <p:cNvPr id="22" name="Elbow Connector 21"/>
            <p:cNvCxnSpPr>
              <a:stCxn id="41" idx="3"/>
              <a:endCxn id="34" idx="1"/>
            </p:cNvCxnSpPr>
            <p:nvPr/>
          </p:nvCxnSpPr>
          <p:spPr>
            <a:xfrm>
              <a:off x="5981784" y="2724740"/>
              <a:ext cx="267452" cy="326158"/>
            </a:xfrm>
            <a:prstGeom prst="bentConnector3">
              <a:avLst/>
            </a:prstGeom>
            <a:noFill/>
            <a:ln w="9525" cap="flat" cmpd="sng" algn="ctr">
              <a:solidFill>
                <a:schemeClr val="tx2"/>
              </a:solidFill>
              <a:prstDash val="solid"/>
            </a:ln>
            <a:effectLst/>
          </p:spPr>
        </p:cxnSp>
        <p:cxnSp>
          <p:nvCxnSpPr>
            <p:cNvPr id="26" name="Elbow Connector 25"/>
            <p:cNvCxnSpPr>
              <a:stCxn id="55" idx="3"/>
              <a:endCxn id="36" idx="1"/>
            </p:cNvCxnSpPr>
            <p:nvPr/>
          </p:nvCxnSpPr>
          <p:spPr>
            <a:xfrm>
              <a:off x="5981784" y="4319781"/>
              <a:ext cx="267452" cy="628034"/>
            </a:xfrm>
            <a:prstGeom prst="bentConnector3">
              <a:avLst/>
            </a:prstGeom>
            <a:noFill/>
            <a:ln w="9525" cap="flat" cmpd="sng" algn="ctr">
              <a:solidFill>
                <a:schemeClr val="tx2"/>
              </a:solidFill>
              <a:prstDash val="solid"/>
            </a:ln>
            <a:effectLst/>
          </p:spPr>
        </p:cxnSp>
        <p:cxnSp>
          <p:nvCxnSpPr>
            <p:cNvPr id="32" name="Elbow Connector 31"/>
            <p:cNvCxnSpPr>
              <a:stCxn id="54" idx="3"/>
              <a:endCxn id="33" idx="1"/>
            </p:cNvCxnSpPr>
            <p:nvPr/>
          </p:nvCxnSpPr>
          <p:spPr>
            <a:xfrm flipV="1">
              <a:off x="8090736" y="1886542"/>
              <a:ext cx="267452" cy="215899"/>
            </a:xfrm>
            <a:prstGeom prst="bentConnector3">
              <a:avLst/>
            </a:prstGeom>
            <a:noFill/>
            <a:ln w="9525" cap="flat" cmpd="sng" algn="ctr">
              <a:solidFill>
                <a:schemeClr val="tx2"/>
              </a:solidFill>
              <a:prstDash val="solid"/>
            </a:ln>
            <a:effectLst/>
          </p:spPr>
        </p:cxnSp>
        <p:cxnSp>
          <p:nvCxnSpPr>
            <p:cNvPr id="69" name="Elbow Connector 68"/>
            <p:cNvCxnSpPr>
              <a:stCxn id="54" idx="3"/>
              <a:endCxn id="38" idx="1"/>
            </p:cNvCxnSpPr>
            <p:nvPr/>
          </p:nvCxnSpPr>
          <p:spPr>
            <a:xfrm>
              <a:off x="8090736" y="2102440"/>
              <a:ext cx="267452" cy="215900"/>
            </a:xfrm>
            <a:prstGeom prst="bentConnector3">
              <a:avLst/>
            </a:prstGeom>
            <a:noFill/>
            <a:ln w="9525" cap="flat" cmpd="sng" algn="ctr">
              <a:solidFill>
                <a:schemeClr val="tx2"/>
              </a:solidFill>
              <a:prstDash val="solid"/>
            </a:ln>
            <a:effectLst/>
          </p:spPr>
        </p:cxnSp>
        <p:cxnSp>
          <p:nvCxnSpPr>
            <p:cNvPr id="70" name="Elbow Connector 69"/>
            <p:cNvCxnSpPr/>
            <p:nvPr/>
          </p:nvCxnSpPr>
          <p:spPr>
            <a:xfrm flipV="1">
              <a:off x="8090736" y="2835000"/>
              <a:ext cx="267452" cy="215899"/>
            </a:xfrm>
            <a:prstGeom prst="bentConnector3">
              <a:avLst/>
            </a:prstGeom>
            <a:noFill/>
            <a:ln w="9525" cap="flat" cmpd="sng" algn="ctr">
              <a:solidFill>
                <a:schemeClr val="tx2"/>
              </a:solidFill>
              <a:prstDash val="solid"/>
            </a:ln>
            <a:effectLst/>
          </p:spPr>
        </p:cxnSp>
        <p:cxnSp>
          <p:nvCxnSpPr>
            <p:cNvPr id="71" name="Elbow Connector 70"/>
            <p:cNvCxnSpPr/>
            <p:nvPr/>
          </p:nvCxnSpPr>
          <p:spPr>
            <a:xfrm>
              <a:off x="8090736" y="3050898"/>
              <a:ext cx="267452" cy="215900"/>
            </a:xfrm>
            <a:prstGeom prst="bentConnector3">
              <a:avLst/>
            </a:prstGeom>
            <a:noFill/>
            <a:ln w="9525" cap="flat" cmpd="sng" algn="ctr">
              <a:solidFill>
                <a:schemeClr val="tx2"/>
              </a:solidFill>
              <a:prstDash val="solid"/>
            </a:ln>
            <a:effectLst/>
          </p:spPr>
        </p:cxnSp>
        <p:cxnSp>
          <p:nvCxnSpPr>
            <p:cNvPr id="72" name="Elbow Connector 71"/>
            <p:cNvCxnSpPr/>
            <p:nvPr/>
          </p:nvCxnSpPr>
          <p:spPr>
            <a:xfrm flipV="1">
              <a:off x="8090736" y="3783458"/>
              <a:ext cx="267452" cy="215899"/>
            </a:xfrm>
            <a:prstGeom prst="bentConnector3">
              <a:avLst/>
            </a:prstGeom>
            <a:noFill/>
            <a:ln w="9525" cap="flat" cmpd="sng" algn="ctr">
              <a:solidFill>
                <a:schemeClr val="tx2"/>
              </a:solidFill>
              <a:prstDash val="solid"/>
            </a:ln>
            <a:effectLst/>
          </p:spPr>
        </p:cxnSp>
        <p:cxnSp>
          <p:nvCxnSpPr>
            <p:cNvPr id="73" name="Elbow Connector 72"/>
            <p:cNvCxnSpPr/>
            <p:nvPr/>
          </p:nvCxnSpPr>
          <p:spPr>
            <a:xfrm>
              <a:off x="8090736" y="3999356"/>
              <a:ext cx="267452" cy="215900"/>
            </a:xfrm>
            <a:prstGeom prst="bentConnector3">
              <a:avLst/>
            </a:prstGeom>
            <a:noFill/>
            <a:ln w="9525" cap="flat" cmpd="sng" algn="ctr">
              <a:solidFill>
                <a:schemeClr val="tx2"/>
              </a:solidFill>
              <a:prstDash val="solid"/>
            </a:ln>
            <a:effectLst/>
          </p:spPr>
        </p:cxnSp>
        <p:cxnSp>
          <p:nvCxnSpPr>
            <p:cNvPr id="74" name="Elbow Connector 73"/>
            <p:cNvCxnSpPr/>
            <p:nvPr/>
          </p:nvCxnSpPr>
          <p:spPr>
            <a:xfrm flipV="1">
              <a:off x="8090736" y="4731917"/>
              <a:ext cx="267452" cy="215899"/>
            </a:xfrm>
            <a:prstGeom prst="bentConnector3">
              <a:avLst/>
            </a:prstGeom>
            <a:noFill/>
            <a:ln w="9525" cap="flat" cmpd="sng" algn="ctr">
              <a:solidFill>
                <a:schemeClr val="tx2"/>
              </a:solidFill>
              <a:prstDash val="solid"/>
            </a:ln>
            <a:effectLst/>
          </p:spPr>
        </p:cxnSp>
        <p:cxnSp>
          <p:nvCxnSpPr>
            <p:cNvPr id="75" name="Elbow Connector 74"/>
            <p:cNvCxnSpPr/>
            <p:nvPr/>
          </p:nvCxnSpPr>
          <p:spPr>
            <a:xfrm>
              <a:off x="8090736" y="4947815"/>
              <a:ext cx="267452" cy="215900"/>
            </a:xfrm>
            <a:prstGeom prst="bentConnector3">
              <a:avLst/>
            </a:prstGeom>
            <a:noFill/>
            <a:ln w="9525" cap="flat" cmpd="sng" algn="ctr">
              <a:solidFill>
                <a:schemeClr val="tx2"/>
              </a:solidFill>
              <a:prstDash val="solid"/>
            </a:ln>
            <a:effectLst/>
          </p:spPr>
        </p:cxnSp>
        <p:sp>
          <p:nvSpPr>
            <p:cNvPr id="47" name="AutoShape 13"/>
            <p:cNvSpPr>
              <a:spLocks noChangeArrowheads="1"/>
            </p:cNvSpPr>
            <p:nvPr/>
          </p:nvSpPr>
          <p:spPr bwMode="auto">
            <a:xfrm>
              <a:off x="2031332" y="3118727"/>
              <a:ext cx="1841500" cy="812800"/>
            </a:xfrm>
            <a:prstGeom prst="rect">
              <a:avLst/>
            </a:prstGeom>
            <a:solidFill>
              <a:schemeClr val="accent1"/>
            </a:solidFill>
            <a:ln w="19050">
              <a:noFill/>
              <a:round/>
              <a:headEnd/>
              <a:tailEnd/>
            </a:ln>
            <a:effectLst/>
          </p:spPr>
          <p:txBody>
            <a:bodyPr wrap="square" lIns="76200" tIns="50800" rIns="36000" bIns="36000" anchor="t" anchorCtr="0"/>
            <a:lstStyle/>
            <a:p>
              <a:pPr defTabSz="914400">
                <a:lnSpc>
                  <a:spcPct val="110000"/>
                </a:lnSpc>
                <a:defRPr/>
              </a:pPr>
              <a:r>
                <a:rPr lang="en-MY" sz="1000" kern="0" dirty="0">
                  <a:latin typeface="+mj-lt"/>
                </a:rPr>
                <a:t>Name</a:t>
              </a:r>
            </a:p>
            <a:p>
              <a:pPr defTabSz="914400">
                <a:lnSpc>
                  <a:spcPct val="110000"/>
                </a:lnSpc>
                <a:defRPr/>
              </a:pPr>
              <a:endParaRPr lang="en-MY" sz="1000" kern="0" dirty="0">
                <a:latin typeface="+mj-lt"/>
              </a:endParaRPr>
            </a:p>
            <a:p>
              <a:pPr defTabSz="914400">
                <a:lnSpc>
                  <a:spcPct val="110000"/>
                </a:lnSpc>
                <a:defRPr/>
              </a:pPr>
              <a:r>
                <a:rPr lang="en-MY" sz="1000" kern="0" dirty="0"/>
                <a:t>Job Title	</a:t>
              </a:r>
            </a:p>
            <a:p>
              <a:pPr defTabSz="914400">
                <a:lnSpc>
                  <a:spcPct val="110000"/>
                </a:lnSpc>
                <a:defRPr/>
              </a:pPr>
              <a:r>
                <a:rPr lang="en-MY" sz="1000" kern="0" dirty="0"/>
                <a:t>Company</a:t>
              </a:r>
            </a:p>
          </p:txBody>
        </p:sp>
        <p:sp>
          <p:nvSpPr>
            <p:cNvPr id="54" name="AutoShape 13"/>
            <p:cNvSpPr>
              <a:spLocks noChangeArrowheads="1"/>
            </p:cNvSpPr>
            <p:nvPr/>
          </p:nvSpPr>
          <p:spPr bwMode="auto">
            <a:xfrm>
              <a:off x="6249236" y="1696040"/>
              <a:ext cx="18415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55" name="AutoShape 13"/>
            <p:cNvSpPr>
              <a:spLocks noChangeArrowheads="1"/>
            </p:cNvSpPr>
            <p:nvPr/>
          </p:nvSpPr>
          <p:spPr bwMode="auto">
            <a:xfrm>
              <a:off x="4140284" y="3913381"/>
              <a:ext cx="1841500" cy="812800"/>
            </a:xfrm>
            <a:prstGeom prst="rect">
              <a:avLst/>
            </a:prstGeom>
            <a:solidFill>
              <a:schemeClr val="accent1">
                <a:alpha val="50000"/>
              </a:schemeClr>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a:p>
              <a:pPr defTabSz="914400">
                <a:lnSpc>
                  <a:spcPct val="110000"/>
                </a:lnSpc>
                <a:defRPr/>
              </a:pPr>
              <a:endParaRPr lang="en-MY" sz="1000" kern="0" dirty="0">
                <a:solidFill>
                  <a:srgbClr val="595959"/>
                </a:solidFill>
              </a:endParaRPr>
            </a:p>
          </p:txBody>
        </p:sp>
        <p:sp>
          <p:nvSpPr>
            <p:cNvPr id="33" name="AutoShape 13"/>
            <p:cNvSpPr>
              <a:spLocks noChangeArrowheads="1"/>
            </p:cNvSpPr>
            <p:nvPr/>
          </p:nvSpPr>
          <p:spPr bwMode="auto">
            <a:xfrm>
              <a:off x="8358188" y="1696041"/>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34" name="AutoShape 13"/>
            <p:cNvSpPr>
              <a:spLocks noChangeArrowheads="1"/>
            </p:cNvSpPr>
            <p:nvPr/>
          </p:nvSpPr>
          <p:spPr bwMode="auto">
            <a:xfrm>
              <a:off x="6249236" y="2644498"/>
              <a:ext cx="18415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35" name="AutoShape 13"/>
            <p:cNvSpPr>
              <a:spLocks noChangeArrowheads="1"/>
            </p:cNvSpPr>
            <p:nvPr/>
          </p:nvSpPr>
          <p:spPr bwMode="auto">
            <a:xfrm>
              <a:off x="6249236" y="3592956"/>
              <a:ext cx="18415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36" name="AutoShape 13"/>
            <p:cNvSpPr>
              <a:spLocks noChangeArrowheads="1"/>
            </p:cNvSpPr>
            <p:nvPr/>
          </p:nvSpPr>
          <p:spPr bwMode="auto">
            <a:xfrm>
              <a:off x="6249236" y="4541415"/>
              <a:ext cx="1841500" cy="8128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p:txBody>
        </p:sp>
        <p:sp>
          <p:nvSpPr>
            <p:cNvPr id="38" name="AutoShape 13"/>
            <p:cNvSpPr>
              <a:spLocks noChangeArrowheads="1"/>
            </p:cNvSpPr>
            <p:nvPr/>
          </p:nvSpPr>
          <p:spPr bwMode="auto">
            <a:xfrm>
              <a:off x="8358188" y="2127840"/>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1" name="AutoShape 13"/>
            <p:cNvSpPr>
              <a:spLocks noChangeArrowheads="1"/>
            </p:cNvSpPr>
            <p:nvPr/>
          </p:nvSpPr>
          <p:spPr bwMode="auto">
            <a:xfrm>
              <a:off x="4140284" y="2318340"/>
              <a:ext cx="1841500" cy="812800"/>
            </a:xfrm>
            <a:prstGeom prst="rect">
              <a:avLst/>
            </a:prstGeom>
            <a:solidFill>
              <a:schemeClr val="accent1">
                <a:alpha val="50000"/>
              </a:schemeClr>
            </a:solidFill>
            <a:ln w="19050">
              <a:noFill/>
              <a:round/>
              <a:headEnd/>
              <a:tailEnd/>
            </a:ln>
            <a:effectLst/>
          </p:spPr>
          <p:txBody>
            <a:bodyPr wrap="square" lIns="76200" tIns="50800" rIns="36000" bIns="36000" anchor="t" anchorCtr="0"/>
            <a:lstStyle/>
            <a:p>
              <a:pPr>
                <a:lnSpc>
                  <a:spcPct val="110000"/>
                </a:lnSpc>
                <a:defRPr/>
              </a:pPr>
              <a:r>
                <a:rPr lang="en-MY" sz="1000" kern="0" dirty="0">
                  <a:latin typeface="+mj-lt"/>
                </a:rPr>
                <a:t>Name</a:t>
              </a:r>
            </a:p>
            <a:p>
              <a:pPr lvl="0">
                <a:lnSpc>
                  <a:spcPct val="110000"/>
                </a:lnSpc>
                <a:defRPr/>
              </a:pPr>
              <a:endParaRPr lang="en-MY" sz="1000" kern="0" dirty="0"/>
            </a:p>
            <a:p>
              <a:pPr lvl="0">
                <a:lnSpc>
                  <a:spcPct val="110000"/>
                </a:lnSpc>
                <a:defRPr/>
              </a:pPr>
              <a:r>
                <a:rPr lang="en-MY" sz="1000" kern="0" dirty="0"/>
                <a:t>Job Title	</a:t>
              </a:r>
            </a:p>
            <a:p>
              <a:pPr lvl="0">
                <a:lnSpc>
                  <a:spcPct val="110000"/>
                </a:lnSpc>
                <a:defRPr/>
              </a:pPr>
              <a:r>
                <a:rPr lang="en-MY" sz="1000" kern="0" dirty="0"/>
                <a:t>Company</a:t>
              </a:r>
            </a:p>
            <a:p>
              <a:pPr defTabSz="914400">
                <a:lnSpc>
                  <a:spcPct val="110000"/>
                </a:lnSpc>
                <a:defRPr/>
              </a:pPr>
              <a:endParaRPr lang="en-MY" sz="1000" kern="0" dirty="0">
                <a:solidFill>
                  <a:srgbClr val="595959"/>
                </a:solidFill>
              </a:endParaRPr>
            </a:p>
          </p:txBody>
        </p:sp>
        <p:sp>
          <p:nvSpPr>
            <p:cNvPr id="42" name="AutoShape 13"/>
            <p:cNvSpPr>
              <a:spLocks noChangeArrowheads="1"/>
            </p:cNvSpPr>
            <p:nvPr/>
          </p:nvSpPr>
          <p:spPr bwMode="auto">
            <a:xfrm>
              <a:off x="8358188" y="2644499"/>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3" name="AutoShape 13"/>
            <p:cNvSpPr>
              <a:spLocks noChangeArrowheads="1"/>
            </p:cNvSpPr>
            <p:nvPr/>
          </p:nvSpPr>
          <p:spPr bwMode="auto">
            <a:xfrm>
              <a:off x="8358188" y="3076298"/>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4" name="AutoShape 13"/>
            <p:cNvSpPr>
              <a:spLocks noChangeArrowheads="1"/>
            </p:cNvSpPr>
            <p:nvPr/>
          </p:nvSpPr>
          <p:spPr bwMode="auto">
            <a:xfrm>
              <a:off x="8358188" y="3592957"/>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5" name="AutoShape 13"/>
            <p:cNvSpPr>
              <a:spLocks noChangeArrowheads="1"/>
            </p:cNvSpPr>
            <p:nvPr/>
          </p:nvSpPr>
          <p:spPr bwMode="auto">
            <a:xfrm>
              <a:off x="8358188" y="4024756"/>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46" name="AutoShape 13"/>
            <p:cNvSpPr>
              <a:spLocks noChangeArrowheads="1"/>
            </p:cNvSpPr>
            <p:nvPr/>
          </p:nvSpPr>
          <p:spPr bwMode="auto">
            <a:xfrm>
              <a:off x="8358188" y="4541416"/>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sp>
          <p:nvSpPr>
            <p:cNvPr id="68" name="AutoShape 13"/>
            <p:cNvSpPr>
              <a:spLocks noChangeArrowheads="1"/>
            </p:cNvSpPr>
            <p:nvPr/>
          </p:nvSpPr>
          <p:spPr bwMode="auto">
            <a:xfrm>
              <a:off x="8358188" y="4973215"/>
              <a:ext cx="1841500" cy="381000"/>
            </a:xfrm>
            <a:prstGeom prst="rect">
              <a:avLst/>
            </a:prstGeom>
            <a:solidFill>
              <a:srgbClr val="DEDEDE"/>
            </a:solidFill>
            <a:ln w="19050">
              <a:noFill/>
              <a:round/>
              <a:headEnd/>
              <a:tailEnd/>
            </a:ln>
            <a:effectLst/>
          </p:spPr>
          <p:txBody>
            <a:bodyPr wrap="square" lIns="76200" tIns="50800" rIns="36000" bIns="36000" anchor="t" anchorCtr="0"/>
            <a:lstStyle/>
            <a:p>
              <a:pPr>
                <a:lnSpc>
                  <a:spcPct val="110000"/>
                </a:lnSpc>
                <a:defRPr/>
              </a:pPr>
              <a:r>
                <a:rPr lang="en-MY" sz="900" kern="0" dirty="0">
                  <a:latin typeface="+mj-lt"/>
                </a:rPr>
                <a:t>Name</a:t>
              </a:r>
            </a:p>
            <a:p>
              <a:pPr lvl="0">
                <a:lnSpc>
                  <a:spcPct val="110000"/>
                </a:lnSpc>
                <a:defRPr/>
              </a:pPr>
              <a:r>
                <a:rPr lang="en-MY" sz="900" kern="0" dirty="0"/>
                <a:t>Job Title</a:t>
              </a:r>
            </a:p>
          </p:txBody>
        </p:sp>
        <p:cxnSp>
          <p:nvCxnSpPr>
            <p:cNvPr id="15" name="Elbow Connector 14"/>
            <p:cNvCxnSpPr>
              <a:stCxn id="41" idx="3"/>
              <a:endCxn id="54" idx="1"/>
            </p:cNvCxnSpPr>
            <p:nvPr/>
          </p:nvCxnSpPr>
          <p:spPr>
            <a:xfrm flipV="1">
              <a:off x="5981784" y="2102440"/>
              <a:ext cx="267452" cy="622300"/>
            </a:xfrm>
            <a:prstGeom prst="bentConnector3">
              <a:avLst/>
            </a:prstGeom>
            <a:noFill/>
            <a:ln w="9525" cap="flat" cmpd="sng" algn="ctr">
              <a:solidFill>
                <a:schemeClr val="tx2"/>
              </a:solidFill>
              <a:prstDash val="solid"/>
            </a:ln>
            <a:effectLst/>
          </p:spPr>
        </p:cxnSp>
        <p:cxnSp>
          <p:nvCxnSpPr>
            <p:cNvPr id="17" name="Elbow Connector 16"/>
            <p:cNvCxnSpPr>
              <a:stCxn id="55" idx="3"/>
              <a:endCxn id="35" idx="1"/>
            </p:cNvCxnSpPr>
            <p:nvPr/>
          </p:nvCxnSpPr>
          <p:spPr>
            <a:xfrm flipV="1">
              <a:off x="5981784" y="3999357"/>
              <a:ext cx="267452" cy="320425"/>
            </a:xfrm>
            <a:prstGeom prst="bentConnector3">
              <a:avLst/>
            </a:prstGeom>
            <a:noFill/>
            <a:ln w="9525" cap="flat" cmpd="sng" algn="ctr">
              <a:solidFill>
                <a:schemeClr val="tx2"/>
              </a:solidFill>
              <a:prstDash val="solid"/>
            </a:ln>
            <a:effectLst/>
          </p:spPr>
        </p:cxnSp>
        <p:cxnSp>
          <p:nvCxnSpPr>
            <p:cNvPr id="20" name="Elbow Connector 19"/>
            <p:cNvCxnSpPr>
              <a:stCxn id="47" idx="3"/>
              <a:endCxn id="41" idx="1"/>
            </p:cNvCxnSpPr>
            <p:nvPr/>
          </p:nvCxnSpPr>
          <p:spPr>
            <a:xfrm flipV="1">
              <a:off x="3872832" y="2724741"/>
              <a:ext cx="267452" cy="800387"/>
            </a:xfrm>
            <a:prstGeom prst="bentConnector3">
              <a:avLst/>
            </a:prstGeom>
            <a:noFill/>
            <a:ln w="9525" cap="flat" cmpd="sng" algn="ctr">
              <a:solidFill>
                <a:schemeClr val="tx2"/>
              </a:solidFill>
              <a:prstDash val="solid"/>
            </a:ln>
            <a:effectLst/>
          </p:spPr>
        </p:cxnSp>
      </p:grpSp>
    </p:spTree>
    <p:extLst>
      <p:ext uri="{BB962C8B-B14F-4D97-AF65-F5344CB8AC3E}">
        <p14:creationId xmlns:p14="http://schemas.microsoft.com/office/powerpoint/2010/main" val="817956279"/>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p:cNvSpPr>
          <p:nvPr>
            <p:ph type="title"/>
          </p:nvPr>
        </p:nvSpPr>
        <p:spPr/>
        <p:txBody>
          <a:bodyPr/>
          <a:lstStyle/>
          <a:p>
            <a:r>
              <a:rPr lang="en-GB" dirty="0"/>
              <a:t>Conclusion</a:t>
            </a:r>
          </a:p>
        </p:txBody>
      </p:sp>
      <p:sp>
        <p:nvSpPr>
          <p:cNvPr id="35846" name="Rectangle 6"/>
          <p:cNvSpPr>
            <a:spLocks noChangeArrowheads="1"/>
          </p:cNvSpPr>
          <p:nvPr/>
        </p:nvSpPr>
        <p:spPr bwMode="gray">
          <a:xfrm>
            <a:off x="6073622" y="4140052"/>
            <a:ext cx="5605616" cy="2219473"/>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5847" name="AutoShape 7"/>
          <p:cNvSpPr>
            <a:spLocks noChangeArrowheads="1"/>
          </p:cNvSpPr>
          <p:nvPr/>
        </p:nvSpPr>
        <p:spPr bwMode="gray">
          <a:xfrm>
            <a:off x="508000" y="4140052"/>
            <a:ext cx="7013861" cy="2219473"/>
          </a:xfrm>
          <a:prstGeom prst="homePlate">
            <a:avLst>
              <a:gd name="adj" fmla="val 49931"/>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5848" name="Text Box 8"/>
          <p:cNvSpPr txBox="1">
            <a:spLocks noChangeArrowheads="1"/>
          </p:cNvSpPr>
          <p:nvPr/>
        </p:nvSpPr>
        <p:spPr bwMode="gray">
          <a:xfrm>
            <a:off x="5896802" y="4497796"/>
            <a:ext cx="1008296" cy="1503985"/>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800" dirty="0">
                <a:cs typeface="Arial" charset="0"/>
              </a:rPr>
              <a:t>2</a:t>
            </a:r>
          </a:p>
        </p:txBody>
      </p:sp>
      <p:sp>
        <p:nvSpPr>
          <p:cNvPr id="35849" name="Rectangle 9"/>
          <p:cNvSpPr>
            <a:spLocks noChangeArrowheads="1"/>
          </p:cNvSpPr>
          <p:nvPr/>
        </p:nvSpPr>
        <p:spPr bwMode="gray">
          <a:xfrm>
            <a:off x="6073622" y="1528763"/>
            <a:ext cx="5605616" cy="2221908"/>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5850" name="AutoShape 10"/>
          <p:cNvSpPr>
            <a:spLocks noChangeArrowheads="1"/>
          </p:cNvSpPr>
          <p:nvPr/>
        </p:nvSpPr>
        <p:spPr bwMode="gray">
          <a:xfrm>
            <a:off x="508000" y="1528763"/>
            <a:ext cx="7013861" cy="2221908"/>
          </a:xfrm>
          <a:prstGeom prst="homePlate">
            <a:avLst>
              <a:gd name="adj" fmla="val 49877"/>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5851" name="Text Box 11"/>
          <p:cNvSpPr txBox="1">
            <a:spLocks noChangeArrowheads="1"/>
          </p:cNvSpPr>
          <p:nvPr/>
        </p:nvSpPr>
        <p:spPr bwMode="gray">
          <a:xfrm>
            <a:off x="5896802" y="1886508"/>
            <a:ext cx="1008296" cy="1506417"/>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800" dirty="0">
                <a:cs typeface="Arial" charset="0"/>
              </a:rPr>
              <a:t>1</a:t>
            </a:r>
          </a:p>
        </p:txBody>
      </p:sp>
    </p:spTree>
    <p:custDataLst>
      <p:tags r:id="rId1"/>
    </p:custDataLst>
    <p:extLst>
      <p:ext uri="{BB962C8B-B14F-4D97-AF65-F5344CB8AC3E}">
        <p14:creationId xmlns:p14="http://schemas.microsoft.com/office/powerpoint/2010/main" val="3561294044"/>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p:cNvSpPr>
          <p:nvPr>
            <p:ph type="title"/>
          </p:nvPr>
        </p:nvSpPr>
        <p:spPr/>
        <p:txBody>
          <a:bodyPr/>
          <a:lstStyle/>
          <a:p>
            <a:r>
              <a:rPr lang="en-GB"/>
              <a:t>Conclusion</a:t>
            </a:r>
          </a:p>
        </p:txBody>
      </p:sp>
      <p:sp>
        <p:nvSpPr>
          <p:cNvPr id="36870" name="Rectangle 6"/>
          <p:cNvSpPr>
            <a:spLocks noChangeArrowheads="1"/>
          </p:cNvSpPr>
          <p:nvPr/>
        </p:nvSpPr>
        <p:spPr bwMode="gray">
          <a:xfrm>
            <a:off x="6073622" y="3232478"/>
            <a:ext cx="5605616" cy="1421190"/>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6871" name="AutoShape 7"/>
          <p:cNvSpPr>
            <a:spLocks noChangeArrowheads="1"/>
          </p:cNvSpPr>
          <p:nvPr/>
        </p:nvSpPr>
        <p:spPr bwMode="gray">
          <a:xfrm>
            <a:off x="508000" y="3232478"/>
            <a:ext cx="7013861" cy="1421190"/>
          </a:xfrm>
          <a:prstGeom prst="homePlate">
            <a:avLst>
              <a:gd name="adj" fmla="val 49902"/>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6872" name="Text Box 8"/>
          <p:cNvSpPr txBox="1">
            <a:spLocks noChangeArrowheads="1"/>
          </p:cNvSpPr>
          <p:nvPr/>
        </p:nvSpPr>
        <p:spPr bwMode="gray">
          <a:xfrm>
            <a:off x="5896802" y="3232478"/>
            <a:ext cx="1008296" cy="1421190"/>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800" dirty="0">
                <a:cs typeface="Arial" charset="0"/>
              </a:rPr>
              <a:t>2</a:t>
            </a:r>
          </a:p>
        </p:txBody>
      </p:sp>
      <p:sp>
        <p:nvSpPr>
          <p:cNvPr id="36873" name="Rectangle 9"/>
          <p:cNvSpPr>
            <a:spLocks noChangeArrowheads="1"/>
          </p:cNvSpPr>
          <p:nvPr/>
        </p:nvSpPr>
        <p:spPr bwMode="gray">
          <a:xfrm>
            <a:off x="6073622" y="1528763"/>
            <a:ext cx="5605616" cy="1421190"/>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6874" name="AutoShape 10"/>
          <p:cNvSpPr>
            <a:spLocks noChangeArrowheads="1"/>
          </p:cNvSpPr>
          <p:nvPr/>
        </p:nvSpPr>
        <p:spPr bwMode="gray">
          <a:xfrm>
            <a:off x="508000" y="1528763"/>
            <a:ext cx="7013861" cy="1421190"/>
          </a:xfrm>
          <a:prstGeom prst="homePlate">
            <a:avLst>
              <a:gd name="adj" fmla="val 49902"/>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6875" name="Text Box 11"/>
          <p:cNvSpPr txBox="1">
            <a:spLocks noChangeArrowheads="1"/>
          </p:cNvSpPr>
          <p:nvPr/>
        </p:nvSpPr>
        <p:spPr bwMode="gray">
          <a:xfrm>
            <a:off x="5896802" y="1528763"/>
            <a:ext cx="1008296" cy="1421190"/>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800" dirty="0">
                <a:cs typeface="Arial" charset="0"/>
              </a:rPr>
              <a:t>1</a:t>
            </a:r>
          </a:p>
        </p:txBody>
      </p:sp>
      <p:sp>
        <p:nvSpPr>
          <p:cNvPr id="36876" name="Rectangle 12"/>
          <p:cNvSpPr>
            <a:spLocks noChangeArrowheads="1"/>
          </p:cNvSpPr>
          <p:nvPr/>
        </p:nvSpPr>
        <p:spPr bwMode="gray">
          <a:xfrm>
            <a:off x="6073622" y="4938335"/>
            <a:ext cx="5605616" cy="1421190"/>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6877" name="AutoShape 13"/>
          <p:cNvSpPr>
            <a:spLocks noChangeArrowheads="1"/>
          </p:cNvSpPr>
          <p:nvPr/>
        </p:nvSpPr>
        <p:spPr bwMode="gray">
          <a:xfrm>
            <a:off x="508000" y="4938335"/>
            <a:ext cx="7013861" cy="1421190"/>
          </a:xfrm>
          <a:prstGeom prst="homePlate">
            <a:avLst>
              <a:gd name="adj" fmla="val 49902"/>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6878" name="Text Box 14"/>
          <p:cNvSpPr txBox="1">
            <a:spLocks noChangeArrowheads="1"/>
          </p:cNvSpPr>
          <p:nvPr/>
        </p:nvSpPr>
        <p:spPr bwMode="gray">
          <a:xfrm>
            <a:off x="5896802" y="4938335"/>
            <a:ext cx="1008296" cy="1421190"/>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800" dirty="0">
                <a:cs typeface="Arial" charset="0"/>
              </a:rPr>
              <a:t>3</a:t>
            </a:r>
          </a:p>
        </p:txBody>
      </p:sp>
    </p:spTree>
    <p:custDataLst>
      <p:tags r:id="rId1"/>
    </p:custDataLst>
    <p:extLst>
      <p:ext uri="{BB962C8B-B14F-4D97-AF65-F5344CB8AC3E}">
        <p14:creationId xmlns:p14="http://schemas.microsoft.com/office/powerpoint/2010/main" val="3292021879"/>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p:cNvSpPr>
          <p:nvPr>
            <p:ph type="title"/>
          </p:nvPr>
        </p:nvSpPr>
        <p:spPr/>
        <p:txBody>
          <a:bodyPr/>
          <a:lstStyle/>
          <a:p>
            <a:r>
              <a:rPr lang="en-GB" dirty="0"/>
              <a:t>Conclusion</a:t>
            </a:r>
          </a:p>
        </p:txBody>
      </p:sp>
      <p:grpSp>
        <p:nvGrpSpPr>
          <p:cNvPr id="12" name="Group 11"/>
          <p:cNvGrpSpPr/>
          <p:nvPr/>
        </p:nvGrpSpPr>
        <p:grpSpPr>
          <a:xfrm>
            <a:off x="508000" y="1528763"/>
            <a:ext cx="11171238" cy="4830762"/>
            <a:chOff x="361950" y="1478280"/>
            <a:chExt cx="8424864" cy="4634866"/>
          </a:xfrm>
          <a:solidFill>
            <a:schemeClr val="accent1"/>
          </a:solidFill>
        </p:grpSpPr>
        <p:sp>
          <p:nvSpPr>
            <p:cNvPr id="37894" name="Rectangle 6"/>
            <p:cNvSpPr>
              <a:spLocks noChangeArrowheads="1"/>
            </p:cNvSpPr>
            <p:nvPr/>
          </p:nvSpPr>
          <p:spPr bwMode="gray">
            <a:xfrm>
              <a:off x="4559301" y="2714626"/>
              <a:ext cx="4227513" cy="885824"/>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7895" name="AutoShape 7"/>
            <p:cNvSpPr>
              <a:spLocks noChangeArrowheads="1"/>
            </p:cNvSpPr>
            <p:nvPr/>
          </p:nvSpPr>
          <p:spPr bwMode="gray">
            <a:xfrm>
              <a:off x="361950" y="2714626"/>
              <a:ext cx="5289550" cy="885824"/>
            </a:xfrm>
            <a:prstGeom prst="homePlate">
              <a:avLst>
                <a:gd name="adj" fmla="val 49827"/>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7896" name="Text Box 8"/>
            <p:cNvSpPr txBox="1">
              <a:spLocks noChangeArrowheads="1"/>
            </p:cNvSpPr>
            <p:nvPr/>
          </p:nvSpPr>
          <p:spPr bwMode="gray">
            <a:xfrm>
              <a:off x="4425951" y="2714626"/>
              <a:ext cx="760413" cy="885824"/>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000" dirty="0">
                  <a:cs typeface="Arial" charset="0"/>
                </a:rPr>
                <a:t>2</a:t>
              </a:r>
            </a:p>
          </p:txBody>
        </p:sp>
        <p:sp>
          <p:nvSpPr>
            <p:cNvPr id="37897" name="Rectangle 9"/>
            <p:cNvSpPr>
              <a:spLocks noChangeArrowheads="1"/>
            </p:cNvSpPr>
            <p:nvPr/>
          </p:nvSpPr>
          <p:spPr bwMode="gray">
            <a:xfrm>
              <a:off x="4559301" y="1478280"/>
              <a:ext cx="4227513" cy="883920"/>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7898" name="AutoShape 10"/>
            <p:cNvSpPr>
              <a:spLocks noChangeArrowheads="1"/>
            </p:cNvSpPr>
            <p:nvPr/>
          </p:nvSpPr>
          <p:spPr bwMode="gray">
            <a:xfrm>
              <a:off x="361950" y="1478280"/>
              <a:ext cx="5289550" cy="883920"/>
            </a:xfrm>
            <a:prstGeom prst="homePlate">
              <a:avLst>
                <a:gd name="adj" fmla="val 49935"/>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7899" name="Text Box 11"/>
            <p:cNvSpPr txBox="1">
              <a:spLocks noChangeArrowheads="1"/>
            </p:cNvSpPr>
            <p:nvPr/>
          </p:nvSpPr>
          <p:spPr bwMode="gray">
            <a:xfrm>
              <a:off x="4425951" y="1478280"/>
              <a:ext cx="760413" cy="883920"/>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000" dirty="0">
                  <a:cs typeface="Arial" charset="0"/>
                </a:rPr>
                <a:t>1</a:t>
              </a:r>
            </a:p>
          </p:txBody>
        </p:sp>
        <p:sp>
          <p:nvSpPr>
            <p:cNvPr id="37900" name="Rectangle 12"/>
            <p:cNvSpPr>
              <a:spLocks noChangeArrowheads="1"/>
            </p:cNvSpPr>
            <p:nvPr/>
          </p:nvSpPr>
          <p:spPr bwMode="gray">
            <a:xfrm>
              <a:off x="4559301" y="3950970"/>
              <a:ext cx="4227513" cy="885826"/>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7901" name="AutoShape 13"/>
            <p:cNvSpPr>
              <a:spLocks noChangeArrowheads="1"/>
            </p:cNvSpPr>
            <p:nvPr/>
          </p:nvSpPr>
          <p:spPr bwMode="gray">
            <a:xfrm>
              <a:off x="361950" y="3950970"/>
              <a:ext cx="5289550" cy="885826"/>
            </a:xfrm>
            <a:prstGeom prst="homePlate">
              <a:avLst>
                <a:gd name="adj" fmla="val 49827"/>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7902" name="Text Box 14"/>
            <p:cNvSpPr txBox="1">
              <a:spLocks noChangeArrowheads="1"/>
            </p:cNvSpPr>
            <p:nvPr/>
          </p:nvSpPr>
          <p:spPr bwMode="gray">
            <a:xfrm>
              <a:off x="4425951" y="3950970"/>
              <a:ext cx="760413" cy="885826"/>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000" dirty="0">
                  <a:cs typeface="Arial" charset="0"/>
                </a:rPr>
                <a:t>3</a:t>
              </a:r>
            </a:p>
          </p:txBody>
        </p:sp>
        <p:sp>
          <p:nvSpPr>
            <p:cNvPr id="37903" name="Rectangle 15"/>
            <p:cNvSpPr>
              <a:spLocks noChangeArrowheads="1"/>
            </p:cNvSpPr>
            <p:nvPr/>
          </p:nvSpPr>
          <p:spPr bwMode="gray">
            <a:xfrm>
              <a:off x="4559301" y="5229226"/>
              <a:ext cx="4227513" cy="883920"/>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buClr>
                  <a:prstClr val="white"/>
                </a:buClr>
              </a:pPr>
              <a:r>
                <a:rPr lang="en-GB" sz="1400" dirty="0">
                  <a:cs typeface="Arial" charset="0"/>
                </a:rPr>
                <a:t>Conclusion text </a:t>
              </a:r>
              <a:br>
                <a:rPr lang="en-GB" sz="1400" dirty="0">
                  <a:cs typeface="Arial" charset="0"/>
                </a:rPr>
              </a:br>
              <a:r>
                <a:rPr lang="en-GB" sz="1400" dirty="0">
                  <a:cs typeface="Arial" charset="0"/>
                </a:rPr>
                <a:t>goes here</a:t>
              </a:r>
            </a:p>
          </p:txBody>
        </p:sp>
        <p:sp>
          <p:nvSpPr>
            <p:cNvPr id="37904" name="AutoShape 16"/>
            <p:cNvSpPr>
              <a:spLocks noChangeArrowheads="1"/>
            </p:cNvSpPr>
            <p:nvPr/>
          </p:nvSpPr>
          <p:spPr bwMode="gray">
            <a:xfrm>
              <a:off x="361950" y="5229226"/>
              <a:ext cx="5289550" cy="883920"/>
            </a:xfrm>
            <a:prstGeom prst="homePlate">
              <a:avLst>
                <a:gd name="adj" fmla="val 49935"/>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buClr>
                  <a:prstClr val="white"/>
                </a:buClr>
              </a:pPr>
              <a:r>
                <a:rPr lang="en-GB" sz="1400" dirty="0">
                  <a:latin typeface="+mj-lt"/>
                  <a:cs typeface="Arial" charset="0"/>
                </a:rPr>
                <a:t>Text goes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a:p>
              <a:pPr marL="177800" lvl="1" indent="-177800" fontAlgn="base">
                <a:lnSpc>
                  <a:spcPct val="120000"/>
                </a:lnSpc>
                <a:spcBef>
                  <a:spcPct val="0"/>
                </a:spcBef>
                <a:spcAft>
                  <a:spcPts val="63"/>
                </a:spcAft>
                <a:buClr>
                  <a:schemeClr val="accent2"/>
                </a:buClr>
                <a:buSzPct val="75000"/>
                <a:buFont typeface="Wingdings"/>
                <a:buChar char="n"/>
              </a:pPr>
              <a:r>
                <a:rPr lang="en-GB" sz="1400" dirty="0"/>
                <a:t>And here</a:t>
              </a:r>
            </a:p>
          </p:txBody>
        </p:sp>
        <p:sp>
          <p:nvSpPr>
            <p:cNvPr id="37905" name="Text Box 17"/>
            <p:cNvSpPr txBox="1">
              <a:spLocks noChangeArrowheads="1"/>
            </p:cNvSpPr>
            <p:nvPr/>
          </p:nvSpPr>
          <p:spPr bwMode="gray">
            <a:xfrm>
              <a:off x="4425951" y="5229226"/>
              <a:ext cx="760413" cy="883920"/>
            </a:xfrm>
            <a:prstGeom prst="rect">
              <a:avLst/>
            </a:prstGeom>
            <a:noFill/>
            <a:ln w="9525">
              <a:noFill/>
              <a:miter lim="800000"/>
              <a:headEnd/>
              <a:tailEnd/>
            </a:ln>
          </p:spPr>
          <p:txBody>
            <a:bodyPr lIns="64800" tIns="0" rIns="0" bIns="0" anchor="ctr"/>
            <a:lstStyle/>
            <a:p>
              <a:pPr lvl="0" fontAlgn="base">
                <a:spcBef>
                  <a:spcPct val="0"/>
                </a:spcBef>
                <a:spcAft>
                  <a:spcPct val="0"/>
                </a:spcAft>
                <a:buClr>
                  <a:prstClr val="white"/>
                </a:buClr>
              </a:pPr>
              <a:r>
                <a:rPr lang="en-GB" sz="4000" dirty="0">
                  <a:cs typeface="Arial" charset="0"/>
                </a:rPr>
                <a:t>4</a:t>
              </a:r>
            </a:p>
          </p:txBody>
        </p:sp>
      </p:grpSp>
    </p:spTree>
    <p:custDataLst>
      <p:tags r:id="rId1"/>
    </p:custDataLst>
    <p:extLst>
      <p:ext uri="{BB962C8B-B14F-4D97-AF65-F5344CB8AC3E}">
        <p14:creationId xmlns:p14="http://schemas.microsoft.com/office/powerpoint/2010/main" val="2854964011"/>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p:cNvSpPr>
          <p:nvPr>
            <p:ph type="title"/>
          </p:nvPr>
        </p:nvSpPr>
        <p:spPr/>
        <p:txBody>
          <a:bodyPr/>
          <a:lstStyle/>
          <a:p>
            <a:r>
              <a:rPr lang="en-GB"/>
              <a:t>Conclusion</a:t>
            </a:r>
          </a:p>
        </p:txBody>
      </p:sp>
      <p:grpSp>
        <p:nvGrpSpPr>
          <p:cNvPr id="13" name="Group 12"/>
          <p:cNvGrpSpPr/>
          <p:nvPr/>
        </p:nvGrpSpPr>
        <p:grpSpPr>
          <a:xfrm>
            <a:off x="508000" y="1528763"/>
            <a:ext cx="11171238" cy="4830762"/>
            <a:chOff x="361950" y="1478280"/>
            <a:chExt cx="8424864" cy="4718686"/>
          </a:xfrm>
          <a:solidFill>
            <a:schemeClr val="accent1"/>
          </a:solidFill>
        </p:grpSpPr>
        <p:grpSp>
          <p:nvGrpSpPr>
            <p:cNvPr id="2" name="Group 35"/>
            <p:cNvGrpSpPr/>
            <p:nvPr/>
          </p:nvGrpSpPr>
          <p:grpSpPr>
            <a:xfrm>
              <a:off x="361951" y="2477576"/>
              <a:ext cx="8424863" cy="721501"/>
              <a:chOff x="917506" y="2296570"/>
              <a:chExt cx="7767707" cy="675860"/>
            </a:xfrm>
            <a:grpFill/>
          </p:grpSpPr>
          <p:sp>
            <p:nvSpPr>
              <p:cNvPr id="201731" name="Rectangle 3"/>
              <p:cNvSpPr>
                <a:spLocks noChangeArrowheads="1"/>
              </p:cNvSpPr>
              <p:nvPr/>
            </p:nvSpPr>
            <p:spPr bwMode="gray">
              <a:xfrm>
                <a:off x="4787354" y="2296571"/>
                <a:ext cx="3897859" cy="675859"/>
              </a:xfrm>
              <a:prstGeom prst="rect">
                <a:avLst/>
              </a:prstGeom>
              <a:solidFill>
                <a:schemeClr val="accent1"/>
              </a:solidFill>
              <a:ln w="9525">
                <a:noFill/>
                <a:miter lim="800000"/>
                <a:headEnd/>
                <a:tailEnd/>
              </a:ln>
              <a:effectLst/>
            </p:spPr>
            <p:txBody>
              <a:bodyPr lIns="316800" tIns="0" rIns="64800" bIns="0" anchor="ctr"/>
              <a:lstStyle/>
              <a:p>
                <a:pPr marL="895350" algn="ctr">
                  <a:spcBef>
                    <a:spcPct val="0"/>
                  </a:spcBef>
                  <a:buClr>
                    <a:srgbClr val="FFFFFF"/>
                  </a:buClr>
                  <a:buSzPct val="90000"/>
                  <a:defRPr/>
                </a:pPr>
                <a:r>
                  <a:rPr lang="en-GB" sz="1400" dirty="0">
                    <a:cs typeface="Arial" panose="020B0604020202020204" pitchFamily="34" charset="0"/>
                  </a:rPr>
                  <a:t>Conclusion text </a:t>
                </a:r>
                <a:br>
                  <a:rPr lang="en-GB" sz="1400" dirty="0">
                    <a:cs typeface="Arial" panose="020B0604020202020204" pitchFamily="34" charset="0"/>
                  </a:rPr>
                </a:br>
                <a:r>
                  <a:rPr lang="en-GB" sz="1400" dirty="0">
                    <a:cs typeface="Arial" panose="020B0604020202020204" pitchFamily="34" charset="0"/>
                  </a:rPr>
                  <a:t>goes here</a:t>
                </a:r>
              </a:p>
            </p:txBody>
          </p:sp>
          <p:sp>
            <p:nvSpPr>
              <p:cNvPr id="201732" name="AutoShape 4"/>
              <p:cNvSpPr>
                <a:spLocks noChangeArrowheads="1"/>
              </p:cNvSpPr>
              <p:nvPr/>
            </p:nvSpPr>
            <p:spPr bwMode="gray">
              <a:xfrm>
                <a:off x="917506" y="2296570"/>
                <a:ext cx="4876746" cy="675859"/>
              </a:xfrm>
              <a:prstGeom prst="homePlate">
                <a:avLst>
                  <a:gd name="adj" fmla="val 49904"/>
                </a:avLst>
              </a:prstGeom>
              <a:solidFill>
                <a:schemeClr val="bg2"/>
              </a:solidFill>
              <a:ln w="9525">
                <a:solidFill>
                  <a:schemeClr val="bg2"/>
                </a:solidFill>
                <a:miter lim="800000"/>
                <a:headEnd/>
                <a:tailEnd/>
              </a:ln>
              <a:effectLst/>
            </p:spPr>
            <p:txBody>
              <a:bodyPr lIns="108000" tIns="0" rIns="756000" bIns="0" anchor="ctr"/>
              <a:lstStyle/>
              <a:p>
                <a:pPr lvl="0">
                  <a:spcBef>
                    <a:spcPct val="0"/>
                  </a:spcBef>
                  <a:buClr>
                    <a:srgbClr val="CCCCCC"/>
                  </a:buClr>
                  <a:buSzPct val="90000"/>
                  <a:defRPr/>
                </a:pPr>
                <a:r>
                  <a:rPr lang="en-GB" sz="1200" dirty="0">
                    <a:latin typeface="+mj-lt"/>
                    <a:cs typeface="Arial" panose="020B0604020202020204" pitchFamily="34" charset="0"/>
                  </a:rPr>
                  <a:t>Text goes here</a:t>
                </a:r>
              </a:p>
              <a:p>
                <a:pPr marL="152400" lvl="1" indent="-152400" fontAlgn="base">
                  <a:lnSpc>
                    <a:spcPct val="120000"/>
                  </a:lnSpc>
                  <a:spcBef>
                    <a:spcPct val="0"/>
                  </a:spcBef>
                  <a:spcAft>
                    <a:spcPts val="63"/>
                  </a:spcAft>
                  <a:buClr>
                    <a:schemeClr val="accent2"/>
                  </a:buClr>
                  <a:buSzPct val="75000"/>
                  <a:buFont typeface="Wingdings"/>
                  <a:buChar char="n"/>
                  <a:defRPr/>
                </a:pPr>
                <a:r>
                  <a:rPr lang="en-GB" sz="1200" dirty="0"/>
                  <a:t>And here</a:t>
                </a:r>
              </a:p>
              <a:p>
                <a:pPr marL="152400" lvl="1" indent="-152400" fontAlgn="base">
                  <a:lnSpc>
                    <a:spcPct val="120000"/>
                  </a:lnSpc>
                  <a:spcBef>
                    <a:spcPct val="0"/>
                  </a:spcBef>
                  <a:spcAft>
                    <a:spcPts val="63"/>
                  </a:spcAft>
                  <a:buClr>
                    <a:schemeClr val="accent2"/>
                  </a:buClr>
                  <a:buSzPct val="75000"/>
                  <a:buFont typeface="Wingdings"/>
                  <a:buChar char="n"/>
                  <a:defRPr/>
                </a:pPr>
                <a:r>
                  <a:rPr lang="en-GB" sz="1200" dirty="0"/>
                  <a:t>And here</a:t>
                </a:r>
              </a:p>
            </p:txBody>
          </p:sp>
          <p:sp>
            <p:nvSpPr>
              <p:cNvPr id="201733" name="Text Box 5"/>
              <p:cNvSpPr txBox="1">
                <a:spLocks noChangeArrowheads="1"/>
              </p:cNvSpPr>
              <p:nvPr/>
            </p:nvSpPr>
            <p:spPr bwMode="gray">
              <a:xfrm>
                <a:off x="4664993" y="2296570"/>
                <a:ext cx="700257" cy="675859"/>
              </a:xfrm>
              <a:prstGeom prst="rect">
                <a:avLst/>
              </a:prstGeom>
              <a:noFill/>
              <a:ln w="9525">
                <a:noFill/>
                <a:miter lim="800000"/>
                <a:headEnd/>
                <a:tailEnd/>
              </a:ln>
              <a:effectLst/>
            </p:spPr>
            <p:txBody>
              <a:bodyPr lIns="64800" tIns="0" rIns="0" bIns="0" anchor="ctr"/>
              <a:lstStyle/>
              <a:p>
                <a:pPr lvl="0">
                  <a:spcBef>
                    <a:spcPct val="0"/>
                  </a:spcBef>
                  <a:buClr>
                    <a:srgbClr val="D42E12"/>
                  </a:buClr>
                  <a:buSzPct val="90000"/>
                  <a:defRPr/>
                </a:pPr>
                <a:r>
                  <a:rPr lang="en-GB" sz="4000" dirty="0">
                    <a:cs typeface="Arial" panose="020B0604020202020204" pitchFamily="34" charset="0"/>
                  </a:rPr>
                  <a:t>2</a:t>
                </a:r>
              </a:p>
            </p:txBody>
          </p:sp>
        </p:grpSp>
        <p:grpSp>
          <p:nvGrpSpPr>
            <p:cNvPr id="38919" name="Group 7"/>
            <p:cNvGrpSpPr>
              <a:grpSpLocks/>
            </p:cNvGrpSpPr>
            <p:nvPr/>
          </p:nvGrpSpPr>
          <p:grpSpPr bwMode="auto">
            <a:xfrm>
              <a:off x="361951" y="1478280"/>
              <a:ext cx="8424863" cy="721997"/>
              <a:chOff x="917506" y="1360488"/>
              <a:chExt cx="7767707" cy="675860"/>
            </a:xfrm>
            <a:grpFill/>
          </p:grpSpPr>
          <p:sp>
            <p:nvSpPr>
              <p:cNvPr id="38932" name="Rectangle 20"/>
              <p:cNvSpPr>
                <a:spLocks noChangeArrowheads="1"/>
              </p:cNvSpPr>
              <p:nvPr/>
            </p:nvSpPr>
            <p:spPr bwMode="gray">
              <a:xfrm>
                <a:off x="4787354" y="1360489"/>
                <a:ext cx="3897859" cy="675859"/>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pPr>
                <a:r>
                  <a:rPr lang="en-GB" sz="1400" dirty="0">
                    <a:cs typeface="Arial" charset="0"/>
                  </a:rPr>
                  <a:t>Conclusion text </a:t>
                </a:r>
                <a:br>
                  <a:rPr lang="en-GB" sz="1400" dirty="0">
                    <a:cs typeface="Arial" charset="0"/>
                  </a:rPr>
                </a:br>
                <a:r>
                  <a:rPr lang="en-GB" sz="1400" dirty="0">
                    <a:cs typeface="Arial" charset="0"/>
                  </a:rPr>
                  <a:t>goes here</a:t>
                </a:r>
              </a:p>
            </p:txBody>
          </p:sp>
          <p:sp>
            <p:nvSpPr>
              <p:cNvPr id="38933" name="AutoShape 21"/>
              <p:cNvSpPr>
                <a:spLocks noChangeArrowheads="1"/>
              </p:cNvSpPr>
              <p:nvPr/>
            </p:nvSpPr>
            <p:spPr bwMode="gray">
              <a:xfrm>
                <a:off x="917506" y="1360488"/>
                <a:ext cx="4876746" cy="675859"/>
              </a:xfrm>
              <a:prstGeom prst="homePlate">
                <a:avLst>
                  <a:gd name="adj" fmla="val 49908"/>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pPr>
                <a:r>
                  <a:rPr lang="en-GB" sz="1200" dirty="0">
                    <a:latin typeface="+mj-lt"/>
                    <a:cs typeface="Arial" charset="0"/>
                  </a:rPr>
                  <a:t>Text goes here</a:t>
                </a:r>
              </a:p>
              <a:p>
                <a:pPr marL="152400" lvl="1" indent="-152400" fontAlgn="base">
                  <a:lnSpc>
                    <a:spcPct val="120000"/>
                  </a:lnSpc>
                  <a:spcBef>
                    <a:spcPct val="0"/>
                  </a:spcBef>
                  <a:spcAft>
                    <a:spcPts val="63"/>
                  </a:spcAft>
                  <a:buClr>
                    <a:schemeClr val="accent2"/>
                  </a:buClr>
                  <a:buSzPct val="75000"/>
                  <a:buFont typeface="Wingdings"/>
                  <a:buChar char="n"/>
                </a:pPr>
                <a:r>
                  <a:rPr lang="en-GB" sz="1200" dirty="0"/>
                  <a:t>And here</a:t>
                </a:r>
              </a:p>
              <a:p>
                <a:pPr marL="152400" lvl="1" indent="-152400" fontAlgn="base">
                  <a:lnSpc>
                    <a:spcPct val="120000"/>
                  </a:lnSpc>
                  <a:spcBef>
                    <a:spcPct val="0"/>
                  </a:spcBef>
                  <a:spcAft>
                    <a:spcPts val="63"/>
                  </a:spcAft>
                  <a:buClr>
                    <a:schemeClr val="accent2"/>
                  </a:buClr>
                  <a:buSzPct val="75000"/>
                  <a:buFont typeface="Wingdings"/>
                  <a:buChar char="n"/>
                </a:pPr>
                <a:r>
                  <a:rPr lang="en-GB" sz="1200" dirty="0"/>
                  <a:t>And here</a:t>
                </a:r>
              </a:p>
            </p:txBody>
          </p:sp>
          <p:sp>
            <p:nvSpPr>
              <p:cNvPr id="38934" name="Text Box 22"/>
              <p:cNvSpPr txBox="1">
                <a:spLocks noChangeArrowheads="1"/>
              </p:cNvSpPr>
              <p:nvPr/>
            </p:nvSpPr>
            <p:spPr bwMode="gray">
              <a:xfrm>
                <a:off x="4664993" y="1360488"/>
                <a:ext cx="700257" cy="675859"/>
              </a:xfrm>
              <a:prstGeom prst="rect">
                <a:avLst/>
              </a:prstGeom>
              <a:noFill/>
              <a:ln w="9525">
                <a:noFill/>
                <a:miter lim="800000"/>
                <a:headEnd/>
                <a:tailEnd/>
              </a:ln>
            </p:spPr>
            <p:txBody>
              <a:bodyPr lIns="64800" tIns="0" rIns="0" bIns="0" anchor="ctr"/>
              <a:lstStyle/>
              <a:p>
                <a:pPr lvl="0" fontAlgn="base">
                  <a:spcBef>
                    <a:spcPct val="0"/>
                  </a:spcBef>
                  <a:spcAft>
                    <a:spcPct val="0"/>
                  </a:spcAft>
                </a:pPr>
                <a:r>
                  <a:rPr lang="en-GB" sz="4000" dirty="0">
                    <a:cs typeface="Arial" charset="0"/>
                  </a:rPr>
                  <a:t>1</a:t>
                </a:r>
              </a:p>
            </p:txBody>
          </p:sp>
        </p:grpSp>
        <p:grpSp>
          <p:nvGrpSpPr>
            <p:cNvPr id="38920" name="Group 8"/>
            <p:cNvGrpSpPr>
              <a:grpSpLocks/>
            </p:cNvGrpSpPr>
            <p:nvPr/>
          </p:nvGrpSpPr>
          <p:grpSpPr bwMode="auto">
            <a:xfrm>
              <a:off x="361950" y="3476626"/>
              <a:ext cx="8424864" cy="721994"/>
              <a:chOff x="917505" y="3232652"/>
              <a:chExt cx="7767708" cy="675859"/>
            </a:xfrm>
            <a:grpFill/>
          </p:grpSpPr>
          <p:sp>
            <p:nvSpPr>
              <p:cNvPr id="38929" name="Rectangle 17"/>
              <p:cNvSpPr>
                <a:spLocks noChangeArrowheads="1"/>
              </p:cNvSpPr>
              <p:nvPr/>
            </p:nvSpPr>
            <p:spPr bwMode="gray">
              <a:xfrm>
                <a:off x="4787354" y="3232652"/>
                <a:ext cx="3897859" cy="675858"/>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pPr>
                <a:r>
                  <a:rPr lang="en-GB" sz="1400" dirty="0">
                    <a:cs typeface="Arial" charset="0"/>
                  </a:rPr>
                  <a:t>Conclusion text </a:t>
                </a:r>
                <a:br>
                  <a:rPr lang="en-GB" sz="1400" dirty="0">
                    <a:cs typeface="Arial" charset="0"/>
                  </a:rPr>
                </a:br>
                <a:r>
                  <a:rPr lang="en-GB" sz="1400" dirty="0">
                    <a:cs typeface="Arial" charset="0"/>
                  </a:rPr>
                  <a:t>goes here</a:t>
                </a:r>
              </a:p>
            </p:txBody>
          </p:sp>
          <p:sp>
            <p:nvSpPr>
              <p:cNvPr id="38930" name="AutoShape 18"/>
              <p:cNvSpPr>
                <a:spLocks noChangeArrowheads="1"/>
              </p:cNvSpPr>
              <p:nvPr/>
            </p:nvSpPr>
            <p:spPr bwMode="gray">
              <a:xfrm>
                <a:off x="917505" y="3232652"/>
                <a:ext cx="4876746" cy="675859"/>
              </a:xfrm>
              <a:prstGeom prst="homePlate">
                <a:avLst>
                  <a:gd name="adj" fmla="val 49908"/>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pPr>
                <a:r>
                  <a:rPr lang="en-GB" sz="1200" dirty="0">
                    <a:latin typeface="+mj-lt"/>
                    <a:cs typeface="Arial" charset="0"/>
                  </a:rPr>
                  <a:t>Text goes here</a:t>
                </a:r>
              </a:p>
              <a:p>
                <a:pPr marL="152400" lvl="1" indent="-152400" fontAlgn="base">
                  <a:lnSpc>
                    <a:spcPct val="120000"/>
                  </a:lnSpc>
                  <a:spcBef>
                    <a:spcPct val="0"/>
                  </a:spcBef>
                  <a:spcAft>
                    <a:spcPts val="63"/>
                  </a:spcAft>
                  <a:buClr>
                    <a:schemeClr val="accent2"/>
                  </a:buClr>
                  <a:buSzPct val="75000"/>
                  <a:buFont typeface="Wingdings"/>
                  <a:buChar char="n"/>
                </a:pPr>
                <a:r>
                  <a:rPr lang="en-GB" sz="1200" dirty="0"/>
                  <a:t>And here</a:t>
                </a:r>
              </a:p>
              <a:p>
                <a:pPr marL="152400" lvl="1" indent="-152400" fontAlgn="base">
                  <a:lnSpc>
                    <a:spcPct val="120000"/>
                  </a:lnSpc>
                  <a:spcBef>
                    <a:spcPct val="0"/>
                  </a:spcBef>
                  <a:spcAft>
                    <a:spcPts val="63"/>
                  </a:spcAft>
                  <a:buClr>
                    <a:schemeClr val="accent2"/>
                  </a:buClr>
                  <a:buSzPct val="75000"/>
                  <a:buFont typeface="Wingdings"/>
                  <a:buChar char="n"/>
                </a:pPr>
                <a:r>
                  <a:rPr lang="en-GB" sz="1200" dirty="0"/>
                  <a:t>And here</a:t>
                </a:r>
              </a:p>
            </p:txBody>
          </p:sp>
          <p:sp>
            <p:nvSpPr>
              <p:cNvPr id="38931" name="Text Box 19"/>
              <p:cNvSpPr txBox="1">
                <a:spLocks noChangeArrowheads="1"/>
              </p:cNvSpPr>
              <p:nvPr/>
            </p:nvSpPr>
            <p:spPr bwMode="gray">
              <a:xfrm>
                <a:off x="4664993" y="3232652"/>
                <a:ext cx="700257" cy="675859"/>
              </a:xfrm>
              <a:prstGeom prst="rect">
                <a:avLst/>
              </a:prstGeom>
              <a:noFill/>
              <a:ln w="9525">
                <a:noFill/>
                <a:miter lim="800000"/>
                <a:headEnd/>
                <a:tailEnd/>
              </a:ln>
            </p:spPr>
            <p:txBody>
              <a:bodyPr lIns="64800" tIns="0" rIns="0" bIns="0" anchor="ctr"/>
              <a:lstStyle/>
              <a:p>
                <a:pPr lvl="0" fontAlgn="base">
                  <a:spcBef>
                    <a:spcPct val="0"/>
                  </a:spcBef>
                  <a:spcAft>
                    <a:spcPct val="0"/>
                  </a:spcAft>
                </a:pPr>
                <a:r>
                  <a:rPr lang="en-GB" sz="4000" dirty="0">
                    <a:cs typeface="Arial" charset="0"/>
                  </a:rPr>
                  <a:t>3</a:t>
                </a:r>
              </a:p>
            </p:txBody>
          </p:sp>
        </p:grpSp>
        <p:grpSp>
          <p:nvGrpSpPr>
            <p:cNvPr id="38921" name="Group 9"/>
            <p:cNvGrpSpPr>
              <a:grpSpLocks/>
            </p:cNvGrpSpPr>
            <p:nvPr/>
          </p:nvGrpSpPr>
          <p:grpSpPr bwMode="auto">
            <a:xfrm>
              <a:off x="361951" y="4476748"/>
              <a:ext cx="8424863" cy="720092"/>
              <a:chOff x="917506" y="4168732"/>
              <a:chExt cx="7767707" cy="675861"/>
            </a:xfrm>
            <a:grpFill/>
          </p:grpSpPr>
          <p:sp>
            <p:nvSpPr>
              <p:cNvPr id="38926" name="Rectangle 14"/>
              <p:cNvSpPr>
                <a:spLocks noChangeArrowheads="1"/>
              </p:cNvSpPr>
              <p:nvPr/>
            </p:nvSpPr>
            <p:spPr bwMode="gray">
              <a:xfrm>
                <a:off x="4787354" y="4168732"/>
                <a:ext cx="3897859" cy="675859"/>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pPr>
                <a:r>
                  <a:rPr lang="en-GB" sz="1400" dirty="0">
                    <a:cs typeface="Arial" charset="0"/>
                  </a:rPr>
                  <a:t>Conclusion text </a:t>
                </a:r>
                <a:br>
                  <a:rPr lang="en-GB" sz="1400" dirty="0">
                    <a:cs typeface="Arial" charset="0"/>
                  </a:rPr>
                </a:br>
                <a:r>
                  <a:rPr lang="en-GB" sz="1400" dirty="0">
                    <a:cs typeface="Arial" charset="0"/>
                  </a:rPr>
                  <a:t>goes here</a:t>
                </a:r>
              </a:p>
            </p:txBody>
          </p:sp>
          <p:sp>
            <p:nvSpPr>
              <p:cNvPr id="38927" name="AutoShape 15"/>
              <p:cNvSpPr>
                <a:spLocks noChangeArrowheads="1"/>
              </p:cNvSpPr>
              <p:nvPr/>
            </p:nvSpPr>
            <p:spPr bwMode="gray">
              <a:xfrm>
                <a:off x="917506" y="4168734"/>
                <a:ext cx="4876746" cy="675859"/>
              </a:xfrm>
              <a:prstGeom prst="homePlate">
                <a:avLst>
                  <a:gd name="adj" fmla="val 49908"/>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pPr>
                <a:r>
                  <a:rPr lang="en-GB" sz="1200" dirty="0">
                    <a:latin typeface="+mj-lt"/>
                    <a:cs typeface="Arial" charset="0"/>
                  </a:rPr>
                  <a:t>Text goes here</a:t>
                </a:r>
              </a:p>
              <a:p>
                <a:pPr marL="152400" lvl="1" indent="-152400" fontAlgn="base">
                  <a:lnSpc>
                    <a:spcPct val="120000"/>
                  </a:lnSpc>
                  <a:spcBef>
                    <a:spcPct val="0"/>
                  </a:spcBef>
                  <a:spcAft>
                    <a:spcPts val="63"/>
                  </a:spcAft>
                  <a:buClr>
                    <a:schemeClr val="accent2"/>
                  </a:buClr>
                  <a:buSzPct val="75000"/>
                  <a:buFont typeface="Wingdings"/>
                  <a:buChar char="n"/>
                </a:pPr>
                <a:r>
                  <a:rPr lang="en-GB" sz="1200" dirty="0"/>
                  <a:t>And here</a:t>
                </a:r>
              </a:p>
              <a:p>
                <a:pPr marL="152400" lvl="1" indent="-152400" fontAlgn="base">
                  <a:lnSpc>
                    <a:spcPct val="120000"/>
                  </a:lnSpc>
                  <a:spcBef>
                    <a:spcPct val="0"/>
                  </a:spcBef>
                  <a:spcAft>
                    <a:spcPts val="63"/>
                  </a:spcAft>
                  <a:buClr>
                    <a:schemeClr val="accent2"/>
                  </a:buClr>
                  <a:buSzPct val="75000"/>
                  <a:buFont typeface="Wingdings"/>
                  <a:buChar char="n"/>
                </a:pPr>
                <a:r>
                  <a:rPr lang="en-GB" sz="1200" dirty="0"/>
                  <a:t>And here</a:t>
                </a:r>
              </a:p>
            </p:txBody>
          </p:sp>
          <p:sp>
            <p:nvSpPr>
              <p:cNvPr id="38928" name="Text Box 16"/>
              <p:cNvSpPr txBox="1">
                <a:spLocks noChangeArrowheads="1"/>
              </p:cNvSpPr>
              <p:nvPr/>
            </p:nvSpPr>
            <p:spPr bwMode="gray">
              <a:xfrm>
                <a:off x="4664993" y="4168734"/>
                <a:ext cx="700257" cy="675859"/>
              </a:xfrm>
              <a:prstGeom prst="rect">
                <a:avLst/>
              </a:prstGeom>
              <a:noFill/>
              <a:ln w="9525">
                <a:noFill/>
                <a:miter lim="800000"/>
                <a:headEnd/>
                <a:tailEnd/>
              </a:ln>
            </p:spPr>
            <p:txBody>
              <a:bodyPr lIns="64800" tIns="0" rIns="0" bIns="0" anchor="ctr"/>
              <a:lstStyle/>
              <a:p>
                <a:pPr lvl="0" fontAlgn="base">
                  <a:spcBef>
                    <a:spcPct val="0"/>
                  </a:spcBef>
                  <a:spcAft>
                    <a:spcPct val="0"/>
                  </a:spcAft>
                </a:pPr>
                <a:r>
                  <a:rPr lang="en-GB" sz="4000" dirty="0">
                    <a:cs typeface="Arial" charset="0"/>
                  </a:rPr>
                  <a:t>4</a:t>
                </a:r>
              </a:p>
            </p:txBody>
          </p:sp>
        </p:grpSp>
        <p:grpSp>
          <p:nvGrpSpPr>
            <p:cNvPr id="38922" name="Group 10"/>
            <p:cNvGrpSpPr>
              <a:grpSpLocks/>
            </p:cNvGrpSpPr>
            <p:nvPr/>
          </p:nvGrpSpPr>
          <p:grpSpPr bwMode="auto">
            <a:xfrm>
              <a:off x="361951" y="5474969"/>
              <a:ext cx="8424863" cy="721997"/>
              <a:chOff x="917506" y="5104816"/>
              <a:chExt cx="7767707" cy="675860"/>
            </a:xfrm>
            <a:grpFill/>
          </p:grpSpPr>
          <p:sp>
            <p:nvSpPr>
              <p:cNvPr id="38923" name="Rectangle 11"/>
              <p:cNvSpPr>
                <a:spLocks noChangeArrowheads="1"/>
              </p:cNvSpPr>
              <p:nvPr/>
            </p:nvSpPr>
            <p:spPr bwMode="gray">
              <a:xfrm>
                <a:off x="4787354" y="5104818"/>
                <a:ext cx="3897859" cy="675858"/>
              </a:xfrm>
              <a:prstGeom prst="rect">
                <a:avLst/>
              </a:prstGeom>
              <a:solidFill>
                <a:schemeClr val="accent1"/>
              </a:solidFill>
              <a:ln w="9525">
                <a:noFill/>
                <a:miter lim="800000"/>
                <a:headEnd/>
                <a:tailEnd/>
              </a:ln>
            </p:spPr>
            <p:txBody>
              <a:bodyPr lIns="316800" tIns="0" rIns="64800" bIns="0" anchor="ctr"/>
              <a:lstStyle/>
              <a:p>
                <a:pPr marL="895350" algn="ctr" fontAlgn="base">
                  <a:spcBef>
                    <a:spcPct val="0"/>
                  </a:spcBef>
                  <a:spcAft>
                    <a:spcPct val="0"/>
                  </a:spcAft>
                </a:pPr>
                <a:r>
                  <a:rPr lang="en-GB" sz="1400" dirty="0">
                    <a:cs typeface="Arial" charset="0"/>
                  </a:rPr>
                  <a:t>Conclusion text </a:t>
                </a:r>
                <a:br>
                  <a:rPr lang="en-GB" sz="1400" dirty="0">
                    <a:cs typeface="Arial" charset="0"/>
                  </a:rPr>
                </a:br>
                <a:r>
                  <a:rPr lang="en-GB" sz="1400" dirty="0">
                    <a:cs typeface="Arial" charset="0"/>
                  </a:rPr>
                  <a:t>goes here</a:t>
                </a:r>
              </a:p>
            </p:txBody>
          </p:sp>
          <p:sp>
            <p:nvSpPr>
              <p:cNvPr id="38924" name="AutoShape 12"/>
              <p:cNvSpPr>
                <a:spLocks noChangeArrowheads="1"/>
              </p:cNvSpPr>
              <p:nvPr/>
            </p:nvSpPr>
            <p:spPr bwMode="gray">
              <a:xfrm>
                <a:off x="917506" y="5104816"/>
                <a:ext cx="4876746" cy="675859"/>
              </a:xfrm>
              <a:prstGeom prst="homePlate">
                <a:avLst>
                  <a:gd name="adj" fmla="val 49908"/>
                </a:avLst>
              </a:prstGeom>
              <a:solidFill>
                <a:schemeClr val="bg2"/>
              </a:solidFill>
              <a:ln w="9525">
                <a:solidFill>
                  <a:schemeClr val="bg2"/>
                </a:solidFill>
                <a:miter lim="800000"/>
                <a:headEnd/>
                <a:tailEnd/>
              </a:ln>
            </p:spPr>
            <p:txBody>
              <a:bodyPr lIns="108000" tIns="0" rIns="756000" bIns="0" anchor="ctr"/>
              <a:lstStyle/>
              <a:p>
                <a:pPr lvl="0" fontAlgn="base">
                  <a:spcBef>
                    <a:spcPct val="0"/>
                  </a:spcBef>
                  <a:spcAft>
                    <a:spcPct val="0"/>
                  </a:spcAft>
                </a:pPr>
                <a:r>
                  <a:rPr lang="en-GB" sz="1200" dirty="0">
                    <a:latin typeface="+mj-lt"/>
                    <a:cs typeface="Arial" charset="0"/>
                  </a:rPr>
                  <a:t>Text goes here</a:t>
                </a:r>
              </a:p>
              <a:p>
                <a:pPr marL="152400" lvl="1" indent="-152400" fontAlgn="base">
                  <a:lnSpc>
                    <a:spcPct val="120000"/>
                  </a:lnSpc>
                  <a:spcBef>
                    <a:spcPct val="0"/>
                  </a:spcBef>
                  <a:spcAft>
                    <a:spcPts val="63"/>
                  </a:spcAft>
                  <a:buClr>
                    <a:schemeClr val="accent2"/>
                  </a:buClr>
                  <a:buSzPct val="75000"/>
                  <a:buFont typeface="Wingdings"/>
                  <a:buChar char="n"/>
                </a:pPr>
                <a:r>
                  <a:rPr lang="en-GB" sz="1200" dirty="0"/>
                  <a:t>And here</a:t>
                </a:r>
              </a:p>
              <a:p>
                <a:pPr marL="152400" lvl="1" indent="-152400" fontAlgn="base">
                  <a:lnSpc>
                    <a:spcPct val="120000"/>
                  </a:lnSpc>
                  <a:spcBef>
                    <a:spcPct val="0"/>
                  </a:spcBef>
                  <a:spcAft>
                    <a:spcPts val="63"/>
                  </a:spcAft>
                  <a:buClr>
                    <a:schemeClr val="accent2"/>
                  </a:buClr>
                  <a:buSzPct val="75000"/>
                  <a:buFont typeface="Wingdings"/>
                  <a:buChar char="n"/>
                </a:pPr>
                <a:r>
                  <a:rPr lang="en-GB" sz="1200" dirty="0"/>
                  <a:t>And here</a:t>
                </a:r>
              </a:p>
            </p:txBody>
          </p:sp>
          <p:sp>
            <p:nvSpPr>
              <p:cNvPr id="38925" name="Text Box 13"/>
              <p:cNvSpPr txBox="1">
                <a:spLocks noChangeArrowheads="1"/>
              </p:cNvSpPr>
              <p:nvPr/>
            </p:nvSpPr>
            <p:spPr bwMode="gray">
              <a:xfrm>
                <a:off x="4664993" y="5104816"/>
                <a:ext cx="700257" cy="675859"/>
              </a:xfrm>
              <a:prstGeom prst="rect">
                <a:avLst/>
              </a:prstGeom>
              <a:noFill/>
              <a:ln w="9525">
                <a:noFill/>
                <a:miter lim="800000"/>
                <a:headEnd/>
                <a:tailEnd/>
              </a:ln>
            </p:spPr>
            <p:txBody>
              <a:bodyPr lIns="64800" tIns="0" rIns="0" bIns="0" anchor="ctr"/>
              <a:lstStyle/>
              <a:p>
                <a:pPr lvl="0" fontAlgn="base">
                  <a:spcBef>
                    <a:spcPct val="0"/>
                  </a:spcBef>
                  <a:spcAft>
                    <a:spcPct val="0"/>
                  </a:spcAft>
                </a:pPr>
                <a:r>
                  <a:rPr lang="en-GB" sz="4000" dirty="0">
                    <a:cs typeface="Arial" charset="0"/>
                  </a:rPr>
                  <a:t>5</a:t>
                </a:r>
              </a:p>
            </p:txBody>
          </p:sp>
        </p:grpSp>
      </p:grpSp>
    </p:spTree>
    <p:custDataLst>
      <p:tags r:id="rId1"/>
    </p:custDataLst>
    <p:extLst>
      <p:ext uri="{BB962C8B-B14F-4D97-AF65-F5344CB8AC3E}">
        <p14:creationId xmlns:p14="http://schemas.microsoft.com/office/powerpoint/2010/main" val="178456191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6</a:t>
            </a:fld>
            <a:endParaRPr lang="en-GB" dirty="0"/>
          </a:p>
        </p:txBody>
      </p:sp>
      <p:grpSp>
        <p:nvGrpSpPr>
          <p:cNvPr id="4" name="Group 3"/>
          <p:cNvGrpSpPr/>
          <p:nvPr/>
        </p:nvGrpSpPr>
        <p:grpSpPr>
          <a:xfrm>
            <a:off x="508000" y="1528763"/>
            <a:ext cx="11171238" cy="4830762"/>
            <a:chOff x="2032000" y="1204996"/>
            <a:chExt cx="8128001" cy="4246844"/>
          </a:xfrm>
        </p:grpSpPr>
        <p:sp>
          <p:nvSpPr>
            <p:cNvPr id="5" name="TextBox 4"/>
            <p:cNvSpPr txBox="1"/>
            <p:nvPr/>
          </p:nvSpPr>
          <p:spPr>
            <a:xfrm>
              <a:off x="2032000" y="1204996"/>
              <a:ext cx="3979105"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7" name="TextBox 26"/>
            <p:cNvSpPr txBox="1"/>
            <p:nvPr/>
          </p:nvSpPr>
          <p:spPr>
            <a:xfrm>
              <a:off x="6184359" y="1204996"/>
              <a:ext cx="3975641"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9" name="TextBox 18"/>
            <p:cNvSpPr txBox="1"/>
            <p:nvPr/>
          </p:nvSpPr>
          <p:spPr>
            <a:xfrm>
              <a:off x="6184361" y="1524000"/>
              <a:ext cx="3975640" cy="3927840"/>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a:lnSpc>
                  <a:spcPct val="120000"/>
                </a:lnSpc>
                <a:spcAft>
                  <a:spcPts val="600"/>
                </a:spcAft>
                <a:buClr>
                  <a:schemeClr val="accent2"/>
                </a:buClr>
                <a:buSzPct val="75000"/>
              </a:pPr>
              <a:endParaRPr lang="en-US" sz="1400" dirty="0"/>
            </a:p>
          </p:txBody>
        </p:sp>
        <p:sp>
          <p:nvSpPr>
            <p:cNvPr id="20" name="TextBox 19"/>
            <p:cNvSpPr txBox="1"/>
            <p:nvPr/>
          </p:nvSpPr>
          <p:spPr>
            <a:xfrm>
              <a:off x="2032000" y="1522496"/>
              <a:ext cx="3979105" cy="3929344"/>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a:lnSpc>
                  <a:spcPct val="120000"/>
                </a:lnSpc>
                <a:spcAft>
                  <a:spcPts val="600"/>
                </a:spcAft>
                <a:buClr>
                  <a:schemeClr val="accent2"/>
                </a:buClr>
                <a:buSzPct val="75000"/>
              </a:pPr>
              <a:endParaRPr lang="en-US" sz="1400" dirty="0"/>
            </a:p>
          </p:txBody>
        </p:sp>
      </p:grpSp>
    </p:spTree>
    <p:extLst>
      <p:ext uri="{BB962C8B-B14F-4D97-AF65-F5344CB8AC3E}">
        <p14:creationId xmlns:p14="http://schemas.microsoft.com/office/powerpoint/2010/main" val="1566475037"/>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noGrp="1"/>
          </p:cNvSpPr>
          <p:nvPr>
            <p:ph type="title"/>
          </p:nvPr>
        </p:nvSpPr>
        <p:spPr/>
        <p:txBody>
          <a:bodyPr/>
          <a:lstStyle/>
          <a:p>
            <a:r>
              <a:rPr lang="en-GB"/>
              <a:t>Tasks and Influence</a:t>
            </a:r>
            <a:endParaRPr lang="en-GB" dirty="0"/>
          </a:p>
        </p:txBody>
      </p:sp>
      <p:grpSp>
        <p:nvGrpSpPr>
          <p:cNvPr id="40966" name="Group 6"/>
          <p:cNvGrpSpPr>
            <a:grpSpLocks/>
          </p:cNvGrpSpPr>
          <p:nvPr/>
        </p:nvGrpSpPr>
        <p:grpSpPr bwMode="auto">
          <a:xfrm>
            <a:off x="508000" y="1529007"/>
            <a:ext cx="11171238" cy="4830518"/>
            <a:chOff x="261938" y="1041835"/>
            <a:chExt cx="8634411" cy="3628177"/>
          </a:xfrm>
        </p:grpSpPr>
        <p:grpSp>
          <p:nvGrpSpPr>
            <p:cNvPr id="40967" name="Group 7"/>
            <p:cNvGrpSpPr>
              <a:grpSpLocks/>
            </p:cNvGrpSpPr>
            <p:nvPr/>
          </p:nvGrpSpPr>
          <p:grpSpPr bwMode="auto">
            <a:xfrm>
              <a:off x="261938" y="1041835"/>
              <a:ext cx="8631156" cy="1068988"/>
              <a:chOff x="909121" y="1372106"/>
              <a:chExt cx="7773161" cy="1246868"/>
            </a:xfrm>
          </p:grpSpPr>
          <p:sp>
            <p:nvSpPr>
              <p:cNvPr id="205829" name="Rectangle 16"/>
              <p:cNvSpPr>
                <a:spLocks noChangeArrowheads="1"/>
              </p:cNvSpPr>
              <p:nvPr/>
            </p:nvSpPr>
            <p:spPr bwMode="gray">
              <a:xfrm>
                <a:off x="909121" y="1372106"/>
                <a:ext cx="4797234" cy="1246868"/>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05830" name="Text Box 6"/>
              <p:cNvSpPr txBox="1">
                <a:spLocks noChangeArrowheads="1"/>
              </p:cNvSpPr>
              <p:nvPr/>
            </p:nvSpPr>
            <p:spPr bwMode="gray">
              <a:xfrm>
                <a:off x="1002098" y="1455727"/>
                <a:ext cx="525392" cy="950235"/>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6000" dirty="0">
                    <a:ln>
                      <a:solidFill>
                        <a:srgbClr val="FFFFFF"/>
                      </a:solidFill>
                    </a:ln>
                    <a:solidFill>
                      <a:srgbClr val="FFFFFF"/>
                    </a:solidFill>
                    <a:cs typeface="Arial" panose="020B0604020202020204" pitchFamily="34" charset="0"/>
                  </a:rPr>
                  <a:t>1</a:t>
                </a:r>
              </a:p>
            </p:txBody>
          </p:sp>
          <p:sp>
            <p:nvSpPr>
              <p:cNvPr id="205831" name="AutoShape 18"/>
              <p:cNvSpPr>
                <a:spLocks noChangeArrowheads="1"/>
              </p:cNvSpPr>
              <p:nvPr/>
            </p:nvSpPr>
            <p:spPr bwMode="gray">
              <a:xfrm flipH="1">
                <a:off x="4862370" y="1372106"/>
                <a:ext cx="3819912" cy="1246868"/>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0968" name="Group 8"/>
            <p:cNvGrpSpPr>
              <a:grpSpLocks/>
            </p:cNvGrpSpPr>
            <p:nvPr/>
          </p:nvGrpSpPr>
          <p:grpSpPr bwMode="auto">
            <a:xfrm>
              <a:off x="265193" y="2327225"/>
              <a:ext cx="8631156" cy="1067361"/>
              <a:chOff x="912052" y="2871383"/>
              <a:chExt cx="7773161" cy="1244970"/>
            </a:xfrm>
          </p:grpSpPr>
          <p:sp>
            <p:nvSpPr>
              <p:cNvPr id="205833" name="Rectangle 13"/>
              <p:cNvSpPr>
                <a:spLocks noChangeArrowheads="1"/>
              </p:cNvSpPr>
              <p:nvPr/>
            </p:nvSpPr>
            <p:spPr bwMode="gray">
              <a:xfrm>
                <a:off x="912052" y="2871383"/>
                <a:ext cx="4797234" cy="1244970"/>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05834" name="Text Box 10"/>
              <p:cNvSpPr txBox="1">
                <a:spLocks noChangeArrowheads="1"/>
              </p:cNvSpPr>
              <p:nvPr/>
            </p:nvSpPr>
            <p:spPr bwMode="gray">
              <a:xfrm>
                <a:off x="1005051" y="2954127"/>
                <a:ext cx="525392" cy="950235"/>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6000" dirty="0">
                    <a:ln>
                      <a:solidFill>
                        <a:srgbClr val="FFFFFF"/>
                      </a:solidFill>
                    </a:ln>
                    <a:solidFill>
                      <a:srgbClr val="FFFFFF"/>
                    </a:solidFill>
                    <a:cs typeface="Arial" panose="020B0604020202020204" pitchFamily="34" charset="0"/>
                  </a:rPr>
                  <a:t>2</a:t>
                </a:r>
              </a:p>
            </p:txBody>
          </p:sp>
          <p:sp>
            <p:nvSpPr>
              <p:cNvPr id="205835" name="AutoShape 15"/>
              <p:cNvSpPr>
                <a:spLocks noChangeArrowheads="1"/>
              </p:cNvSpPr>
              <p:nvPr/>
            </p:nvSpPr>
            <p:spPr bwMode="gray">
              <a:xfrm flipH="1">
                <a:off x="4865301" y="2871383"/>
                <a:ext cx="3819912" cy="1244970"/>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0969" name="Group 9"/>
            <p:cNvGrpSpPr>
              <a:grpSpLocks/>
            </p:cNvGrpSpPr>
            <p:nvPr/>
          </p:nvGrpSpPr>
          <p:grpSpPr bwMode="auto">
            <a:xfrm>
              <a:off x="265193" y="3601025"/>
              <a:ext cx="8631156" cy="1068987"/>
              <a:chOff x="912052" y="4357146"/>
              <a:chExt cx="7773161" cy="1246867"/>
            </a:xfrm>
          </p:grpSpPr>
          <p:sp>
            <p:nvSpPr>
              <p:cNvPr id="13" name="Rectangle 10"/>
              <p:cNvSpPr>
                <a:spLocks noChangeArrowheads="1"/>
              </p:cNvSpPr>
              <p:nvPr/>
            </p:nvSpPr>
            <p:spPr bwMode="gray">
              <a:xfrm>
                <a:off x="912052" y="4357146"/>
                <a:ext cx="4797234" cy="1246867"/>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14" name="Text Box 10"/>
              <p:cNvSpPr txBox="1">
                <a:spLocks noChangeArrowheads="1"/>
              </p:cNvSpPr>
              <p:nvPr/>
            </p:nvSpPr>
            <p:spPr bwMode="gray">
              <a:xfrm>
                <a:off x="1005051" y="4452526"/>
                <a:ext cx="525392" cy="950235"/>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6000" dirty="0">
                    <a:ln>
                      <a:solidFill>
                        <a:srgbClr val="FFFFFF"/>
                      </a:solidFill>
                    </a:ln>
                    <a:solidFill>
                      <a:srgbClr val="FFFFFF"/>
                    </a:solidFill>
                    <a:cs typeface="Arial" panose="020B0604020202020204" pitchFamily="34" charset="0"/>
                  </a:rPr>
                  <a:t>3</a:t>
                </a:r>
              </a:p>
            </p:txBody>
          </p:sp>
          <p:sp>
            <p:nvSpPr>
              <p:cNvPr id="17" name="AutoShape 12"/>
              <p:cNvSpPr>
                <a:spLocks noChangeArrowheads="1"/>
              </p:cNvSpPr>
              <p:nvPr/>
            </p:nvSpPr>
            <p:spPr bwMode="gray">
              <a:xfrm flipH="1">
                <a:off x="4865301" y="4357146"/>
                <a:ext cx="3819912" cy="1246867"/>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spTree>
    <p:custDataLst>
      <p:tags r:id="rId1"/>
    </p:custDataLst>
    <p:extLst>
      <p:ext uri="{BB962C8B-B14F-4D97-AF65-F5344CB8AC3E}">
        <p14:creationId xmlns:p14="http://schemas.microsoft.com/office/powerpoint/2010/main" val="343308058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noGrp="1"/>
          </p:cNvSpPr>
          <p:nvPr>
            <p:ph type="title"/>
          </p:nvPr>
        </p:nvSpPr>
        <p:spPr/>
        <p:txBody>
          <a:bodyPr/>
          <a:lstStyle/>
          <a:p>
            <a:r>
              <a:rPr lang="en-GB"/>
              <a:t>Tasks and Influence</a:t>
            </a:r>
            <a:endParaRPr lang="en-GB" dirty="0"/>
          </a:p>
        </p:txBody>
      </p:sp>
      <p:grpSp>
        <p:nvGrpSpPr>
          <p:cNvPr id="41990" name="Group 6"/>
          <p:cNvGrpSpPr>
            <a:grpSpLocks/>
          </p:cNvGrpSpPr>
          <p:nvPr/>
        </p:nvGrpSpPr>
        <p:grpSpPr bwMode="auto">
          <a:xfrm>
            <a:off x="508000" y="1528763"/>
            <a:ext cx="11171238" cy="4830762"/>
            <a:chOff x="261938" y="1032012"/>
            <a:chExt cx="8634411" cy="3715300"/>
          </a:xfrm>
        </p:grpSpPr>
        <p:grpSp>
          <p:nvGrpSpPr>
            <p:cNvPr id="41991" name="Group 7"/>
            <p:cNvGrpSpPr>
              <a:grpSpLocks/>
            </p:cNvGrpSpPr>
            <p:nvPr/>
          </p:nvGrpSpPr>
          <p:grpSpPr bwMode="auto">
            <a:xfrm>
              <a:off x="261938" y="1032012"/>
              <a:ext cx="8631156" cy="784052"/>
              <a:chOff x="907589" y="1360647"/>
              <a:chExt cx="7774692" cy="915067"/>
            </a:xfrm>
          </p:grpSpPr>
          <p:sp>
            <p:nvSpPr>
              <p:cNvPr id="205829" name="Rectangle 20"/>
              <p:cNvSpPr>
                <a:spLocks noChangeArrowheads="1"/>
              </p:cNvSpPr>
              <p:nvPr/>
            </p:nvSpPr>
            <p:spPr bwMode="gray">
              <a:xfrm>
                <a:off x="907589" y="1360647"/>
                <a:ext cx="4798179" cy="915067"/>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05830" name="Text Box 6"/>
              <p:cNvSpPr txBox="1">
                <a:spLocks noChangeArrowheads="1"/>
              </p:cNvSpPr>
              <p:nvPr/>
            </p:nvSpPr>
            <p:spPr bwMode="gray">
              <a:xfrm>
                <a:off x="1000584" y="1384377"/>
                <a:ext cx="525495" cy="789803"/>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5000" dirty="0">
                    <a:ln>
                      <a:solidFill>
                        <a:srgbClr val="FFFFFF"/>
                      </a:solidFill>
                    </a:ln>
                    <a:solidFill>
                      <a:srgbClr val="FFFFFF"/>
                    </a:solidFill>
                    <a:cs typeface="Arial" panose="020B0604020202020204" pitchFamily="34" charset="0"/>
                  </a:rPr>
                  <a:t>1</a:t>
                </a:r>
              </a:p>
            </p:txBody>
          </p:sp>
          <p:sp>
            <p:nvSpPr>
              <p:cNvPr id="205831" name="AutoShape 22"/>
              <p:cNvSpPr>
                <a:spLocks noChangeArrowheads="1"/>
              </p:cNvSpPr>
              <p:nvPr/>
            </p:nvSpPr>
            <p:spPr bwMode="gray">
              <a:xfrm flipH="1">
                <a:off x="4861617" y="1360647"/>
                <a:ext cx="3820664" cy="915067"/>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1992" name="Group 8"/>
            <p:cNvGrpSpPr>
              <a:grpSpLocks/>
            </p:cNvGrpSpPr>
            <p:nvPr/>
          </p:nvGrpSpPr>
          <p:grpSpPr bwMode="auto">
            <a:xfrm>
              <a:off x="265193" y="2009636"/>
              <a:ext cx="8631156" cy="784052"/>
              <a:chOff x="910521" y="2501633"/>
              <a:chExt cx="7774692" cy="915067"/>
            </a:xfrm>
          </p:grpSpPr>
          <p:sp>
            <p:nvSpPr>
              <p:cNvPr id="205833" name="Rectangle 17"/>
              <p:cNvSpPr>
                <a:spLocks noChangeArrowheads="1"/>
              </p:cNvSpPr>
              <p:nvPr/>
            </p:nvSpPr>
            <p:spPr bwMode="gray">
              <a:xfrm>
                <a:off x="910521" y="2501633"/>
                <a:ext cx="4798179" cy="915067"/>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05834" name="Text Box 10"/>
              <p:cNvSpPr txBox="1">
                <a:spLocks noChangeArrowheads="1"/>
              </p:cNvSpPr>
              <p:nvPr/>
            </p:nvSpPr>
            <p:spPr bwMode="gray">
              <a:xfrm>
                <a:off x="1003538" y="2524667"/>
                <a:ext cx="525495" cy="789803"/>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5000" dirty="0">
                    <a:ln>
                      <a:solidFill>
                        <a:srgbClr val="FFFFFF"/>
                      </a:solidFill>
                    </a:ln>
                    <a:solidFill>
                      <a:srgbClr val="FFFFFF"/>
                    </a:solidFill>
                    <a:cs typeface="Arial" panose="020B0604020202020204" pitchFamily="34" charset="0"/>
                  </a:rPr>
                  <a:t>2</a:t>
                </a:r>
              </a:p>
            </p:txBody>
          </p:sp>
          <p:sp>
            <p:nvSpPr>
              <p:cNvPr id="205835" name="AutoShape 19"/>
              <p:cNvSpPr>
                <a:spLocks noChangeArrowheads="1"/>
              </p:cNvSpPr>
              <p:nvPr/>
            </p:nvSpPr>
            <p:spPr bwMode="gray">
              <a:xfrm flipH="1">
                <a:off x="4864549" y="2501633"/>
                <a:ext cx="3820664" cy="915067"/>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1993" name="Group 9"/>
            <p:cNvGrpSpPr>
              <a:grpSpLocks/>
            </p:cNvGrpSpPr>
            <p:nvPr/>
          </p:nvGrpSpPr>
          <p:grpSpPr bwMode="auto">
            <a:xfrm>
              <a:off x="265193" y="2985635"/>
              <a:ext cx="8631156" cy="784052"/>
              <a:chOff x="910521" y="3640720"/>
              <a:chExt cx="7774692" cy="915067"/>
            </a:xfrm>
          </p:grpSpPr>
          <p:sp>
            <p:nvSpPr>
              <p:cNvPr id="13" name="Rectangle 14"/>
              <p:cNvSpPr>
                <a:spLocks noChangeArrowheads="1"/>
              </p:cNvSpPr>
              <p:nvPr/>
            </p:nvSpPr>
            <p:spPr bwMode="gray">
              <a:xfrm>
                <a:off x="910521" y="3640720"/>
                <a:ext cx="4798179" cy="915067"/>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14" name="Text Box 10"/>
              <p:cNvSpPr txBox="1">
                <a:spLocks noChangeArrowheads="1"/>
              </p:cNvSpPr>
              <p:nvPr/>
            </p:nvSpPr>
            <p:spPr bwMode="gray">
              <a:xfrm>
                <a:off x="1003538" y="3664957"/>
                <a:ext cx="525495" cy="789803"/>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5000" dirty="0">
                    <a:ln>
                      <a:solidFill>
                        <a:srgbClr val="FFFFFF"/>
                      </a:solidFill>
                    </a:ln>
                    <a:solidFill>
                      <a:srgbClr val="FFFFFF"/>
                    </a:solidFill>
                    <a:cs typeface="Arial" panose="020B0604020202020204" pitchFamily="34" charset="0"/>
                  </a:rPr>
                  <a:t>3</a:t>
                </a:r>
              </a:p>
            </p:txBody>
          </p:sp>
          <p:sp>
            <p:nvSpPr>
              <p:cNvPr id="17" name="AutoShape 16"/>
              <p:cNvSpPr>
                <a:spLocks noChangeArrowheads="1"/>
              </p:cNvSpPr>
              <p:nvPr/>
            </p:nvSpPr>
            <p:spPr bwMode="gray">
              <a:xfrm flipH="1">
                <a:off x="4864549" y="3640720"/>
                <a:ext cx="3820664" cy="915067"/>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1994" name="Group 10"/>
            <p:cNvGrpSpPr>
              <a:grpSpLocks/>
            </p:cNvGrpSpPr>
            <p:nvPr/>
          </p:nvGrpSpPr>
          <p:grpSpPr bwMode="auto">
            <a:xfrm>
              <a:off x="265193" y="3963260"/>
              <a:ext cx="8631156" cy="784052"/>
              <a:chOff x="910521" y="4781710"/>
              <a:chExt cx="7774692" cy="915068"/>
            </a:xfrm>
          </p:grpSpPr>
          <p:sp>
            <p:nvSpPr>
              <p:cNvPr id="19" name="Rectangle 11"/>
              <p:cNvSpPr>
                <a:spLocks noChangeArrowheads="1"/>
              </p:cNvSpPr>
              <p:nvPr/>
            </p:nvSpPr>
            <p:spPr bwMode="gray">
              <a:xfrm>
                <a:off x="910521" y="4781710"/>
                <a:ext cx="4798179" cy="915068"/>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0" name="Text Box 10"/>
              <p:cNvSpPr txBox="1">
                <a:spLocks noChangeArrowheads="1"/>
              </p:cNvSpPr>
              <p:nvPr/>
            </p:nvSpPr>
            <p:spPr bwMode="gray">
              <a:xfrm>
                <a:off x="1003538" y="4805244"/>
                <a:ext cx="525495" cy="789803"/>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5000" dirty="0">
                    <a:ln>
                      <a:solidFill>
                        <a:srgbClr val="FFFFFF"/>
                      </a:solidFill>
                    </a:ln>
                    <a:solidFill>
                      <a:srgbClr val="FFFFFF"/>
                    </a:solidFill>
                    <a:cs typeface="Arial" panose="020B0604020202020204" pitchFamily="34" charset="0"/>
                  </a:rPr>
                  <a:t>4</a:t>
                </a:r>
              </a:p>
            </p:txBody>
          </p:sp>
          <p:sp>
            <p:nvSpPr>
              <p:cNvPr id="21" name="AutoShape 13"/>
              <p:cNvSpPr>
                <a:spLocks noChangeArrowheads="1"/>
              </p:cNvSpPr>
              <p:nvPr/>
            </p:nvSpPr>
            <p:spPr bwMode="gray">
              <a:xfrm flipH="1">
                <a:off x="4864549" y="4781710"/>
                <a:ext cx="3820664" cy="915068"/>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spTree>
    <p:custDataLst>
      <p:tags r:id="rId1"/>
    </p:custDataLst>
    <p:extLst>
      <p:ext uri="{BB962C8B-B14F-4D97-AF65-F5344CB8AC3E}">
        <p14:creationId xmlns:p14="http://schemas.microsoft.com/office/powerpoint/2010/main" val="3830185"/>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noGrp="1"/>
          </p:cNvSpPr>
          <p:nvPr>
            <p:ph type="title"/>
          </p:nvPr>
        </p:nvSpPr>
        <p:spPr/>
        <p:txBody>
          <a:bodyPr/>
          <a:lstStyle/>
          <a:p>
            <a:r>
              <a:rPr lang="en-GB"/>
              <a:t>Tasks and Influence</a:t>
            </a:r>
            <a:endParaRPr lang="en-GB" dirty="0"/>
          </a:p>
        </p:txBody>
      </p:sp>
      <p:grpSp>
        <p:nvGrpSpPr>
          <p:cNvPr id="43014" name="Group 6"/>
          <p:cNvGrpSpPr>
            <a:grpSpLocks/>
          </p:cNvGrpSpPr>
          <p:nvPr/>
        </p:nvGrpSpPr>
        <p:grpSpPr bwMode="auto">
          <a:xfrm>
            <a:off x="508000" y="1528763"/>
            <a:ext cx="11171238" cy="4830762"/>
            <a:chOff x="261939" y="1031876"/>
            <a:chExt cx="8625965" cy="3993888"/>
          </a:xfrm>
        </p:grpSpPr>
        <p:grpSp>
          <p:nvGrpSpPr>
            <p:cNvPr id="43015" name="Group 7"/>
            <p:cNvGrpSpPr>
              <a:grpSpLocks/>
            </p:cNvGrpSpPr>
            <p:nvPr/>
          </p:nvGrpSpPr>
          <p:grpSpPr bwMode="auto">
            <a:xfrm>
              <a:off x="261939" y="1031876"/>
              <a:ext cx="8622710" cy="691407"/>
              <a:chOff x="919163" y="1363166"/>
              <a:chExt cx="7755525" cy="808063"/>
            </a:xfrm>
          </p:grpSpPr>
          <p:sp>
            <p:nvSpPr>
              <p:cNvPr id="205829" name="Rectangle 24"/>
              <p:cNvSpPr>
                <a:spLocks noChangeArrowheads="1"/>
              </p:cNvSpPr>
              <p:nvPr/>
            </p:nvSpPr>
            <p:spPr bwMode="gray">
              <a:xfrm>
                <a:off x="919163" y="1363166"/>
                <a:ext cx="4791039" cy="808063"/>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05830" name="Text Box 6"/>
              <p:cNvSpPr txBox="1">
                <a:spLocks noChangeArrowheads="1"/>
              </p:cNvSpPr>
              <p:nvPr/>
            </p:nvSpPr>
            <p:spPr bwMode="gray">
              <a:xfrm>
                <a:off x="1012019" y="1391610"/>
                <a:ext cx="524713" cy="682473"/>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4000" dirty="0">
                    <a:ln>
                      <a:solidFill>
                        <a:srgbClr val="FFFFFF"/>
                      </a:solidFill>
                    </a:ln>
                    <a:solidFill>
                      <a:srgbClr val="FFFFFF"/>
                    </a:solidFill>
                    <a:cs typeface="Arial" panose="020B0604020202020204" pitchFamily="34" charset="0"/>
                  </a:rPr>
                  <a:t>1</a:t>
                </a:r>
              </a:p>
            </p:txBody>
          </p:sp>
          <p:sp>
            <p:nvSpPr>
              <p:cNvPr id="205831" name="AutoShape 26"/>
              <p:cNvSpPr>
                <a:spLocks noChangeArrowheads="1"/>
              </p:cNvSpPr>
              <p:nvPr/>
            </p:nvSpPr>
            <p:spPr bwMode="gray">
              <a:xfrm flipH="1">
                <a:off x="4859709" y="1363166"/>
                <a:ext cx="3814979" cy="808063"/>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3016" name="Group 8"/>
            <p:cNvGrpSpPr>
              <a:grpSpLocks/>
            </p:cNvGrpSpPr>
            <p:nvPr/>
          </p:nvGrpSpPr>
          <p:grpSpPr bwMode="auto">
            <a:xfrm>
              <a:off x="265193" y="1856682"/>
              <a:ext cx="8622711" cy="693033"/>
              <a:chOff x="922090" y="2327136"/>
              <a:chExt cx="7755526" cy="809964"/>
            </a:xfrm>
          </p:grpSpPr>
          <p:sp>
            <p:nvSpPr>
              <p:cNvPr id="205833" name="Rectangle 21"/>
              <p:cNvSpPr>
                <a:spLocks noChangeArrowheads="1"/>
              </p:cNvSpPr>
              <p:nvPr/>
            </p:nvSpPr>
            <p:spPr bwMode="gray">
              <a:xfrm>
                <a:off x="922090" y="2327136"/>
                <a:ext cx="4791039" cy="809964"/>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05834" name="Text Box 10"/>
              <p:cNvSpPr txBox="1">
                <a:spLocks noChangeArrowheads="1"/>
              </p:cNvSpPr>
              <p:nvPr/>
            </p:nvSpPr>
            <p:spPr bwMode="gray">
              <a:xfrm>
                <a:off x="1014968" y="2356529"/>
                <a:ext cx="524713" cy="682474"/>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4000" dirty="0">
                    <a:ln>
                      <a:solidFill>
                        <a:srgbClr val="FFFFFF"/>
                      </a:solidFill>
                    </a:ln>
                    <a:solidFill>
                      <a:srgbClr val="FFFFFF"/>
                    </a:solidFill>
                    <a:cs typeface="Arial" panose="020B0604020202020204" pitchFamily="34" charset="0"/>
                  </a:rPr>
                  <a:t>2</a:t>
                </a:r>
              </a:p>
            </p:txBody>
          </p:sp>
          <p:sp>
            <p:nvSpPr>
              <p:cNvPr id="205835" name="AutoShape 23"/>
              <p:cNvSpPr>
                <a:spLocks noChangeArrowheads="1"/>
              </p:cNvSpPr>
              <p:nvPr/>
            </p:nvSpPr>
            <p:spPr bwMode="gray">
              <a:xfrm flipH="1">
                <a:off x="4862637" y="2327136"/>
                <a:ext cx="3814979" cy="809964"/>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3017" name="Group 9"/>
            <p:cNvGrpSpPr>
              <a:grpSpLocks/>
            </p:cNvGrpSpPr>
            <p:nvPr/>
          </p:nvGrpSpPr>
          <p:grpSpPr bwMode="auto">
            <a:xfrm>
              <a:off x="265193" y="2683116"/>
              <a:ext cx="8622711" cy="691406"/>
              <a:chOff x="922090" y="3293009"/>
              <a:chExt cx="7755526" cy="808062"/>
            </a:xfrm>
          </p:grpSpPr>
          <p:sp>
            <p:nvSpPr>
              <p:cNvPr id="13" name="Rectangle 18"/>
              <p:cNvSpPr>
                <a:spLocks noChangeArrowheads="1"/>
              </p:cNvSpPr>
              <p:nvPr/>
            </p:nvSpPr>
            <p:spPr bwMode="gray">
              <a:xfrm>
                <a:off x="922090" y="3293009"/>
                <a:ext cx="4791039" cy="808062"/>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14" name="Text Box 10"/>
              <p:cNvSpPr txBox="1">
                <a:spLocks noChangeArrowheads="1"/>
              </p:cNvSpPr>
              <p:nvPr/>
            </p:nvSpPr>
            <p:spPr bwMode="gray">
              <a:xfrm>
                <a:off x="1014968" y="3321446"/>
                <a:ext cx="524713" cy="682473"/>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4000" dirty="0">
                    <a:ln>
                      <a:solidFill>
                        <a:srgbClr val="FFFFFF"/>
                      </a:solidFill>
                    </a:ln>
                    <a:solidFill>
                      <a:srgbClr val="FFFFFF"/>
                    </a:solidFill>
                    <a:cs typeface="Arial" panose="020B0604020202020204" pitchFamily="34" charset="0"/>
                  </a:rPr>
                  <a:t>3</a:t>
                </a:r>
              </a:p>
            </p:txBody>
          </p:sp>
          <p:sp>
            <p:nvSpPr>
              <p:cNvPr id="17" name="AutoShape 20"/>
              <p:cNvSpPr>
                <a:spLocks noChangeArrowheads="1"/>
              </p:cNvSpPr>
              <p:nvPr/>
            </p:nvSpPr>
            <p:spPr bwMode="gray">
              <a:xfrm flipH="1">
                <a:off x="4862637" y="3293009"/>
                <a:ext cx="3814979" cy="808062"/>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3018" name="Group 10"/>
            <p:cNvGrpSpPr>
              <a:grpSpLocks/>
            </p:cNvGrpSpPr>
            <p:nvPr/>
          </p:nvGrpSpPr>
          <p:grpSpPr bwMode="auto">
            <a:xfrm>
              <a:off x="265193" y="3507920"/>
              <a:ext cx="8622711" cy="693033"/>
              <a:chOff x="922090" y="4256978"/>
              <a:chExt cx="7755526" cy="809964"/>
            </a:xfrm>
          </p:grpSpPr>
          <p:sp>
            <p:nvSpPr>
              <p:cNvPr id="19" name="Rectangle 15"/>
              <p:cNvSpPr>
                <a:spLocks noChangeArrowheads="1"/>
              </p:cNvSpPr>
              <p:nvPr/>
            </p:nvSpPr>
            <p:spPr bwMode="gray">
              <a:xfrm>
                <a:off x="922090" y="4256978"/>
                <a:ext cx="4791039" cy="809964"/>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0" name="Text Box 10"/>
              <p:cNvSpPr txBox="1">
                <a:spLocks noChangeArrowheads="1"/>
              </p:cNvSpPr>
              <p:nvPr/>
            </p:nvSpPr>
            <p:spPr bwMode="gray">
              <a:xfrm>
                <a:off x="1014968" y="4286365"/>
                <a:ext cx="524713" cy="682474"/>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4000" dirty="0">
                    <a:ln>
                      <a:solidFill>
                        <a:srgbClr val="FFFFFF"/>
                      </a:solidFill>
                    </a:ln>
                    <a:solidFill>
                      <a:srgbClr val="FFFFFF"/>
                    </a:solidFill>
                    <a:cs typeface="Arial" panose="020B0604020202020204" pitchFamily="34" charset="0"/>
                  </a:rPr>
                  <a:t>4</a:t>
                </a:r>
              </a:p>
            </p:txBody>
          </p:sp>
          <p:sp>
            <p:nvSpPr>
              <p:cNvPr id="21" name="AutoShape 17"/>
              <p:cNvSpPr>
                <a:spLocks noChangeArrowheads="1"/>
              </p:cNvSpPr>
              <p:nvPr/>
            </p:nvSpPr>
            <p:spPr bwMode="gray">
              <a:xfrm flipH="1">
                <a:off x="4862637" y="4256978"/>
                <a:ext cx="3814979" cy="809964"/>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nvGrpSpPr>
            <p:cNvPr id="43019" name="Group 11"/>
            <p:cNvGrpSpPr>
              <a:grpSpLocks/>
            </p:cNvGrpSpPr>
            <p:nvPr/>
          </p:nvGrpSpPr>
          <p:grpSpPr bwMode="auto">
            <a:xfrm>
              <a:off x="265193" y="4334357"/>
              <a:ext cx="8622711" cy="691407"/>
              <a:chOff x="922090" y="5222850"/>
              <a:chExt cx="7755526" cy="808063"/>
            </a:xfrm>
          </p:grpSpPr>
          <p:sp>
            <p:nvSpPr>
              <p:cNvPr id="23" name="Rectangle 12"/>
              <p:cNvSpPr>
                <a:spLocks noChangeArrowheads="1"/>
              </p:cNvSpPr>
              <p:nvPr/>
            </p:nvSpPr>
            <p:spPr bwMode="gray">
              <a:xfrm>
                <a:off x="922090" y="5222850"/>
                <a:ext cx="4791039" cy="808063"/>
              </a:xfrm>
              <a:prstGeom prst="rect">
                <a:avLst/>
              </a:prstGeom>
              <a:solidFill>
                <a:schemeClr val="tx2"/>
              </a:solidFill>
              <a:ln w="9525">
                <a:solidFill>
                  <a:schemeClr val="tx2"/>
                </a:solidFill>
                <a:miter lim="800000"/>
                <a:headEnd/>
                <a:tailEnd/>
              </a:ln>
              <a:effectLst/>
            </p:spPr>
            <p:txBody>
              <a:bodyPr lIns="820800" tIns="0" rIns="1072800" bIns="0" anchor="ctr"/>
              <a:lstStyle/>
              <a:p>
                <a:pPr lvl="0" fontAlgn="base">
                  <a:spcBef>
                    <a:spcPct val="0"/>
                  </a:spcBef>
                  <a:spcAft>
                    <a:spcPct val="0"/>
                  </a:spcAft>
                </a:pPr>
                <a:r>
                  <a:rPr lang="en-GB" sz="1400" dirty="0">
                    <a:solidFill>
                      <a:srgbClr val="FFFFFF"/>
                    </a:solidFill>
                    <a:latin typeface="+mj-lt"/>
                    <a:cs typeface="Arial" charset="0"/>
                  </a:rPr>
                  <a:t>Text goes here </a:t>
                </a:r>
              </a:p>
              <a:p>
                <a:pPr lvl="0" fontAlgn="base">
                  <a:spcBef>
                    <a:spcPct val="0"/>
                  </a:spcBef>
                  <a:spcAft>
                    <a:spcPct val="0"/>
                  </a:spcAft>
                </a:pPr>
                <a:r>
                  <a:rPr lang="en-GB" sz="1400" dirty="0">
                    <a:solidFill>
                      <a:srgbClr val="FFFFFF"/>
                    </a:solidFill>
                    <a:cs typeface="Arial" charset="0"/>
                  </a:rPr>
                  <a:t>Conclusion text goes here</a:t>
                </a:r>
              </a:p>
            </p:txBody>
          </p:sp>
          <p:sp>
            <p:nvSpPr>
              <p:cNvPr id="24" name="Text Box 10"/>
              <p:cNvSpPr txBox="1">
                <a:spLocks noChangeArrowheads="1"/>
              </p:cNvSpPr>
              <p:nvPr/>
            </p:nvSpPr>
            <p:spPr bwMode="gray">
              <a:xfrm>
                <a:off x="1014968" y="5251283"/>
                <a:ext cx="524713" cy="682473"/>
              </a:xfrm>
              <a:prstGeom prst="rect">
                <a:avLst/>
              </a:prstGeom>
              <a:noFill/>
              <a:ln w="9525">
                <a:noFill/>
                <a:miter lim="800000"/>
                <a:headEnd/>
                <a:tailEnd/>
              </a:ln>
              <a:effectLst/>
            </p:spPr>
            <p:txBody>
              <a:bodyPr lIns="0" tIns="0" rIns="0" bIns="0" anchor="ctr">
                <a:spAutoFit/>
              </a:bodyPr>
              <a:lstStyle/>
              <a:p>
                <a:pPr lvl="0">
                  <a:spcBef>
                    <a:spcPct val="0"/>
                  </a:spcBef>
                  <a:buClr>
                    <a:srgbClr val="FFFFFF"/>
                  </a:buClr>
                  <a:buSzPct val="90000"/>
                  <a:defRPr/>
                </a:pPr>
                <a:r>
                  <a:rPr lang="en-GB" sz="4000" dirty="0">
                    <a:ln>
                      <a:solidFill>
                        <a:srgbClr val="FFFFFF"/>
                      </a:solidFill>
                    </a:ln>
                    <a:solidFill>
                      <a:srgbClr val="FFFFFF"/>
                    </a:solidFill>
                    <a:cs typeface="Arial" panose="020B0604020202020204" pitchFamily="34" charset="0"/>
                  </a:rPr>
                  <a:t>5</a:t>
                </a:r>
              </a:p>
            </p:txBody>
          </p:sp>
          <p:sp>
            <p:nvSpPr>
              <p:cNvPr id="25" name="AutoShape 14"/>
              <p:cNvSpPr>
                <a:spLocks noChangeArrowheads="1"/>
              </p:cNvSpPr>
              <p:nvPr/>
            </p:nvSpPr>
            <p:spPr bwMode="gray">
              <a:xfrm flipH="1">
                <a:off x="4862637" y="5222850"/>
                <a:ext cx="3814979" cy="808063"/>
              </a:xfrm>
              <a:prstGeom prst="homePlate">
                <a:avLst>
                  <a:gd name="adj" fmla="val 44485"/>
                </a:avLst>
              </a:prstGeom>
              <a:solidFill>
                <a:schemeClr val="accent1"/>
              </a:solidFill>
              <a:ln w="9525">
                <a:solidFill>
                  <a:schemeClr val="accent1"/>
                </a:solidFill>
                <a:miter lim="800000"/>
                <a:headEnd/>
                <a:tailEnd/>
              </a:ln>
              <a:effectLst/>
            </p:spPr>
            <p:txBody>
              <a:bodyPr lIns="0" tIns="0" rIns="648000" bIns="0" anchor="ctr"/>
              <a:lstStyle/>
              <a:p>
                <a:pPr lvl="0" algn="ctr" fontAlgn="base">
                  <a:spcBef>
                    <a:spcPct val="0"/>
                  </a:spcBef>
                  <a:spcAft>
                    <a:spcPct val="0"/>
                  </a:spcAft>
                </a:pPr>
                <a:r>
                  <a:rPr lang="en-GB" sz="1400" dirty="0">
                    <a:cs typeface="Arial" charset="0"/>
                  </a:rPr>
                  <a:t>Influence text goes here</a:t>
                </a:r>
              </a:p>
            </p:txBody>
          </p:sp>
        </p:grpSp>
      </p:grpSp>
    </p:spTree>
    <p:custDataLst>
      <p:tags r:id="rId1"/>
    </p:custDataLst>
    <p:extLst>
      <p:ext uri="{BB962C8B-B14F-4D97-AF65-F5344CB8AC3E}">
        <p14:creationId xmlns:p14="http://schemas.microsoft.com/office/powerpoint/2010/main" val="2950477835"/>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pPr lvl="0"/>
            <a:r>
              <a:rPr lang="en-GB" dirty="0"/>
              <a:t>Animated multiple level chart </a:t>
            </a:r>
          </a:p>
        </p:txBody>
      </p:sp>
      <p:grpSp>
        <p:nvGrpSpPr>
          <p:cNvPr id="7" name="Group 6"/>
          <p:cNvGrpSpPr/>
          <p:nvPr/>
        </p:nvGrpSpPr>
        <p:grpSpPr>
          <a:xfrm>
            <a:off x="508000" y="1528763"/>
            <a:ext cx="11171238" cy="4830762"/>
            <a:chOff x="1950861" y="1439863"/>
            <a:chExt cx="8051800" cy="4206874"/>
          </a:xfrm>
        </p:grpSpPr>
        <p:sp>
          <p:nvSpPr>
            <p:cNvPr id="41987" name="Text Box 3"/>
            <p:cNvSpPr txBox="1">
              <a:spLocks noChangeArrowheads="1"/>
            </p:cNvSpPr>
            <p:nvPr/>
          </p:nvSpPr>
          <p:spPr bwMode="gray">
            <a:xfrm>
              <a:off x="1950861" y="1444625"/>
              <a:ext cx="1958992" cy="696912"/>
            </a:xfrm>
            <a:prstGeom prst="rect">
              <a:avLst/>
            </a:prstGeom>
            <a:solidFill>
              <a:schemeClr val="accent1"/>
            </a:solidFill>
            <a:ln w="12700">
              <a:noFill/>
              <a:miter lim="800000"/>
              <a:headEnd/>
              <a:tailEnd/>
            </a:ln>
          </p:spPr>
          <p:txBody>
            <a:bodyPr anchor="ctr"/>
            <a:lstStyle/>
            <a:p>
              <a:pPr lvl="0">
                <a:lnSpc>
                  <a:spcPct val="90000"/>
                </a:lnSpc>
                <a:spcBef>
                  <a:spcPct val="0"/>
                </a:spcBef>
                <a:spcAft>
                  <a:spcPct val="0"/>
                </a:spcAft>
                <a:buClrTx/>
                <a:buNone/>
              </a:pPr>
              <a:r>
                <a:rPr lang="en-GB" sz="1600" dirty="0">
                  <a:latin typeface="+mj-lt"/>
                  <a:cs typeface="Arial" charset="0"/>
                </a:rPr>
                <a:t>Level one</a:t>
              </a:r>
            </a:p>
          </p:txBody>
        </p:sp>
        <p:sp>
          <p:nvSpPr>
            <p:cNvPr id="41988" name="Text Box 4"/>
            <p:cNvSpPr txBox="1">
              <a:spLocks noChangeArrowheads="1"/>
            </p:cNvSpPr>
            <p:nvPr/>
          </p:nvSpPr>
          <p:spPr bwMode="gray">
            <a:xfrm>
              <a:off x="1950861" y="4068762"/>
              <a:ext cx="1958992" cy="696912"/>
            </a:xfrm>
            <a:prstGeom prst="rect">
              <a:avLst/>
            </a:prstGeom>
            <a:solidFill>
              <a:schemeClr val="accent1"/>
            </a:solidFill>
            <a:ln w="12700">
              <a:noFill/>
              <a:miter lim="800000"/>
              <a:headEnd/>
              <a:tailEnd/>
            </a:ln>
          </p:spPr>
          <p:txBody>
            <a:bodyPr anchor="ctr"/>
            <a:lstStyle/>
            <a:p>
              <a:pPr lvl="0">
                <a:lnSpc>
                  <a:spcPct val="90000"/>
                </a:lnSpc>
                <a:spcBef>
                  <a:spcPct val="0"/>
                </a:spcBef>
                <a:spcAft>
                  <a:spcPct val="0"/>
                </a:spcAft>
                <a:buClrTx/>
                <a:buNone/>
              </a:pPr>
              <a:r>
                <a:rPr lang="en-GB" sz="1600" dirty="0">
                  <a:latin typeface="+mj-lt"/>
                  <a:cs typeface="Arial" charset="0"/>
                </a:rPr>
                <a:t>Level four</a:t>
              </a:r>
            </a:p>
          </p:txBody>
        </p:sp>
        <p:sp>
          <p:nvSpPr>
            <p:cNvPr id="41989" name="Text Box 5"/>
            <p:cNvSpPr txBox="1">
              <a:spLocks noChangeArrowheads="1"/>
            </p:cNvSpPr>
            <p:nvPr/>
          </p:nvSpPr>
          <p:spPr bwMode="gray">
            <a:xfrm>
              <a:off x="1950861" y="3194051"/>
              <a:ext cx="1943806" cy="695325"/>
            </a:xfrm>
            <a:prstGeom prst="rect">
              <a:avLst/>
            </a:prstGeom>
            <a:solidFill>
              <a:schemeClr val="accent1"/>
            </a:solidFill>
            <a:ln w="12700">
              <a:noFill/>
              <a:miter lim="800000"/>
              <a:headEnd/>
              <a:tailEnd/>
            </a:ln>
          </p:spPr>
          <p:txBody>
            <a:bodyPr anchor="ctr"/>
            <a:lstStyle/>
            <a:p>
              <a:pPr lvl="0">
                <a:lnSpc>
                  <a:spcPct val="90000"/>
                </a:lnSpc>
                <a:spcBef>
                  <a:spcPct val="0"/>
                </a:spcBef>
                <a:spcAft>
                  <a:spcPct val="0"/>
                </a:spcAft>
                <a:buClrTx/>
                <a:buNone/>
              </a:pPr>
              <a:r>
                <a:rPr lang="en-GB" sz="1600" dirty="0">
                  <a:latin typeface="+mj-lt"/>
                  <a:cs typeface="Arial" charset="0"/>
                </a:rPr>
                <a:t>Level three</a:t>
              </a:r>
            </a:p>
          </p:txBody>
        </p:sp>
        <p:sp>
          <p:nvSpPr>
            <p:cNvPr id="41990" name="Text Box 6"/>
            <p:cNvSpPr txBox="1">
              <a:spLocks noChangeArrowheads="1"/>
            </p:cNvSpPr>
            <p:nvPr/>
          </p:nvSpPr>
          <p:spPr bwMode="gray">
            <a:xfrm>
              <a:off x="1950861" y="2327275"/>
              <a:ext cx="1958992" cy="696912"/>
            </a:xfrm>
            <a:prstGeom prst="rect">
              <a:avLst/>
            </a:prstGeom>
            <a:solidFill>
              <a:schemeClr val="accent1"/>
            </a:solidFill>
            <a:ln w="12700">
              <a:noFill/>
              <a:miter lim="800000"/>
              <a:headEnd/>
              <a:tailEnd/>
            </a:ln>
          </p:spPr>
          <p:txBody>
            <a:bodyPr anchor="ctr"/>
            <a:lstStyle/>
            <a:p>
              <a:pPr lvl="0">
                <a:lnSpc>
                  <a:spcPct val="90000"/>
                </a:lnSpc>
                <a:spcBef>
                  <a:spcPct val="0"/>
                </a:spcBef>
                <a:spcAft>
                  <a:spcPct val="0"/>
                </a:spcAft>
                <a:buClrTx/>
                <a:buNone/>
              </a:pPr>
              <a:r>
                <a:rPr lang="en-GB" sz="1600" dirty="0">
                  <a:latin typeface="+mj-lt"/>
                  <a:cs typeface="Arial" charset="0"/>
                </a:rPr>
                <a:t>Level two</a:t>
              </a:r>
            </a:p>
          </p:txBody>
        </p:sp>
        <p:sp>
          <p:nvSpPr>
            <p:cNvPr id="41991" name="Text Box 7"/>
            <p:cNvSpPr txBox="1">
              <a:spLocks noChangeArrowheads="1"/>
            </p:cNvSpPr>
            <p:nvPr/>
          </p:nvSpPr>
          <p:spPr bwMode="gray">
            <a:xfrm>
              <a:off x="1950861" y="4949825"/>
              <a:ext cx="1958992" cy="696912"/>
            </a:xfrm>
            <a:prstGeom prst="rect">
              <a:avLst/>
            </a:prstGeom>
            <a:solidFill>
              <a:schemeClr val="accent1"/>
            </a:solidFill>
            <a:ln w="12700">
              <a:noFill/>
              <a:miter lim="800000"/>
              <a:headEnd/>
              <a:tailEnd/>
            </a:ln>
          </p:spPr>
          <p:txBody>
            <a:bodyPr anchor="ctr"/>
            <a:lstStyle/>
            <a:p>
              <a:pPr lvl="0">
                <a:lnSpc>
                  <a:spcPct val="90000"/>
                </a:lnSpc>
                <a:spcBef>
                  <a:spcPct val="0"/>
                </a:spcBef>
                <a:spcAft>
                  <a:spcPct val="0"/>
                </a:spcAft>
                <a:buClrTx/>
                <a:buNone/>
              </a:pPr>
              <a:r>
                <a:rPr lang="en-GB" sz="1600" dirty="0">
                  <a:latin typeface="+mj-lt"/>
                  <a:cs typeface="Arial" charset="0"/>
                </a:rPr>
                <a:t>Summary</a:t>
              </a:r>
            </a:p>
          </p:txBody>
        </p:sp>
        <p:grpSp>
          <p:nvGrpSpPr>
            <p:cNvPr id="2" name="Group 8"/>
            <p:cNvGrpSpPr>
              <a:grpSpLocks/>
            </p:cNvGrpSpPr>
            <p:nvPr/>
          </p:nvGrpSpPr>
          <p:grpSpPr bwMode="auto">
            <a:xfrm>
              <a:off x="4078112" y="4946651"/>
              <a:ext cx="5924549" cy="696913"/>
              <a:chOff x="1688" y="3182"/>
              <a:chExt cx="3732" cy="439"/>
            </a:xfrm>
          </p:grpSpPr>
          <p:sp>
            <p:nvSpPr>
              <p:cNvPr id="42005" name="AutoShape 9"/>
              <p:cNvSpPr>
                <a:spLocks noChangeArrowheads="1"/>
              </p:cNvSpPr>
              <p:nvPr/>
            </p:nvSpPr>
            <p:spPr bwMode="auto">
              <a:xfrm rot="5400000">
                <a:off x="1646" y="3348"/>
                <a:ext cx="220" cy="135"/>
              </a:xfrm>
              <a:prstGeom prst="triangle">
                <a:avLst>
                  <a:gd name="adj" fmla="val 50000"/>
                </a:avLst>
              </a:prstGeom>
              <a:solidFill>
                <a:schemeClr val="accent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sz="1400" b="1"/>
              </a:p>
            </p:txBody>
          </p:sp>
          <p:sp>
            <p:nvSpPr>
              <p:cNvPr id="42006" name="Text Box 10"/>
              <p:cNvSpPr txBox="1">
                <a:spLocks noChangeArrowheads="1"/>
              </p:cNvSpPr>
              <p:nvPr/>
            </p:nvSpPr>
            <p:spPr bwMode="auto">
              <a:xfrm>
                <a:off x="2064" y="3182"/>
                <a:ext cx="3356" cy="439"/>
              </a:xfrm>
              <a:prstGeom prst="rect">
                <a:avLst/>
              </a:prstGeom>
              <a:noFill/>
              <a:ln w="12700">
                <a:noFill/>
                <a:miter lim="800000"/>
                <a:headEnd/>
                <a:tailEnd/>
              </a:ln>
            </p:spPr>
            <p:txBody>
              <a:bodyPr lIns="0" tIns="0" rIns="0" bIns="0" anchor="ctr"/>
              <a:lstStyle/>
              <a:p>
                <a:pPr lvl="0">
                  <a:lnSpc>
                    <a:spcPct val="100000"/>
                  </a:lnSpc>
                  <a:spcBef>
                    <a:spcPct val="50000"/>
                  </a:spcBef>
                  <a:spcAft>
                    <a:spcPct val="0"/>
                  </a:spcAft>
                  <a:buClrTx/>
                  <a:buNone/>
                </a:pPr>
                <a:r>
                  <a:rPr lang="en-GB" sz="1400" dirty="0">
                    <a:solidFill>
                      <a:schemeClr val="accent2"/>
                    </a:solidFill>
                    <a:latin typeface="+mj-lt"/>
                    <a:cs typeface="Arial" charset="0"/>
                  </a:rPr>
                  <a:t>Heading</a:t>
                </a:r>
                <a:r>
                  <a:rPr lang="en-GB" sz="1400" dirty="0">
                    <a:cs typeface="Arial" charset="0"/>
                  </a:rPr>
                  <a:t> - notes appear here in this type style and size, notes appear here in this type style and size. </a:t>
                </a:r>
              </a:p>
            </p:txBody>
          </p:sp>
        </p:grpSp>
        <p:grpSp>
          <p:nvGrpSpPr>
            <p:cNvPr id="3" name="Group 11"/>
            <p:cNvGrpSpPr>
              <a:grpSpLocks/>
            </p:cNvGrpSpPr>
            <p:nvPr/>
          </p:nvGrpSpPr>
          <p:grpSpPr bwMode="auto">
            <a:xfrm>
              <a:off x="4078111" y="1439863"/>
              <a:ext cx="5924550" cy="696912"/>
              <a:chOff x="1688" y="973"/>
              <a:chExt cx="3732" cy="439"/>
            </a:xfrm>
          </p:grpSpPr>
          <p:sp>
            <p:nvSpPr>
              <p:cNvPr id="42003" name="Text Box 12"/>
              <p:cNvSpPr txBox="1">
                <a:spLocks noChangeArrowheads="1"/>
              </p:cNvSpPr>
              <p:nvPr/>
            </p:nvSpPr>
            <p:spPr bwMode="auto">
              <a:xfrm>
                <a:off x="2064" y="973"/>
                <a:ext cx="3356" cy="439"/>
              </a:xfrm>
              <a:prstGeom prst="rect">
                <a:avLst/>
              </a:prstGeom>
              <a:noFill/>
              <a:ln w="12700">
                <a:noFill/>
                <a:miter lim="800000"/>
                <a:headEnd/>
                <a:tailEnd/>
              </a:ln>
            </p:spPr>
            <p:txBody>
              <a:bodyPr lIns="0" tIns="0" rIns="0" bIns="0" anchor="ctr"/>
              <a:lstStyle/>
              <a:p>
                <a:pPr lvl="0">
                  <a:lnSpc>
                    <a:spcPct val="100000"/>
                  </a:lnSpc>
                  <a:spcBef>
                    <a:spcPct val="50000"/>
                  </a:spcBef>
                  <a:spcAft>
                    <a:spcPct val="0"/>
                  </a:spcAft>
                  <a:buClrTx/>
                  <a:buNone/>
                </a:pPr>
                <a:r>
                  <a:rPr lang="en-GB" sz="1400" dirty="0">
                    <a:solidFill>
                      <a:schemeClr val="accent2"/>
                    </a:solidFill>
                    <a:latin typeface="+mj-lt"/>
                    <a:cs typeface="Arial" charset="0"/>
                  </a:rPr>
                  <a:t>Heading</a:t>
                </a:r>
                <a:r>
                  <a:rPr lang="en-GB" sz="1400" b="1" dirty="0">
                    <a:cs typeface="Arial" charset="0"/>
                  </a:rPr>
                  <a:t> </a:t>
                </a:r>
                <a:r>
                  <a:rPr lang="en-GB" sz="1400" dirty="0">
                    <a:cs typeface="Arial" charset="0"/>
                  </a:rPr>
                  <a:t>- notes appear here in this type style and size, notes appear here in this type style and size. </a:t>
                </a:r>
              </a:p>
            </p:txBody>
          </p:sp>
          <p:sp>
            <p:nvSpPr>
              <p:cNvPr id="42004" name="AutoShape 13"/>
              <p:cNvSpPr>
                <a:spLocks noChangeArrowheads="1"/>
              </p:cNvSpPr>
              <p:nvPr/>
            </p:nvSpPr>
            <p:spPr bwMode="auto">
              <a:xfrm rot="5400000">
                <a:off x="1646" y="1138"/>
                <a:ext cx="220" cy="135"/>
              </a:xfrm>
              <a:prstGeom prst="triangle">
                <a:avLst>
                  <a:gd name="adj" fmla="val 50000"/>
                </a:avLst>
              </a:prstGeom>
              <a:solidFill>
                <a:schemeClr val="accent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sz="1400" b="1"/>
              </a:p>
            </p:txBody>
          </p:sp>
        </p:grpSp>
        <p:grpSp>
          <p:nvGrpSpPr>
            <p:cNvPr id="4" name="Group 14"/>
            <p:cNvGrpSpPr>
              <a:grpSpLocks/>
            </p:cNvGrpSpPr>
            <p:nvPr/>
          </p:nvGrpSpPr>
          <p:grpSpPr bwMode="auto">
            <a:xfrm>
              <a:off x="4078111" y="2320926"/>
              <a:ext cx="5924550" cy="696913"/>
              <a:chOff x="1688" y="1528"/>
              <a:chExt cx="3732" cy="439"/>
            </a:xfrm>
          </p:grpSpPr>
          <p:sp>
            <p:nvSpPr>
              <p:cNvPr id="42001" name="Text Box 15"/>
              <p:cNvSpPr txBox="1">
                <a:spLocks noChangeArrowheads="1"/>
              </p:cNvSpPr>
              <p:nvPr/>
            </p:nvSpPr>
            <p:spPr bwMode="auto">
              <a:xfrm>
                <a:off x="2064" y="1528"/>
                <a:ext cx="3356" cy="439"/>
              </a:xfrm>
              <a:prstGeom prst="rect">
                <a:avLst/>
              </a:prstGeom>
              <a:noFill/>
              <a:ln w="12700">
                <a:noFill/>
                <a:miter lim="800000"/>
                <a:headEnd/>
                <a:tailEnd/>
              </a:ln>
            </p:spPr>
            <p:txBody>
              <a:bodyPr lIns="0" tIns="0" rIns="0" bIns="0" anchor="ctr"/>
              <a:lstStyle/>
              <a:p>
                <a:pPr lvl="0">
                  <a:lnSpc>
                    <a:spcPct val="100000"/>
                  </a:lnSpc>
                  <a:spcBef>
                    <a:spcPct val="50000"/>
                  </a:spcBef>
                  <a:spcAft>
                    <a:spcPct val="0"/>
                  </a:spcAft>
                  <a:buClrTx/>
                  <a:buNone/>
                </a:pPr>
                <a:r>
                  <a:rPr lang="en-GB" sz="1400" dirty="0">
                    <a:solidFill>
                      <a:schemeClr val="accent2"/>
                    </a:solidFill>
                    <a:latin typeface="+mj-lt"/>
                    <a:cs typeface="Arial" charset="0"/>
                  </a:rPr>
                  <a:t>Heading</a:t>
                </a:r>
                <a:r>
                  <a:rPr lang="en-GB" sz="1400" dirty="0">
                    <a:cs typeface="Arial" charset="0"/>
                  </a:rPr>
                  <a:t> - notes appear here in this type style and size, notes appear here in this type style and size. </a:t>
                </a:r>
              </a:p>
            </p:txBody>
          </p:sp>
          <p:sp>
            <p:nvSpPr>
              <p:cNvPr id="42002" name="AutoShape 16"/>
              <p:cNvSpPr>
                <a:spLocks noChangeArrowheads="1"/>
              </p:cNvSpPr>
              <p:nvPr/>
            </p:nvSpPr>
            <p:spPr bwMode="auto">
              <a:xfrm rot="5400000">
                <a:off x="1646" y="1690"/>
                <a:ext cx="220" cy="135"/>
              </a:xfrm>
              <a:prstGeom prst="triangle">
                <a:avLst>
                  <a:gd name="adj" fmla="val 50000"/>
                </a:avLst>
              </a:prstGeom>
              <a:solidFill>
                <a:schemeClr val="accent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sz="1400" b="1"/>
              </a:p>
            </p:txBody>
          </p:sp>
        </p:grpSp>
        <p:grpSp>
          <p:nvGrpSpPr>
            <p:cNvPr id="5" name="Group 17"/>
            <p:cNvGrpSpPr>
              <a:grpSpLocks/>
            </p:cNvGrpSpPr>
            <p:nvPr/>
          </p:nvGrpSpPr>
          <p:grpSpPr bwMode="auto">
            <a:xfrm>
              <a:off x="4078111" y="3194051"/>
              <a:ext cx="5924550" cy="695325"/>
              <a:chOff x="1688" y="2078"/>
              <a:chExt cx="3732" cy="438"/>
            </a:xfrm>
          </p:grpSpPr>
          <p:sp>
            <p:nvSpPr>
              <p:cNvPr id="41999" name="Text Box 18"/>
              <p:cNvSpPr txBox="1">
                <a:spLocks noChangeArrowheads="1"/>
              </p:cNvSpPr>
              <p:nvPr/>
            </p:nvSpPr>
            <p:spPr bwMode="auto">
              <a:xfrm>
                <a:off x="2064" y="2078"/>
                <a:ext cx="3356" cy="438"/>
              </a:xfrm>
              <a:prstGeom prst="rect">
                <a:avLst/>
              </a:prstGeom>
              <a:noFill/>
              <a:ln w="12700">
                <a:noFill/>
                <a:miter lim="800000"/>
                <a:headEnd/>
                <a:tailEnd/>
              </a:ln>
            </p:spPr>
            <p:txBody>
              <a:bodyPr lIns="0" tIns="0" rIns="0" bIns="0" anchor="ctr"/>
              <a:lstStyle/>
              <a:p>
                <a:pPr lvl="0">
                  <a:lnSpc>
                    <a:spcPct val="100000"/>
                  </a:lnSpc>
                  <a:spcBef>
                    <a:spcPct val="50000"/>
                  </a:spcBef>
                  <a:spcAft>
                    <a:spcPct val="0"/>
                  </a:spcAft>
                  <a:buClrTx/>
                  <a:buNone/>
                </a:pPr>
                <a:r>
                  <a:rPr lang="en-GB" sz="1400" dirty="0">
                    <a:solidFill>
                      <a:schemeClr val="accent2"/>
                    </a:solidFill>
                    <a:latin typeface="+mj-lt"/>
                    <a:cs typeface="Arial" charset="0"/>
                  </a:rPr>
                  <a:t>Heading </a:t>
                </a:r>
                <a:r>
                  <a:rPr lang="en-GB" sz="1400" dirty="0">
                    <a:cs typeface="Arial" charset="0"/>
                  </a:rPr>
                  <a:t>- notes appear here in this type style and size, notes appear here in this type style and size. </a:t>
                </a:r>
              </a:p>
            </p:txBody>
          </p:sp>
          <p:sp>
            <p:nvSpPr>
              <p:cNvPr id="42000" name="AutoShape 19"/>
              <p:cNvSpPr>
                <a:spLocks noChangeArrowheads="1"/>
              </p:cNvSpPr>
              <p:nvPr/>
            </p:nvSpPr>
            <p:spPr bwMode="auto">
              <a:xfrm rot="5400000">
                <a:off x="1646" y="2243"/>
                <a:ext cx="220" cy="135"/>
              </a:xfrm>
              <a:prstGeom prst="triangle">
                <a:avLst>
                  <a:gd name="adj" fmla="val 50000"/>
                </a:avLst>
              </a:prstGeom>
              <a:solidFill>
                <a:schemeClr val="accent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sz="1400" b="1"/>
              </a:p>
            </p:txBody>
          </p:sp>
        </p:grpSp>
        <p:grpSp>
          <p:nvGrpSpPr>
            <p:cNvPr id="6" name="Group 20"/>
            <p:cNvGrpSpPr>
              <a:grpSpLocks/>
            </p:cNvGrpSpPr>
            <p:nvPr/>
          </p:nvGrpSpPr>
          <p:grpSpPr bwMode="auto">
            <a:xfrm>
              <a:off x="4078111" y="4075113"/>
              <a:ext cx="5924550" cy="696912"/>
              <a:chOff x="1688" y="2633"/>
              <a:chExt cx="3732" cy="439"/>
            </a:xfrm>
          </p:grpSpPr>
          <p:sp>
            <p:nvSpPr>
              <p:cNvPr id="41997" name="Text Box 21"/>
              <p:cNvSpPr txBox="1">
                <a:spLocks noChangeArrowheads="1"/>
              </p:cNvSpPr>
              <p:nvPr/>
            </p:nvSpPr>
            <p:spPr bwMode="auto">
              <a:xfrm>
                <a:off x="2064" y="2633"/>
                <a:ext cx="3356" cy="439"/>
              </a:xfrm>
              <a:prstGeom prst="rect">
                <a:avLst/>
              </a:prstGeom>
              <a:noFill/>
              <a:ln w="12700">
                <a:noFill/>
                <a:miter lim="800000"/>
                <a:headEnd/>
                <a:tailEnd/>
              </a:ln>
            </p:spPr>
            <p:txBody>
              <a:bodyPr lIns="0" tIns="0" rIns="0" bIns="0" anchor="ctr"/>
              <a:lstStyle/>
              <a:p>
                <a:pPr lvl="0">
                  <a:lnSpc>
                    <a:spcPct val="100000"/>
                  </a:lnSpc>
                  <a:spcBef>
                    <a:spcPct val="50000"/>
                  </a:spcBef>
                  <a:spcAft>
                    <a:spcPct val="0"/>
                  </a:spcAft>
                  <a:buClrTx/>
                  <a:buNone/>
                </a:pPr>
                <a:r>
                  <a:rPr lang="en-GB" sz="1400" dirty="0">
                    <a:solidFill>
                      <a:schemeClr val="accent2"/>
                    </a:solidFill>
                    <a:latin typeface="+mj-lt"/>
                    <a:cs typeface="Arial" charset="0"/>
                  </a:rPr>
                  <a:t>Heading</a:t>
                </a:r>
                <a:r>
                  <a:rPr lang="en-GB" sz="1400" dirty="0">
                    <a:cs typeface="Arial" charset="0"/>
                  </a:rPr>
                  <a:t> - notes appear here in this type style and size, notes appear here in this type style and size. </a:t>
                </a:r>
              </a:p>
            </p:txBody>
          </p:sp>
          <p:sp>
            <p:nvSpPr>
              <p:cNvPr id="41998" name="AutoShape 22"/>
              <p:cNvSpPr>
                <a:spLocks noChangeArrowheads="1"/>
              </p:cNvSpPr>
              <p:nvPr/>
            </p:nvSpPr>
            <p:spPr bwMode="auto">
              <a:xfrm rot="5400000">
                <a:off x="1646" y="2795"/>
                <a:ext cx="220" cy="135"/>
              </a:xfrm>
              <a:prstGeom prst="triangle">
                <a:avLst>
                  <a:gd name="adj" fmla="val 50000"/>
                </a:avLst>
              </a:prstGeom>
              <a:solidFill>
                <a:schemeClr val="accent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sz="1400" b="1"/>
              </a:p>
            </p:txBody>
          </p:sp>
        </p:grpSp>
      </p:grpSp>
    </p:spTree>
    <p:extLst>
      <p:ext uri="{BB962C8B-B14F-4D97-AF65-F5344CB8AC3E}">
        <p14:creationId xmlns:p14="http://schemas.microsoft.com/office/powerpoint/2010/main" val="1667320580"/>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p:cNvSpPr>
          <p:nvPr>
            <p:ph type="title"/>
          </p:nvPr>
        </p:nvSpPr>
        <p:spPr/>
        <p:txBody>
          <a:bodyPr/>
          <a:lstStyle/>
          <a:p>
            <a:r>
              <a:rPr lang="en-GB"/>
              <a:t>Text box</a:t>
            </a:r>
          </a:p>
        </p:txBody>
      </p:sp>
      <p:grpSp>
        <p:nvGrpSpPr>
          <p:cNvPr id="5" name="Group 4"/>
          <p:cNvGrpSpPr/>
          <p:nvPr/>
        </p:nvGrpSpPr>
        <p:grpSpPr>
          <a:xfrm>
            <a:off x="508000" y="1528763"/>
            <a:ext cx="11171238" cy="4830762"/>
            <a:chOff x="412750" y="1446213"/>
            <a:chExt cx="8326438" cy="4268788"/>
          </a:xfrm>
        </p:grpSpPr>
        <p:sp>
          <p:nvSpPr>
            <p:cNvPr id="188421" name="Rectangle 5"/>
            <p:cNvSpPr>
              <a:spLocks noChangeArrowheads="1"/>
            </p:cNvSpPr>
            <p:nvPr/>
          </p:nvSpPr>
          <p:spPr bwMode="gray">
            <a:xfrm>
              <a:off x="412750" y="2055377"/>
              <a:ext cx="1839353" cy="1108556"/>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600" dirty="0">
                  <a:latin typeface="+mj-lt"/>
                  <a:cs typeface="Arial" panose="020B0604020202020204" pitchFamily="34" charset="0"/>
                </a:rPr>
                <a:t>Text</a:t>
              </a:r>
            </a:p>
          </p:txBody>
        </p:sp>
        <p:sp>
          <p:nvSpPr>
            <p:cNvPr id="188422" name="Rectangle 6"/>
            <p:cNvSpPr>
              <a:spLocks noChangeArrowheads="1"/>
            </p:cNvSpPr>
            <p:nvPr/>
          </p:nvSpPr>
          <p:spPr bwMode="gray">
            <a:xfrm>
              <a:off x="412750" y="3330912"/>
              <a:ext cx="1839353" cy="1108555"/>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600" dirty="0">
                  <a:latin typeface="+mj-lt"/>
                  <a:cs typeface="Arial" panose="020B0604020202020204" pitchFamily="34" charset="0"/>
                </a:rPr>
                <a:t>Text</a:t>
              </a:r>
            </a:p>
          </p:txBody>
        </p:sp>
        <p:sp>
          <p:nvSpPr>
            <p:cNvPr id="188423" name="Rectangle 7"/>
            <p:cNvSpPr>
              <a:spLocks noChangeArrowheads="1"/>
            </p:cNvSpPr>
            <p:nvPr/>
          </p:nvSpPr>
          <p:spPr bwMode="gray">
            <a:xfrm>
              <a:off x="412750" y="4606445"/>
              <a:ext cx="1839353" cy="1108556"/>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600" dirty="0">
                  <a:latin typeface="+mj-lt"/>
                  <a:cs typeface="Arial" panose="020B0604020202020204" pitchFamily="34" charset="0"/>
                </a:rPr>
                <a:t>Text</a:t>
              </a:r>
            </a:p>
          </p:txBody>
        </p:sp>
        <p:sp>
          <p:nvSpPr>
            <p:cNvPr id="188424" name="Rectangle 8"/>
            <p:cNvSpPr>
              <a:spLocks noChangeArrowheads="1"/>
            </p:cNvSpPr>
            <p:nvPr/>
          </p:nvSpPr>
          <p:spPr bwMode="gray">
            <a:xfrm>
              <a:off x="4166671" y="1446213"/>
              <a:ext cx="1376734" cy="442185"/>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600" dirty="0">
                  <a:latin typeface="+mj-lt"/>
                  <a:cs typeface="Arial" panose="020B0604020202020204" pitchFamily="34" charset="0"/>
                </a:rPr>
                <a:t>Title</a:t>
              </a:r>
            </a:p>
          </p:txBody>
        </p:sp>
        <p:sp>
          <p:nvSpPr>
            <p:cNvPr id="188425" name="Rectangle 9"/>
            <p:cNvSpPr>
              <a:spLocks noChangeArrowheads="1"/>
            </p:cNvSpPr>
            <p:nvPr/>
          </p:nvSpPr>
          <p:spPr bwMode="gray">
            <a:xfrm>
              <a:off x="4166671" y="3330912"/>
              <a:ext cx="1376733" cy="1108555"/>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6" name="Rectangle 10"/>
            <p:cNvSpPr>
              <a:spLocks noChangeArrowheads="1"/>
            </p:cNvSpPr>
            <p:nvPr/>
          </p:nvSpPr>
          <p:spPr bwMode="gray">
            <a:xfrm>
              <a:off x="4166671" y="4606445"/>
              <a:ext cx="1376734" cy="1108556"/>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7" name="Rectangle 11"/>
            <p:cNvSpPr>
              <a:spLocks noChangeArrowheads="1"/>
            </p:cNvSpPr>
            <p:nvPr/>
          </p:nvSpPr>
          <p:spPr bwMode="gray">
            <a:xfrm>
              <a:off x="4166671" y="2081732"/>
              <a:ext cx="1376733" cy="1108556"/>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8" name="Rectangle 12"/>
            <p:cNvSpPr>
              <a:spLocks noChangeArrowheads="1"/>
            </p:cNvSpPr>
            <p:nvPr/>
          </p:nvSpPr>
          <p:spPr bwMode="gray">
            <a:xfrm>
              <a:off x="2568781" y="1446213"/>
              <a:ext cx="1376734" cy="442185"/>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600" dirty="0">
                  <a:latin typeface="+mj-lt"/>
                  <a:cs typeface="Arial" panose="020B0604020202020204" pitchFamily="34" charset="0"/>
                </a:rPr>
                <a:t>Title</a:t>
              </a:r>
            </a:p>
          </p:txBody>
        </p:sp>
        <p:sp>
          <p:nvSpPr>
            <p:cNvPr id="188429" name="Rectangle 13"/>
            <p:cNvSpPr>
              <a:spLocks noChangeArrowheads="1"/>
            </p:cNvSpPr>
            <p:nvPr/>
          </p:nvSpPr>
          <p:spPr bwMode="gray">
            <a:xfrm>
              <a:off x="2568781" y="3330912"/>
              <a:ext cx="1376734" cy="1108555"/>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30" name="Rectangle 14"/>
            <p:cNvSpPr>
              <a:spLocks noChangeArrowheads="1"/>
            </p:cNvSpPr>
            <p:nvPr/>
          </p:nvSpPr>
          <p:spPr bwMode="gray">
            <a:xfrm>
              <a:off x="2568781" y="4606445"/>
              <a:ext cx="1376734" cy="1108556"/>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31" name="Rectangle 15"/>
            <p:cNvSpPr>
              <a:spLocks noChangeArrowheads="1"/>
            </p:cNvSpPr>
            <p:nvPr/>
          </p:nvSpPr>
          <p:spPr bwMode="gray">
            <a:xfrm>
              <a:off x="2568781" y="2081732"/>
              <a:ext cx="1376733" cy="1108556"/>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5" name="Rectangle 8"/>
            <p:cNvSpPr>
              <a:spLocks noChangeArrowheads="1"/>
            </p:cNvSpPr>
            <p:nvPr/>
          </p:nvSpPr>
          <p:spPr bwMode="gray">
            <a:xfrm>
              <a:off x="5764562" y="1446213"/>
              <a:ext cx="1376734" cy="442185"/>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600" dirty="0">
                  <a:latin typeface="+mj-lt"/>
                  <a:cs typeface="Arial" panose="020B0604020202020204" pitchFamily="34" charset="0"/>
                </a:rPr>
                <a:t>Title</a:t>
              </a:r>
            </a:p>
          </p:txBody>
        </p:sp>
        <p:sp>
          <p:nvSpPr>
            <p:cNvPr id="16" name="Rectangle 9"/>
            <p:cNvSpPr>
              <a:spLocks noChangeArrowheads="1"/>
            </p:cNvSpPr>
            <p:nvPr/>
          </p:nvSpPr>
          <p:spPr bwMode="gray">
            <a:xfrm>
              <a:off x="5764562" y="3330912"/>
              <a:ext cx="1376733" cy="1108555"/>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7" name="Rectangle 10"/>
            <p:cNvSpPr>
              <a:spLocks noChangeArrowheads="1"/>
            </p:cNvSpPr>
            <p:nvPr/>
          </p:nvSpPr>
          <p:spPr bwMode="gray">
            <a:xfrm>
              <a:off x="5764562" y="4606445"/>
              <a:ext cx="1376734" cy="1108556"/>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 name="Rectangle 11"/>
            <p:cNvSpPr>
              <a:spLocks noChangeArrowheads="1"/>
            </p:cNvSpPr>
            <p:nvPr/>
          </p:nvSpPr>
          <p:spPr bwMode="gray">
            <a:xfrm>
              <a:off x="5764562" y="2081732"/>
              <a:ext cx="1376733" cy="1108556"/>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21" name="Rectangle 8"/>
            <p:cNvSpPr>
              <a:spLocks noChangeArrowheads="1"/>
            </p:cNvSpPr>
            <p:nvPr/>
          </p:nvSpPr>
          <p:spPr bwMode="gray">
            <a:xfrm>
              <a:off x="7362454" y="1446213"/>
              <a:ext cx="1376734" cy="442185"/>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600" dirty="0">
                  <a:latin typeface="+mj-lt"/>
                  <a:cs typeface="Arial" panose="020B0604020202020204" pitchFamily="34" charset="0"/>
                </a:rPr>
                <a:t>Title</a:t>
              </a:r>
            </a:p>
          </p:txBody>
        </p:sp>
        <p:sp>
          <p:nvSpPr>
            <p:cNvPr id="22" name="Rectangle 9"/>
            <p:cNvSpPr>
              <a:spLocks noChangeArrowheads="1"/>
            </p:cNvSpPr>
            <p:nvPr/>
          </p:nvSpPr>
          <p:spPr bwMode="gray">
            <a:xfrm>
              <a:off x="7362455" y="3357267"/>
              <a:ext cx="1376733" cy="1108555"/>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23" name="Rectangle 10"/>
            <p:cNvSpPr>
              <a:spLocks noChangeArrowheads="1"/>
            </p:cNvSpPr>
            <p:nvPr/>
          </p:nvSpPr>
          <p:spPr bwMode="gray">
            <a:xfrm>
              <a:off x="7362454" y="4606445"/>
              <a:ext cx="1376734" cy="1108556"/>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24" name="Rectangle 11"/>
            <p:cNvSpPr>
              <a:spLocks noChangeArrowheads="1"/>
            </p:cNvSpPr>
            <p:nvPr/>
          </p:nvSpPr>
          <p:spPr bwMode="gray">
            <a:xfrm>
              <a:off x="7362455" y="2081732"/>
              <a:ext cx="1376733" cy="1108556"/>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grpSp>
    </p:spTree>
    <p:custDataLst>
      <p:tags r:id="rId1"/>
    </p:custDataLst>
    <p:extLst>
      <p:ext uri="{BB962C8B-B14F-4D97-AF65-F5344CB8AC3E}">
        <p14:creationId xmlns:p14="http://schemas.microsoft.com/office/powerpoint/2010/main" val="3133054487"/>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p:cNvSpPr>
          <p:nvPr>
            <p:ph type="title"/>
          </p:nvPr>
        </p:nvSpPr>
        <p:spPr/>
        <p:txBody>
          <a:bodyPr/>
          <a:lstStyle/>
          <a:p>
            <a:r>
              <a:rPr lang="en-GB"/>
              <a:t>Text box</a:t>
            </a:r>
          </a:p>
        </p:txBody>
      </p:sp>
      <p:grpSp>
        <p:nvGrpSpPr>
          <p:cNvPr id="2" name="Group 14"/>
          <p:cNvGrpSpPr/>
          <p:nvPr/>
        </p:nvGrpSpPr>
        <p:grpSpPr>
          <a:xfrm>
            <a:off x="508000" y="1534243"/>
            <a:ext cx="11171238" cy="4825282"/>
            <a:chOff x="261938" y="1031875"/>
            <a:chExt cx="8716539" cy="4171158"/>
          </a:xfrm>
          <a:solidFill>
            <a:schemeClr val="accent1"/>
          </a:solidFill>
        </p:grpSpPr>
        <p:sp>
          <p:nvSpPr>
            <p:cNvPr id="188421" name="Rectangle 5"/>
            <p:cNvSpPr>
              <a:spLocks noChangeArrowheads="1"/>
            </p:cNvSpPr>
            <p:nvPr/>
          </p:nvSpPr>
          <p:spPr bwMode="gray">
            <a:xfrm>
              <a:off x="261938" y="1627107"/>
              <a:ext cx="1903670" cy="1083202"/>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400" dirty="0">
                  <a:latin typeface="+mj-lt"/>
                  <a:cs typeface="Arial" panose="020B0604020202020204" pitchFamily="34" charset="0"/>
                </a:rPr>
                <a:t>Text</a:t>
              </a:r>
            </a:p>
          </p:txBody>
        </p:sp>
        <p:sp>
          <p:nvSpPr>
            <p:cNvPr id="188422" name="Rectangle 6"/>
            <p:cNvSpPr>
              <a:spLocks noChangeArrowheads="1"/>
            </p:cNvSpPr>
            <p:nvPr/>
          </p:nvSpPr>
          <p:spPr bwMode="gray">
            <a:xfrm>
              <a:off x="261938" y="2873469"/>
              <a:ext cx="1903670" cy="1083201"/>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400" dirty="0">
                  <a:latin typeface="+mj-lt"/>
                  <a:cs typeface="Arial" panose="020B0604020202020204" pitchFamily="34" charset="0"/>
                </a:rPr>
                <a:t>Text</a:t>
              </a:r>
            </a:p>
          </p:txBody>
        </p:sp>
        <p:sp>
          <p:nvSpPr>
            <p:cNvPr id="188423" name="Rectangle 7"/>
            <p:cNvSpPr>
              <a:spLocks noChangeArrowheads="1"/>
            </p:cNvSpPr>
            <p:nvPr/>
          </p:nvSpPr>
          <p:spPr bwMode="gray">
            <a:xfrm>
              <a:off x="261938" y="4119830"/>
              <a:ext cx="1903670" cy="1083202"/>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400" dirty="0">
                  <a:latin typeface="+mj-lt"/>
                  <a:cs typeface="Arial" panose="020B0604020202020204" pitchFamily="34" charset="0"/>
                </a:rPr>
                <a:t>Text</a:t>
              </a:r>
            </a:p>
          </p:txBody>
        </p:sp>
        <p:sp>
          <p:nvSpPr>
            <p:cNvPr id="188424" name="Rectangle 8"/>
            <p:cNvSpPr>
              <a:spLocks noChangeArrowheads="1"/>
            </p:cNvSpPr>
            <p:nvPr/>
          </p:nvSpPr>
          <p:spPr bwMode="gray">
            <a:xfrm>
              <a:off x="5911816" y="1031875"/>
              <a:ext cx="3066661" cy="432072"/>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400" dirty="0">
                  <a:latin typeface="+mj-lt"/>
                  <a:cs typeface="Arial" panose="020B0604020202020204" pitchFamily="34" charset="0"/>
                </a:rPr>
                <a:t>Title</a:t>
              </a:r>
            </a:p>
          </p:txBody>
        </p:sp>
        <p:sp>
          <p:nvSpPr>
            <p:cNvPr id="188425" name="Rectangle 9"/>
            <p:cNvSpPr>
              <a:spLocks noChangeArrowheads="1"/>
            </p:cNvSpPr>
            <p:nvPr/>
          </p:nvSpPr>
          <p:spPr bwMode="gray">
            <a:xfrm>
              <a:off x="5911816" y="2873470"/>
              <a:ext cx="3066661" cy="1083201"/>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6" name="Rectangle 10"/>
            <p:cNvSpPr>
              <a:spLocks noChangeArrowheads="1"/>
            </p:cNvSpPr>
            <p:nvPr/>
          </p:nvSpPr>
          <p:spPr bwMode="gray">
            <a:xfrm>
              <a:off x="5911816" y="4119831"/>
              <a:ext cx="3066661"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7" name="Rectangle 11"/>
            <p:cNvSpPr>
              <a:spLocks noChangeArrowheads="1"/>
            </p:cNvSpPr>
            <p:nvPr/>
          </p:nvSpPr>
          <p:spPr bwMode="gray">
            <a:xfrm>
              <a:off x="5911816" y="1627108"/>
              <a:ext cx="3066661"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8" name="Rectangle 12"/>
            <p:cNvSpPr>
              <a:spLocks noChangeArrowheads="1"/>
            </p:cNvSpPr>
            <p:nvPr/>
          </p:nvSpPr>
          <p:spPr bwMode="gray">
            <a:xfrm>
              <a:off x="2493361" y="1031875"/>
              <a:ext cx="3066661" cy="432072"/>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400" dirty="0">
                  <a:latin typeface="+mj-lt"/>
                  <a:cs typeface="Arial" panose="020B0604020202020204" pitchFamily="34" charset="0"/>
                </a:rPr>
                <a:t>Title</a:t>
              </a:r>
            </a:p>
          </p:txBody>
        </p:sp>
        <p:sp>
          <p:nvSpPr>
            <p:cNvPr id="188429" name="Rectangle 13"/>
            <p:cNvSpPr>
              <a:spLocks noChangeArrowheads="1"/>
            </p:cNvSpPr>
            <p:nvPr/>
          </p:nvSpPr>
          <p:spPr bwMode="gray">
            <a:xfrm>
              <a:off x="2493361" y="2873470"/>
              <a:ext cx="3066661" cy="1083201"/>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30" name="Rectangle 14"/>
            <p:cNvSpPr>
              <a:spLocks noChangeArrowheads="1"/>
            </p:cNvSpPr>
            <p:nvPr/>
          </p:nvSpPr>
          <p:spPr bwMode="gray">
            <a:xfrm>
              <a:off x="2493361" y="4119831"/>
              <a:ext cx="3066661"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31" name="Rectangle 15"/>
            <p:cNvSpPr>
              <a:spLocks noChangeArrowheads="1"/>
            </p:cNvSpPr>
            <p:nvPr/>
          </p:nvSpPr>
          <p:spPr bwMode="gray">
            <a:xfrm>
              <a:off x="2493361" y="1627108"/>
              <a:ext cx="3066661"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grpSp>
    </p:spTree>
    <p:custDataLst>
      <p:tags r:id="rId1"/>
    </p:custDataLst>
    <p:extLst>
      <p:ext uri="{BB962C8B-B14F-4D97-AF65-F5344CB8AC3E}">
        <p14:creationId xmlns:p14="http://schemas.microsoft.com/office/powerpoint/2010/main" val="2474582771"/>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p:cNvSpPr>
          <p:nvPr>
            <p:ph type="title"/>
          </p:nvPr>
        </p:nvSpPr>
        <p:spPr/>
        <p:txBody>
          <a:bodyPr/>
          <a:lstStyle/>
          <a:p>
            <a:r>
              <a:rPr lang="en-GB"/>
              <a:t>Text box</a:t>
            </a:r>
          </a:p>
        </p:txBody>
      </p:sp>
      <p:grpSp>
        <p:nvGrpSpPr>
          <p:cNvPr id="2" name="Group 7"/>
          <p:cNvGrpSpPr/>
          <p:nvPr/>
        </p:nvGrpSpPr>
        <p:grpSpPr>
          <a:xfrm>
            <a:off x="508000" y="1528763"/>
            <a:ext cx="11171238" cy="4830762"/>
            <a:chOff x="261938" y="1031875"/>
            <a:chExt cx="8634412" cy="4171156"/>
          </a:xfrm>
          <a:solidFill>
            <a:schemeClr val="accent4"/>
          </a:solidFill>
        </p:grpSpPr>
        <p:sp>
          <p:nvSpPr>
            <p:cNvPr id="188421" name="Rectangle 5"/>
            <p:cNvSpPr>
              <a:spLocks noChangeArrowheads="1"/>
            </p:cNvSpPr>
            <p:nvPr/>
          </p:nvSpPr>
          <p:spPr bwMode="gray">
            <a:xfrm>
              <a:off x="261938" y="1627107"/>
              <a:ext cx="1907386" cy="1083202"/>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400" dirty="0">
                  <a:latin typeface="+mj-lt"/>
                  <a:cs typeface="Arial" panose="020B0604020202020204" pitchFamily="34" charset="0"/>
                </a:rPr>
                <a:t>Text</a:t>
              </a:r>
            </a:p>
          </p:txBody>
        </p:sp>
        <p:sp>
          <p:nvSpPr>
            <p:cNvPr id="188422" name="Rectangle 6"/>
            <p:cNvSpPr>
              <a:spLocks noChangeArrowheads="1"/>
            </p:cNvSpPr>
            <p:nvPr/>
          </p:nvSpPr>
          <p:spPr bwMode="gray">
            <a:xfrm>
              <a:off x="261938" y="2873469"/>
              <a:ext cx="1907386" cy="1083201"/>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400" dirty="0">
                  <a:latin typeface="+mj-lt"/>
                  <a:cs typeface="Arial" panose="020B0604020202020204" pitchFamily="34" charset="0"/>
                </a:rPr>
                <a:t>Text</a:t>
              </a:r>
            </a:p>
          </p:txBody>
        </p:sp>
        <p:sp>
          <p:nvSpPr>
            <p:cNvPr id="188423" name="Rectangle 7"/>
            <p:cNvSpPr>
              <a:spLocks noChangeArrowheads="1"/>
            </p:cNvSpPr>
            <p:nvPr/>
          </p:nvSpPr>
          <p:spPr bwMode="gray">
            <a:xfrm>
              <a:off x="261938" y="4119829"/>
              <a:ext cx="1907386" cy="1083202"/>
            </a:xfrm>
            <a:prstGeom prst="rect">
              <a:avLst/>
            </a:prstGeom>
            <a:solidFill>
              <a:schemeClr val="accent1"/>
            </a:solidFill>
            <a:ln w="3175">
              <a:noFill/>
              <a:miter lim="800000"/>
              <a:headEnd/>
              <a:tailEnd/>
            </a:ln>
            <a:effectLst/>
          </p:spPr>
          <p:txBody>
            <a:bodyPr lIns="64800" tIns="64800" rIns="64800" bIns="64800"/>
            <a:lstStyle/>
            <a:p>
              <a:pPr lvl="0">
                <a:spcBef>
                  <a:spcPct val="0"/>
                </a:spcBef>
                <a:buClr>
                  <a:srgbClr val="FFFFFF"/>
                </a:buClr>
                <a:buSzPct val="90000"/>
                <a:defRPr/>
              </a:pPr>
              <a:r>
                <a:rPr lang="en-GB" sz="1400" dirty="0">
                  <a:latin typeface="+mj-lt"/>
                  <a:cs typeface="Arial" panose="020B0604020202020204" pitchFamily="34" charset="0"/>
                </a:rPr>
                <a:t>Text</a:t>
              </a:r>
            </a:p>
          </p:txBody>
        </p:sp>
        <p:sp>
          <p:nvSpPr>
            <p:cNvPr id="188424" name="Rectangle 8"/>
            <p:cNvSpPr>
              <a:spLocks noChangeArrowheads="1"/>
            </p:cNvSpPr>
            <p:nvPr/>
          </p:nvSpPr>
          <p:spPr bwMode="gray">
            <a:xfrm>
              <a:off x="4154707" y="1031875"/>
              <a:ext cx="1427656" cy="432072"/>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400" dirty="0">
                  <a:latin typeface="+mj-lt"/>
                  <a:cs typeface="Arial" panose="020B0604020202020204" pitchFamily="34" charset="0"/>
                </a:rPr>
                <a:t>Title</a:t>
              </a:r>
            </a:p>
          </p:txBody>
        </p:sp>
        <p:sp>
          <p:nvSpPr>
            <p:cNvPr id="188425" name="Rectangle 9"/>
            <p:cNvSpPr>
              <a:spLocks noChangeArrowheads="1"/>
            </p:cNvSpPr>
            <p:nvPr/>
          </p:nvSpPr>
          <p:spPr bwMode="gray">
            <a:xfrm>
              <a:off x="4154707" y="2873469"/>
              <a:ext cx="1427656" cy="1083201"/>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6" name="Rectangle 10"/>
            <p:cNvSpPr>
              <a:spLocks noChangeArrowheads="1"/>
            </p:cNvSpPr>
            <p:nvPr/>
          </p:nvSpPr>
          <p:spPr bwMode="gray">
            <a:xfrm>
              <a:off x="4154707" y="4119829"/>
              <a:ext cx="1427656"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7" name="Rectangle 11"/>
            <p:cNvSpPr>
              <a:spLocks noChangeArrowheads="1"/>
            </p:cNvSpPr>
            <p:nvPr/>
          </p:nvSpPr>
          <p:spPr bwMode="gray">
            <a:xfrm>
              <a:off x="4154707" y="1627107"/>
              <a:ext cx="1427656"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28" name="Rectangle 12"/>
            <p:cNvSpPr>
              <a:spLocks noChangeArrowheads="1"/>
            </p:cNvSpPr>
            <p:nvPr/>
          </p:nvSpPr>
          <p:spPr bwMode="gray">
            <a:xfrm>
              <a:off x="2497715" y="1031875"/>
              <a:ext cx="1427656" cy="432072"/>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400" dirty="0">
                  <a:latin typeface="+mj-lt"/>
                  <a:cs typeface="Arial" panose="020B0604020202020204" pitchFamily="34" charset="0"/>
                </a:rPr>
                <a:t>Title</a:t>
              </a:r>
            </a:p>
          </p:txBody>
        </p:sp>
        <p:sp>
          <p:nvSpPr>
            <p:cNvPr id="188429" name="Rectangle 13"/>
            <p:cNvSpPr>
              <a:spLocks noChangeArrowheads="1"/>
            </p:cNvSpPr>
            <p:nvPr/>
          </p:nvSpPr>
          <p:spPr bwMode="gray">
            <a:xfrm>
              <a:off x="2497715" y="2873469"/>
              <a:ext cx="1427656" cy="1083201"/>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30" name="Rectangle 14"/>
            <p:cNvSpPr>
              <a:spLocks noChangeArrowheads="1"/>
            </p:cNvSpPr>
            <p:nvPr/>
          </p:nvSpPr>
          <p:spPr bwMode="gray">
            <a:xfrm>
              <a:off x="2497715" y="4119829"/>
              <a:ext cx="1427656"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8431" name="Rectangle 15"/>
            <p:cNvSpPr>
              <a:spLocks noChangeArrowheads="1"/>
            </p:cNvSpPr>
            <p:nvPr/>
          </p:nvSpPr>
          <p:spPr bwMode="gray">
            <a:xfrm>
              <a:off x="2497715" y="1627107"/>
              <a:ext cx="1427656"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5" name="Rectangle 8"/>
            <p:cNvSpPr>
              <a:spLocks noChangeArrowheads="1"/>
            </p:cNvSpPr>
            <p:nvPr/>
          </p:nvSpPr>
          <p:spPr bwMode="gray">
            <a:xfrm>
              <a:off x="5811700" y="1031875"/>
              <a:ext cx="1427656" cy="432072"/>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400" dirty="0">
                  <a:latin typeface="+mj-lt"/>
                  <a:cs typeface="Arial" panose="020B0604020202020204" pitchFamily="34" charset="0"/>
                </a:rPr>
                <a:t>Title</a:t>
              </a:r>
            </a:p>
          </p:txBody>
        </p:sp>
        <p:sp>
          <p:nvSpPr>
            <p:cNvPr id="16" name="Rectangle 9"/>
            <p:cNvSpPr>
              <a:spLocks noChangeArrowheads="1"/>
            </p:cNvSpPr>
            <p:nvPr/>
          </p:nvSpPr>
          <p:spPr bwMode="gray">
            <a:xfrm>
              <a:off x="5811700" y="2873469"/>
              <a:ext cx="1427656" cy="1083201"/>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7" name="Rectangle 10"/>
            <p:cNvSpPr>
              <a:spLocks noChangeArrowheads="1"/>
            </p:cNvSpPr>
            <p:nvPr/>
          </p:nvSpPr>
          <p:spPr bwMode="gray">
            <a:xfrm>
              <a:off x="5811700" y="4119829"/>
              <a:ext cx="1427656"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18" name="Rectangle 11"/>
            <p:cNvSpPr>
              <a:spLocks noChangeArrowheads="1"/>
            </p:cNvSpPr>
            <p:nvPr/>
          </p:nvSpPr>
          <p:spPr bwMode="gray">
            <a:xfrm>
              <a:off x="5811700" y="1627107"/>
              <a:ext cx="1427656"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21" name="Rectangle 8"/>
            <p:cNvSpPr>
              <a:spLocks noChangeArrowheads="1"/>
            </p:cNvSpPr>
            <p:nvPr/>
          </p:nvSpPr>
          <p:spPr bwMode="gray">
            <a:xfrm>
              <a:off x="7468694" y="1031875"/>
              <a:ext cx="1427656" cy="432072"/>
            </a:xfrm>
            <a:prstGeom prst="rect">
              <a:avLst/>
            </a:prstGeom>
            <a:solidFill>
              <a:schemeClr val="accent1"/>
            </a:solidFill>
            <a:ln w="3175">
              <a:noFill/>
              <a:miter lim="800000"/>
              <a:headEnd/>
              <a:tailEnd/>
            </a:ln>
            <a:effectLst/>
          </p:spPr>
          <p:txBody>
            <a:bodyPr lIns="64800" tIns="64800" rIns="64800" bIns="64800" anchor="b"/>
            <a:lstStyle/>
            <a:p>
              <a:pPr lvl="0" eaLnBrk="0" hangingPunct="0">
                <a:spcBef>
                  <a:spcPct val="0"/>
                </a:spcBef>
                <a:buClr>
                  <a:srgbClr val="FFFFFF"/>
                </a:buClr>
                <a:defRPr/>
              </a:pPr>
              <a:r>
                <a:rPr lang="en-GB" sz="1400" dirty="0">
                  <a:latin typeface="+mj-lt"/>
                  <a:cs typeface="Arial" panose="020B0604020202020204" pitchFamily="34" charset="0"/>
                </a:rPr>
                <a:t>Title</a:t>
              </a:r>
            </a:p>
          </p:txBody>
        </p:sp>
        <p:sp>
          <p:nvSpPr>
            <p:cNvPr id="22" name="Rectangle 9"/>
            <p:cNvSpPr>
              <a:spLocks noChangeArrowheads="1"/>
            </p:cNvSpPr>
            <p:nvPr/>
          </p:nvSpPr>
          <p:spPr bwMode="gray">
            <a:xfrm>
              <a:off x="7468694" y="2873469"/>
              <a:ext cx="1427656" cy="1083201"/>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23" name="Rectangle 10"/>
            <p:cNvSpPr>
              <a:spLocks noChangeArrowheads="1"/>
            </p:cNvSpPr>
            <p:nvPr/>
          </p:nvSpPr>
          <p:spPr bwMode="gray">
            <a:xfrm>
              <a:off x="7468694" y="4119829"/>
              <a:ext cx="1427656"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sp>
          <p:nvSpPr>
            <p:cNvPr id="24" name="Rectangle 11"/>
            <p:cNvSpPr>
              <a:spLocks noChangeArrowheads="1"/>
            </p:cNvSpPr>
            <p:nvPr/>
          </p:nvSpPr>
          <p:spPr bwMode="gray">
            <a:xfrm>
              <a:off x="7468694" y="1627107"/>
              <a:ext cx="1427656" cy="1083202"/>
            </a:xfrm>
            <a:prstGeom prst="rect">
              <a:avLst/>
            </a:prstGeom>
            <a:solidFill>
              <a:schemeClr val="bg2"/>
            </a:solidFill>
            <a:ln w="3175">
              <a:noFill/>
              <a:miter lim="800000"/>
              <a:headEnd/>
              <a:tailEnd/>
            </a:ln>
            <a:effectLst/>
          </p:spPr>
          <p:txBody>
            <a:bodyPr lIns="64800" tIns="64800" rIns="64800" bIns="64800"/>
            <a:lstStyle/>
            <a:p>
              <a:pPr lvl="0">
                <a:spcBef>
                  <a:spcPct val="0"/>
                </a:spcBef>
                <a:buSzPct val="90000"/>
                <a:defRPr/>
              </a:pPr>
              <a:r>
                <a:rPr lang="en-GB" sz="1400" dirty="0">
                  <a:cs typeface="Arial" panose="020B0604020202020204" pitchFamily="34" charset="0"/>
                </a:rPr>
                <a:t>Text</a:t>
              </a:r>
            </a:p>
          </p:txBody>
        </p:sp>
      </p:grpSp>
    </p:spTree>
    <p:custDataLst>
      <p:tags r:id="rId1"/>
    </p:custDataLst>
    <p:extLst>
      <p:ext uri="{BB962C8B-B14F-4D97-AF65-F5344CB8AC3E}">
        <p14:creationId xmlns:p14="http://schemas.microsoft.com/office/powerpoint/2010/main" val="4186471898"/>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p:txBody>
          <a:bodyPr/>
          <a:lstStyle/>
          <a:p>
            <a:r>
              <a:rPr lang="en-GB" dirty="0"/>
              <a:t>Flow chart</a:t>
            </a:r>
          </a:p>
        </p:txBody>
      </p:sp>
      <p:grpSp>
        <p:nvGrpSpPr>
          <p:cNvPr id="12" name="Group 11"/>
          <p:cNvGrpSpPr/>
          <p:nvPr/>
        </p:nvGrpSpPr>
        <p:grpSpPr>
          <a:xfrm>
            <a:off x="508000" y="1528763"/>
            <a:ext cx="11171238" cy="4830762"/>
            <a:chOff x="350838" y="1478281"/>
            <a:chExt cx="8435976" cy="4711065"/>
          </a:xfrm>
        </p:grpSpPr>
        <p:sp>
          <p:nvSpPr>
            <p:cNvPr id="191491" name="Text Box 6"/>
            <p:cNvSpPr txBox="1">
              <a:spLocks noChangeArrowheads="1"/>
            </p:cNvSpPr>
            <p:nvPr/>
          </p:nvSpPr>
          <p:spPr bwMode="gray">
            <a:xfrm>
              <a:off x="350838" y="1478281"/>
              <a:ext cx="8435976" cy="560070"/>
            </a:xfrm>
            <a:prstGeom prst="rect">
              <a:avLst/>
            </a:prstGeom>
            <a:solidFill>
              <a:schemeClr val="accent1"/>
            </a:solidFill>
            <a:ln w="3175" algn="ctr">
              <a:noFill/>
              <a:miter lim="800000"/>
              <a:headEnd/>
              <a:tailEnd/>
            </a:ln>
            <a:effectLst/>
          </p:spPr>
          <p:txBody>
            <a:bodyPr lIns="64800" tIns="64800" rIns="64800" bIns="64800" anchor="b"/>
            <a:lstStyle/>
            <a:p>
              <a:pPr lvl="0" eaLnBrk="0" fontAlgn="base" hangingPunct="0">
                <a:spcBef>
                  <a:spcPct val="0"/>
                </a:spcBef>
                <a:spcAft>
                  <a:spcPct val="0"/>
                </a:spcAft>
              </a:pPr>
              <a:r>
                <a:rPr lang="en-GB" sz="1600" dirty="0">
                  <a:latin typeface="+mj-lt"/>
                  <a:cs typeface="Arial" charset="0"/>
                </a:rPr>
                <a:t>Key market trend flow</a:t>
              </a:r>
            </a:p>
          </p:txBody>
        </p:sp>
        <p:sp>
          <p:nvSpPr>
            <p:cNvPr id="191492" name="Text Box 7"/>
            <p:cNvSpPr txBox="1">
              <a:spLocks noChangeArrowheads="1"/>
            </p:cNvSpPr>
            <p:nvPr/>
          </p:nvSpPr>
          <p:spPr bwMode="gray">
            <a:xfrm>
              <a:off x="361951" y="4613911"/>
              <a:ext cx="2049463" cy="643890"/>
            </a:xfrm>
            <a:prstGeom prst="rect">
              <a:avLst/>
            </a:prstGeom>
            <a:solidFill>
              <a:schemeClr val="tx2"/>
            </a:solidFill>
            <a:ln w="12700">
              <a:noFill/>
              <a:miter lim="800000"/>
              <a:headEnd/>
              <a:tailEnd/>
            </a:ln>
            <a:effectLst/>
          </p:spPr>
          <p:txBody>
            <a:bodyPr anchor="ctr"/>
            <a:lstStyle/>
            <a:p>
              <a:pPr lvl="0" algn="ctr" fontAlgn="base">
                <a:lnSpc>
                  <a:spcPct val="90000"/>
                </a:lnSpc>
                <a:spcBef>
                  <a:spcPct val="0"/>
                </a:spcBef>
                <a:spcAft>
                  <a:spcPct val="0"/>
                </a:spcAft>
              </a:pPr>
              <a:r>
                <a:rPr lang="en-GB" sz="1400" dirty="0">
                  <a:solidFill>
                    <a:schemeClr val="bg1"/>
                  </a:solidFill>
                  <a:cs typeface="Arial" charset="0"/>
                </a:rPr>
                <a:t>Market share</a:t>
              </a:r>
            </a:p>
          </p:txBody>
        </p:sp>
        <p:sp>
          <p:nvSpPr>
            <p:cNvPr id="191493" name="Text Box 8"/>
            <p:cNvSpPr txBox="1">
              <a:spLocks noChangeArrowheads="1"/>
            </p:cNvSpPr>
            <p:nvPr/>
          </p:nvSpPr>
          <p:spPr bwMode="gray">
            <a:xfrm>
              <a:off x="361951" y="3539490"/>
              <a:ext cx="2049463" cy="645797"/>
            </a:xfrm>
            <a:prstGeom prst="rect">
              <a:avLst/>
            </a:prstGeom>
            <a:solidFill>
              <a:schemeClr val="tx2"/>
            </a:solidFill>
            <a:ln w="12700">
              <a:noFill/>
              <a:miter lim="800000"/>
              <a:headEnd/>
              <a:tailEnd/>
            </a:ln>
            <a:effectLst/>
          </p:spPr>
          <p:txBody>
            <a:bodyPr anchor="ctr"/>
            <a:lstStyle/>
            <a:p>
              <a:pPr lvl="0" algn="ctr" fontAlgn="base">
                <a:lnSpc>
                  <a:spcPct val="90000"/>
                </a:lnSpc>
                <a:spcBef>
                  <a:spcPct val="0"/>
                </a:spcBef>
                <a:spcAft>
                  <a:spcPct val="0"/>
                </a:spcAft>
              </a:pPr>
              <a:r>
                <a:rPr lang="en-GB" sz="1400" dirty="0">
                  <a:solidFill>
                    <a:schemeClr val="bg1"/>
                  </a:solidFill>
                  <a:cs typeface="Arial" charset="0"/>
                </a:rPr>
                <a:t>Key factor 2</a:t>
              </a:r>
            </a:p>
          </p:txBody>
        </p:sp>
        <p:sp>
          <p:nvSpPr>
            <p:cNvPr id="191494" name="Text Box 9"/>
            <p:cNvSpPr txBox="1">
              <a:spLocks noChangeArrowheads="1"/>
            </p:cNvSpPr>
            <p:nvPr/>
          </p:nvSpPr>
          <p:spPr bwMode="gray">
            <a:xfrm>
              <a:off x="361951" y="2466976"/>
              <a:ext cx="2049463" cy="643890"/>
            </a:xfrm>
            <a:prstGeom prst="rect">
              <a:avLst/>
            </a:prstGeom>
            <a:solidFill>
              <a:schemeClr val="tx2"/>
            </a:solidFill>
            <a:ln w="12700">
              <a:noFill/>
              <a:miter lim="800000"/>
              <a:headEnd/>
              <a:tailEnd/>
            </a:ln>
            <a:effectLst/>
          </p:spPr>
          <p:txBody>
            <a:bodyPr anchor="ctr"/>
            <a:lstStyle/>
            <a:p>
              <a:pPr lvl="0" algn="ctr" fontAlgn="base">
                <a:lnSpc>
                  <a:spcPct val="90000"/>
                </a:lnSpc>
                <a:spcBef>
                  <a:spcPct val="0"/>
                </a:spcBef>
                <a:spcAft>
                  <a:spcPct val="0"/>
                </a:spcAft>
              </a:pPr>
              <a:r>
                <a:rPr lang="en-GB" sz="1400" dirty="0">
                  <a:solidFill>
                    <a:schemeClr val="bg1"/>
                  </a:solidFill>
                  <a:cs typeface="Arial" charset="0"/>
                </a:rPr>
                <a:t>Key factor 1</a:t>
              </a:r>
            </a:p>
          </p:txBody>
        </p:sp>
        <p:sp>
          <p:nvSpPr>
            <p:cNvPr id="33802" name="Text Box 10"/>
            <p:cNvSpPr txBox="1">
              <a:spLocks noChangeArrowheads="1"/>
            </p:cNvSpPr>
            <p:nvPr/>
          </p:nvSpPr>
          <p:spPr bwMode="gray">
            <a:xfrm>
              <a:off x="6723064" y="4613911"/>
              <a:ext cx="2052638" cy="643890"/>
            </a:xfrm>
            <a:prstGeom prst="rect">
              <a:avLst/>
            </a:prstGeom>
            <a:solidFill>
              <a:schemeClr val="bg2"/>
            </a:solidFill>
            <a:ln w="12700">
              <a:noFill/>
              <a:miter lim="800000"/>
              <a:headEnd/>
              <a:tailEnd/>
            </a:ln>
          </p:spPr>
          <p:txBody>
            <a:bodyPr anchor="ctr"/>
            <a:lstStyle/>
            <a:p>
              <a:pPr lvl="0" algn="ctr" fontAlgn="base">
                <a:lnSpc>
                  <a:spcPct val="90000"/>
                </a:lnSpc>
                <a:spcBef>
                  <a:spcPct val="0"/>
                </a:spcBef>
                <a:spcAft>
                  <a:spcPct val="0"/>
                </a:spcAft>
              </a:pPr>
              <a:r>
                <a:rPr lang="en-GB" sz="1400" dirty="0">
                  <a:cs typeface="Arial" charset="0"/>
                </a:rPr>
                <a:t>Sub group</a:t>
              </a:r>
            </a:p>
          </p:txBody>
        </p:sp>
        <p:sp>
          <p:nvSpPr>
            <p:cNvPr id="33803" name="Text Box 11"/>
            <p:cNvSpPr txBox="1">
              <a:spLocks noChangeArrowheads="1"/>
            </p:cNvSpPr>
            <p:nvPr/>
          </p:nvSpPr>
          <p:spPr bwMode="gray">
            <a:xfrm>
              <a:off x="6723064" y="3539490"/>
              <a:ext cx="2052638" cy="645797"/>
            </a:xfrm>
            <a:prstGeom prst="rect">
              <a:avLst/>
            </a:prstGeom>
            <a:solidFill>
              <a:schemeClr val="bg2"/>
            </a:solidFill>
            <a:ln w="12700">
              <a:noFill/>
              <a:miter lim="800000"/>
              <a:headEnd/>
              <a:tailEnd/>
            </a:ln>
          </p:spPr>
          <p:txBody>
            <a:bodyPr anchor="ctr"/>
            <a:lstStyle/>
            <a:p>
              <a:pPr lvl="0" algn="ctr" fontAlgn="base">
                <a:lnSpc>
                  <a:spcPct val="90000"/>
                </a:lnSpc>
                <a:spcBef>
                  <a:spcPct val="0"/>
                </a:spcBef>
                <a:spcAft>
                  <a:spcPct val="0"/>
                </a:spcAft>
              </a:pPr>
              <a:r>
                <a:rPr lang="en-GB" sz="1400" dirty="0">
                  <a:cs typeface="Arial" charset="0"/>
                </a:rPr>
                <a:t>Main group</a:t>
              </a:r>
            </a:p>
          </p:txBody>
        </p:sp>
        <p:sp>
          <p:nvSpPr>
            <p:cNvPr id="33804" name="Text Box 12"/>
            <p:cNvSpPr txBox="1">
              <a:spLocks noChangeArrowheads="1"/>
            </p:cNvSpPr>
            <p:nvPr/>
          </p:nvSpPr>
          <p:spPr bwMode="gray">
            <a:xfrm>
              <a:off x="4252914" y="4613911"/>
              <a:ext cx="2052638" cy="643890"/>
            </a:xfrm>
            <a:prstGeom prst="rect">
              <a:avLst/>
            </a:prstGeom>
            <a:solidFill>
              <a:schemeClr val="bg2"/>
            </a:solidFill>
            <a:ln w="12700">
              <a:noFill/>
              <a:miter lim="800000"/>
              <a:headEnd/>
              <a:tailEnd/>
            </a:ln>
          </p:spPr>
          <p:txBody>
            <a:bodyPr anchor="ctr"/>
            <a:lstStyle/>
            <a:p>
              <a:pPr lvl="0" algn="ctr" fontAlgn="base">
                <a:lnSpc>
                  <a:spcPct val="90000"/>
                </a:lnSpc>
                <a:spcBef>
                  <a:spcPct val="0"/>
                </a:spcBef>
                <a:spcAft>
                  <a:spcPct val="0"/>
                </a:spcAft>
              </a:pPr>
              <a:r>
                <a:rPr lang="en-GB" sz="1400" dirty="0">
                  <a:cs typeface="Arial" charset="0"/>
                </a:rPr>
                <a:t>Sub group</a:t>
              </a:r>
            </a:p>
          </p:txBody>
        </p:sp>
        <p:sp>
          <p:nvSpPr>
            <p:cNvPr id="33805" name="Text Box 13"/>
            <p:cNvSpPr txBox="1">
              <a:spLocks noChangeArrowheads="1"/>
            </p:cNvSpPr>
            <p:nvPr/>
          </p:nvSpPr>
          <p:spPr bwMode="gray">
            <a:xfrm>
              <a:off x="4252913" y="2466976"/>
              <a:ext cx="4533900" cy="643890"/>
            </a:xfrm>
            <a:prstGeom prst="rect">
              <a:avLst/>
            </a:prstGeom>
            <a:solidFill>
              <a:schemeClr val="bg2"/>
            </a:solidFill>
            <a:ln w="12700">
              <a:noFill/>
              <a:miter lim="800000"/>
              <a:headEnd/>
              <a:tailEnd/>
            </a:ln>
          </p:spPr>
          <p:txBody>
            <a:bodyPr anchor="ctr"/>
            <a:lstStyle/>
            <a:p>
              <a:pPr lvl="0" algn="ctr" fontAlgn="base">
                <a:lnSpc>
                  <a:spcPct val="90000"/>
                </a:lnSpc>
                <a:spcBef>
                  <a:spcPct val="0"/>
                </a:spcBef>
                <a:spcAft>
                  <a:spcPct val="0"/>
                </a:spcAft>
              </a:pPr>
              <a:r>
                <a:rPr lang="en-GB" sz="1400" dirty="0">
                  <a:cs typeface="Arial" charset="0"/>
                </a:rPr>
                <a:t>Total population of that market</a:t>
              </a:r>
            </a:p>
          </p:txBody>
        </p:sp>
        <p:sp>
          <p:nvSpPr>
            <p:cNvPr id="33806" name="Text Box 14"/>
            <p:cNvSpPr txBox="1">
              <a:spLocks noChangeArrowheads="1"/>
            </p:cNvSpPr>
            <p:nvPr/>
          </p:nvSpPr>
          <p:spPr bwMode="gray">
            <a:xfrm>
              <a:off x="4252914" y="3539490"/>
              <a:ext cx="2052638" cy="645797"/>
            </a:xfrm>
            <a:prstGeom prst="rect">
              <a:avLst/>
            </a:prstGeom>
            <a:solidFill>
              <a:schemeClr val="bg2"/>
            </a:solidFill>
            <a:ln w="12700">
              <a:noFill/>
              <a:miter lim="800000"/>
              <a:headEnd/>
              <a:tailEnd/>
            </a:ln>
          </p:spPr>
          <p:txBody>
            <a:bodyPr anchor="ctr"/>
            <a:lstStyle/>
            <a:p>
              <a:pPr lvl="0" algn="ctr" fontAlgn="base">
                <a:lnSpc>
                  <a:spcPct val="90000"/>
                </a:lnSpc>
                <a:spcBef>
                  <a:spcPct val="0"/>
                </a:spcBef>
                <a:spcAft>
                  <a:spcPct val="0"/>
                </a:spcAft>
              </a:pPr>
              <a:r>
                <a:rPr lang="en-GB" sz="1400" dirty="0">
                  <a:cs typeface="Arial" charset="0"/>
                </a:rPr>
                <a:t>Main group</a:t>
              </a:r>
            </a:p>
          </p:txBody>
        </p:sp>
        <p:sp>
          <p:nvSpPr>
            <p:cNvPr id="191517" name="AutoShape 15"/>
            <p:cNvSpPr>
              <a:spLocks noChangeArrowheads="1"/>
            </p:cNvSpPr>
            <p:nvPr/>
          </p:nvSpPr>
          <p:spPr bwMode="gray">
            <a:xfrm rot="5400000">
              <a:off x="2453799" y="4849337"/>
              <a:ext cx="339090" cy="173038"/>
            </a:xfrm>
            <a:prstGeom prst="triangle">
              <a:avLst>
                <a:gd name="adj" fmla="val 50000"/>
              </a:avLst>
            </a:prstGeom>
            <a:solidFill>
              <a:schemeClr val="tx2"/>
            </a:solidFill>
            <a:ln w="9525" algn="ctr">
              <a:noFill/>
              <a:miter lim="800000"/>
              <a:headEnd/>
              <a:tailEnd/>
            </a:ln>
            <a:effectLst/>
          </p:spPr>
          <p:txBody>
            <a:bodyPr wrap="none" lIns="90000" tIns="72000" rIns="90000" bIns="72000" anchor="ctr"/>
            <a:lstStyle/>
            <a:p>
              <a:pPr>
                <a:defRPr/>
              </a:pPr>
              <a:endParaRPr lang="en-GB" sz="1400" dirty="0">
                <a:latin typeface="Futura Medium" panose="00000400000000000000" pitchFamily="2" charset="0"/>
              </a:endParaRPr>
            </a:p>
          </p:txBody>
        </p:sp>
        <p:sp>
          <p:nvSpPr>
            <p:cNvPr id="191518" name="AutoShape 16"/>
            <p:cNvSpPr>
              <a:spLocks noChangeArrowheads="1"/>
            </p:cNvSpPr>
            <p:nvPr/>
          </p:nvSpPr>
          <p:spPr bwMode="gray">
            <a:xfrm rot="5400000">
              <a:off x="2453799" y="3774917"/>
              <a:ext cx="339090" cy="173038"/>
            </a:xfrm>
            <a:prstGeom prst="triangle">
              <a:avLst>
                <a:gd name="adj" fmla="val 50000"/>
              </a:avLst>
            </a:prstGeom>
            <a:solidFill>
              <a:schemeClr val="tx2"/>
            </a:solidFill>
            <a:ln w="9525" algn="ctr">
              <a:noFill/>
              <a:miter lim="800000"/>
              <a:headEnd/>
              <a:tailEnd/>
            </a:ln>
            <a:effectLst/>
          </p:spPr>
          <p:txBody>
            <a:bodyPr wrap="none" lIns="90000" tIns="72000" rIns="90000" bIns="72000" anchor="ctr"/>
            <a:lstStyle/>
            <a:p>
              <a:pPr>
                <a:defRPr/>
              </a:pPr>
              <a:endParaRPr lang="en-GB" sz="1400" dirty="0">
                <a:latin typeface="Futura Medium" panose="00000400000000000000" pitchFamily="2" charset="0"/>
              </a:endParaRPr>
            </a:p>
          </p:txBody>
        </p:sp>
        <p:sp>
          <p:nvSpPr>
            <p:cNvPr id="191519" name="AutoShape 17"/>
            <p:cNvSpPr>
              <a:spLocks noChangeArrowheads="1"/>
            </p:cNvSpPr>
            <p:nvPr/>
          </p:nvSpPr>
          <p:spPr bwMode="gray">
            <a:xfrm rot="5400000">
              <a:off x="2453799" y="2702401"/>
              <a:ext cx="339090" cy="173038"/>
            </a:xfrm>
            <a:prstGeom prst="triangle">
              <a:avLst>
                <a:gd name="adj" fmla="val 50000"/>
              </a:avLst>
            </a:prstGeom>
            <a:solidFill>
              <a:schemeClr val="tx2"/>
            </a:solidFill>
            <a:ln w="9525" algn="ctr">
              <a:noFill/>
              <a:miter lim="800000"/>
              <a:headEnd/>
              <a:tailEnd/>
            </a:ln>
            <a:effectLst/>
          </p:spPr>
          <p:txBody>
            <a:bodyPr wrap="none" lIns="90000" tIns="72000" rIns="90000" bIns="72000" anchor="ctr"/>
            <a:lstStyle/>
            <a:p>
              <a:pPr>
                <a:defRPr/>
              </a:pPr>
              <a:endParaRPr lang="en-GB" sz="1400" dirty="0">
                <a:latin typeface="Futura Medium" panose="00000400000000000000" pitchFamily="2" charset="0"/>
              </a:endParaRPr>
            </a:p>
          </p:txBody>
        </p:sp>
        <p:sp>
          <p:nvSpPr>
            <p:cNvPr id="191520" name="AutoShape 18"/>
            <p:cNvSpPr>
              <a:spLocks noChangeArrowheads="1"/>
            </p:cNvSpPr>
            <p:nvPr/>
          </p:nvSpPr>
          <p:spPr bwMode="gray">
            <a:xfrm rot="10800000">
              <a:off x="5106989" y="2167890"/>
              <a:ext cx="344487" cy="169546"/>
            </a:xfrm>
            <a:prstGeom prst="triangle">
              <a:avLst>
                <a:gd name="adj" fmla="val 50000"/>
              </a:avLst>
            </a:prstGeom>
            <a:solidFill>
              <a:schemeClr val="tx2"/>
            </a:solidFill>
            <a:ln w="9525" algn="ctr">
              <a:noFill/>
              <a:miter lim="800000"/>
              <a:headEnd/>
              <a:tailEnd/>
            </a:ln>
            <a:effectLst/>
          </p:spPr>
          <p:txBody>
            <a:bodyPr wrap="none" lIns="90000" tIns="72000" rIns="90000" bIns="72000" anchor="ctr"/>
            <a:lstStyle/>
            <a:p>
              <a:pPr>
                <a:defRPr/>
              </a:pPr>
              <a:endParaRPr lang="en-GB" sz="1400" dirty="0">
                <a:solidFill>
                  <a:schemeClr val="bg1"/>
                </a:solidFill>
                <a:latin typeface="Futura Medium" panose="00000400000000000000" pitchFamily="2" charset="0"/>
              </a:endParaRPr>
            </a:p>
          </p:txBody>
        </p:sp>
        <p:sp>
          <p:nvSpPr>
            <p:cNvPr id="191521" name="AutoShape 19"/>
            <p:cNvSpPr>
              <a:spLocks noChangeArrowheads="1"/>
            </p:cNvSpPr>
            <p:nvPr/>
          </p:nvSpPr>
          <p:spPr bwMode="gray">
            <a:xfrm rot="10800000">
              <a:off x="7575550" y="2185036"/>
              <a:ext cx="344488" cy="169544"/>
            </a:xfrm>
            <a:prstGeom prst="triangle">
              <a:avLst>
                <a:gd name="adj" fmla="val 50000"/>
              </a:avLst>
            </a:prstGeom>
            <a:solidFill>
              <a:schemeClr val="tx2"/>
            </a:solidFill>
            <a:ln w="9525" algn="ctr">
              <a:noFill/>
              <a:miter lim="800000"/>
              <a:headEnd/>
              <a:tailEnd/>
            </a:ln>
            <a:effectLst/>
          </p:spPr>
          <p:txBody>
            <a:bodyPr wrap="none" lIns="90000" tIns="72000" rIns="90000" bIns="72000" anchor="ctr"/>
            <a:lstStyle/>
            <a:p>
              <a:pPr>
                <a:defRPr/>
              </a:pPr>
              <a:endParaRPr lang="en-GB" sz="1400" dirty="0">
                <a:solidFill>
                  <a:schemeClr val="bg1"/>
                </a:solidFill>
                <a:latin typeface="Futura Medium" panose="00000400000000000000" pitchFamily="2" charset="0"/>
              </a:endParaRPr>
            </a:p>
          </p:txBody>
        </p:sp>
        <p:sp>
          <p:nvSpPr>
            <p:cNvPr id="191522" name="AutoShape 20"/>
            <p:cNvSpPr>
              <a:spLocks noChangeArrowheads="1"/>
            </p:cNvSpPr>
            <p:nvPr/>
          </p:nvSpPr>
          <p:spPr bwMode="gray">
            <a:xfrm rot="10800000">
              <a:off x="7575550" y="3240407"/>
              <a:ext cx="344488" cy="169544"/>
            </a:xfrm>
            <a:prstGeom prst="triangle">
              <a:avLst>
                <a:gd name="adj" fmla="val 50000"/>
              </a:avLst>
            </a:prstGeom>
            <a:solidFill>
              <a:schemeClr val="bg2"/>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191523" name="AutoShape 21"/>
            <p:cNvSpPr>
              <a:spLocks noChangeArrowheads="1"/>
            </p:cNvSpPr>
            <p:nvPr/>
          </p:nvSpPr>
          <p:spPr bwMode="gray">
            <a:xfrm rot="10800000">
              <a:off x="5106989" y="4314827"/>
              <a:ext cx="344487" cy="169544"/>
            </a:xfrm>
            <a:prstGeom prst="triangle">
              <a:avLst>
                <a:gd name="adj" fmla="val 50000"/>
              </a:avLst>
            </a:prstGeom>
            <a:solidFill>
              <a:schemeClr val="bg1">
                <a:lumMod val="95000"/>
              </a:schemeClr>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191524" name="AutoShape 22"/>
            <p:cNvSpPr>
              <a:spLocks noChangeArrowheads="1"/>
            </p:cNvSpPr>
            <p:nvPr/>
          </p:nvSpPr>
          <p:spPr bwMode="gray">
            <a:xfrm rot="10800000">
              <a:off x="5106989" y="3240407"/>
              <a:ext cx="344487" cy="169544"/>
            </a:xfrm>
            <a:prstGeom prst="triangle">
              <a:avLst>
                <a:gd name="adj" fmla="val 50000"/>
              </a:avLst>
            </a:prstGeom>
            <a:solidFill>
              <a:schemeClr val="bg2"/>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191525" name="AutoShape 23"/>
            <p:cNvSpPr>
              <a:spLocks noChangeArrowheads="1"/>
            </p:cNvSpPr>
            <p:nvPr/>
          </p:nvSpPr>
          <p:spPr bwMode="gray">
            <a:xfrm rot="10800000">
              <a:off x="7575550" y="4314827"/>
              <a:ext cx="344488" cy="169544"/>
            </a:xfrm>
            <a:prstGeom prst="triangle">
              <a:avLst>
                <a:gd name="adj" fmla="val 50000"/>
              </a:avLst>
            </a:prstGeom>
            <a:solidFill>
              <a:schemeClr val="bg1">
                <a:lumMod val="95000"/>
              </a:schemeClr>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33816" name="Text Box 24"/>
            <p:cNvSpPr txBox="1">
              <a:spLocks noChangeArrowheads="1"/>
            </p:cNvSpPr>
            <p:nvPr/>
          </p:nvSpPr>
          <p:spPr bwMode="gray">
            <a:xfrm>
              <a:off x="630238" y="5572125"/>
              <a:ext cx="1200826" cy="210106"/>
            </a:xfrm>
            <a:prstGeom prst="rect">
              <a:avLst/>
            </a:prstGeom>
            <a:noFill/>
            <a:ln w="9525">
              <a:noFill/>
              <a:miter lim="800000"/>
              <a:headEnd/>
              <a:tailEnd/>
            </a:ln>
          </p:spPr>
          <p:txBody>
            <a:bodyPr wrap="none" lIns="0" tIns="0" rIns="0" bIns="0">
              <a:spAutoFit/>
            </a:bodyPr>
            <a:lstStyle/>
            <a:p>
              <a:pPr lvl="0" fontAlgn="base">
                <a:spcBef>
                  <a:spcPct val="50000"/>
                </a:spcBef>
                <a:spcAft>
                  <a:spcPct val="0"/>
                </a:spcAft>
              </a:pPr>
              <a:r>
                <a:rPr lang="en-GB" sz="1400" dirty="0">
                  <a:cs typeface="Arial" charset="0"/>
                </a:rPr>
                <a:t>Key description here.</a:t>
              </a:r>
            </a:p>
          </p:txBody>
        </p:sp>
        <p:sp>
          <p:nvSpPr>
            <p:cNvPr id="33817" name="Text Box 25"/>
            <p:cNvSpPr txBox="1">
              <a:spLocks noChangeArrowheads="1"/>
            </p:cNvSpPr>
            <p:nvPr/>
          </p:nvSpPr>
          <p:spPr bwMode="gray">
            <a:xfrm>
              <a:off x="630238" y="5937886"/>
              <a:ext cx="1239562" cy="210106"/>
            </a:xfrm>
            <a:prstGeom prst="rect">
              <a:avLst/>
            </a:prstGeom>
            <a:noFill/>
            <a:ln w="9525">
              <a:noFill/>
              <a:miter lim="800000"/>
              <a:headEnd/>
              <a:tailEnd/>
            </a:ln>
          </p:spPr>
          <p:txBody>
            <a:bodyPr wrap="none" lIns="0" tIns="0" rIns="0" bIns="0">
              <a:spAutoFit/>
            </a:bodyPr>
            <a:lstStyle/>
            <a:p>
              <a:pPr lvl="0" fontAlgn="base">
                <a:spcBef>
                  <a:spcPct val="50000"/>
                </a:spcBef>
                <a:spcAft>
                  <a:spcPct val="0"/>
                </a:spcAft>
              </a:pPr>
              <a:r>
                <a:rPr lang="en-GB" sz="1400" dirty="0">
                  <a:cs typeface="Arial" charset="0"/>
                </a:rPr>
                <a:t>Key  description here.</a:t>
              </a:r>
            </a:p>
          </p:txBody>
        </p:sp>
        <p:sp>
          <p:nvSpPr>
            <p:cNvPr id="34" name="AutoShape 26"/>
            <p:cNvSpPr>
              <a:spLocks noChangeArrowheads="1"/>
            </p:cNvSpPr>
            <p:nvPr/>
          </p:nvSpPr>
          <p:spPr bwMode="gray">
            <a:xfrm rot="5400000">
              <a:off x="296069" y="5634197"/>
              <a:ext cx="266700" cy="134938"/>
            </a:xfrm>
            <a:prstGeom prst="triangle">
              <a:avLst>
                <a:gd name="adj" fmla="val 50000"/>
              </a:avLst>
            </a:prstGeom>
            <a:solidFill>
              <a:schemeClr val="tx2"/>
            </a:solidFill>
            <a:ln w="9525" algn="ctr">
              <a:noFill/>
              <a:miter lim="800000"/>
              <a:headEnd/>
              <a:tailEnd/>
            </a:ln>
            <a:effectLst/>
          </p:spPr>
          <p:txBody>
            <a:bodyPr wrap="none" lIns="90000" tIns="72000" rIns="90000" bIns="72000" anchor="ctr"/>
            <a:lstStyle/>
            <a:p>
              <a:pPr>
                <a:defRPr/>
              </a:pPr>
              <a:endParaRPr lang="en-GB" sz="1400" dirty="0">
                <a:latin typeface="Futura Medium" panose="00000400000000000000" pitchFamily="2" charset="0"/>
              </a:endParaRPr>
            </a:p>
          </p:txBody>
        </p:sp>
        <p:sp>
          <p:nvSpPr>
            <p:cNvPr id="35" name="AutoShape 27"/>
            <p:cNvSpPr>
              <a:spLocks noChangeArrowheads="1"/>
            </p:cNvSpPr>
            <p:nvPr/>
          </p:nvSpPr>
          <p:spPr bwMode="gray">
            <a:xfrm rot="5400000">
              <a:off x="296069" y="5988527"/>
              <a:ext cx="266700" cy="134938"/>
            </a:xfrm>
            <a:prstGeom prst="triangle">
              <a:avLst>
                <a:gd name="adj" fmla="val 50000"/>
              </a:avLst>
            </a:prstGeom>
            <a:solidFill>
              <a:schemeClr val="bg2"/>
            </a:solidFill>
            <a:ln w="9525" algn="ctr">
              <a:noFill/>
              <a:miter lim="800000"/>
              <a:headEnd/>
              <a:tailEnd/>
            </a:ln>
            <a:effectLst/>
          </p:spPr>
          <p:txBody>
            <a:bodyPr wrap="none" lIns="90000" tIns="72000" rIns="90000" bIns="72000" anchor="ctr"/>
            <a:lstStyle/>
            <a:p>
              <a:pPr>
                <a:defRPr/>
              </a:pPr>
              <a:endParaRPr lang="en-GB" sz="1400" dirty="0">
                <a:solidFill>
                  <a:schemeClr val="bg1"/>
                </a:solidFill>
                <a:latin typeface="Futura Medium" panose="00000400000000000000" pitchFamily="2" charset="0"/>
              </a:endParaRPr>
            </a:p>
          </p:txBody>
        </p:sp>
      </p:grpSp>
    </p:spTree>
    <p:extLst>
      <p:ext uri="{BB962C8B-B14F-4D97-AF65-F5344CB8AC3E}">
        <p14:creationId xmlns:p14="http://schemas.microsoft.com/office/powerpoint/2010/main" val="2696033128"/>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p:cNvSpPr>
          <p:nvPr>
            <p:ph type="title"/>
          </p:nvPr>
        </p:nvSpPr>
        <p:spPr/>
        <p:txBody>
          <a:bodyPr/>
          <a:lstStyle/>
          <a:p>
            <a:r>
              <a:rPr lang="en-GB" dirty="0"/>
              <a:t>Flow chart</a:t>
            </a:r>
          </a:p>
        </p:txBody>
      </p:sp>
      <p:grpSp>
        <p:nvGrpSpPr>
          <p:cNvPr id="12" name="Group 11"/>
          <p:cNvGrpSpPr/>
          <p:nvPr/>
        </p:nvGrpSpPr>
        <p:grpSpPr>
          <a:xfrm>
            <a:off x="508000" y="1528763"/>
            <a:ext cx="11171238" cy="4830762"/>
            <a:chOff x="361949" y="1478280"/>
            <a:chExt cx="8424865" cy="4718686"/>
          </a:xfrm>
          <a:solidFill>
            <a:schemeClr val="accent2"/>
          </a:solidFill>
        </p:grpSpPr>
        <p:sp>
          <p:nvSpPr>
            <p:cNvPr id="34822" name="Text Box 6"/>
            <p:cNvSpPr txBox="1">
              <a:spLocks noChangeArrowheads="1"/>
            </p:cNvSpPr>
            <p:nvPr/>
          </p:nvSpPr>
          <p:spPr bwMode="gray">
            <a:xfrm>
              <a:off x="374650" y="2310766"/>
              <a:ext cx="1863725"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23" name="Text Box 7"/>
            <p:cNvSpPr txBox="1">
              <a:spLocks noChangeArrowheads="1"/>
            </p:cNvSpPr>
            <p:nvPr/>
          </p:nvSpPr>
          <p:spPr bwMode="gray">
            <a:xfrm>
              <a:off x="374650" y="5381626"/>
              <a:ext cx="1863725"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24" name="Text Box 8"/>
            <p:cNvSpPr txBox="1">
              <a:spLocks noChangeArrowheads="1"/>
            </p:cNvSpPr>
            <p:nvPr/>
          </p:nvSpPr>
          <p:spPr bwMode="gray">
            <a:xfrm>
              <a:off x="374650" y="4358640"/>
              <a:ext cx="1863725" cy="813436"/>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25" name="Text Box 9"/>
            <p:cNvSpPr txBox="1">
              <a:spLocks noChangeArrowheads="1"/>
            </p:cNvSpPr>
            <p:nvPr/>
          </p:nvSpPr>
          <p:spPr bwMode="gray">
            <a:xfrm>
              <a:off x="374650" y="3333750"/>
              <a:ext cx="1863725"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26" name="Text Box 10"/>
            <p:cNvSpPr txBox="1">
              <a:spLocks noChangeArrowheads="1"/>
            </p:cNvSpPr>
            <p:nvPr/>
          </p:nvSpPr>
          <p:spPr bwMode="gray">
            <a:xfrm>
              <a:off x="6921501" y="2310766"/>
              <a:ext cx="1865313"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27" name="Text Box 11"/>
            <p:cNvSpPr txBox="1">
              <a:spLocks noChangeArrowheads="1"/>
            </p:cNvSpPr>
            <p:nvPr/>
          </p:nvSpPr>
          <p:spPr bwMode="gray">
            <a:xfrm>
              <a:off x="6921501" y="5381626"/>
              <a:ext cx="1865313"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28" name="Text Box 12"/>
            <p:cNvSpPr txBox="1">
              <a:spLocks noChangeArrowheads="1"/>
            </p:cNvSpPr>
            <p:nvPr/>
          </p:nvSpPr>
          <p:spPr bwMode="gray">
            <a:xfrm>
              <a:off x="6921501" y="4358640"/>
              <a:ext cx="1865313" cy="813436"/>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29" name="Text Box 13"/>
            <p:cNvSpPr txBox="1">
              <a:spLocks noChangeArrowheads="1"/>
            </p:cNvSpPr>
            <p:nvPr/>
          </p:nvSpPr>
          <p:spPr bwMode="gray">
            <a:xfrm>
              <a:off x="6921501" y="3343276"/>
              <a:ext cx="1865313"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30" name="Text Box 14"/>
            <p:cNvSpPr txBox="1">
              <a:spLocks noChangeArrowheads="1"/>
            </p:cNvSpPr>
            <p:nvPr/>
          </p:nvSpPr>
          <p:spPr bwMode="gray">
            <a:xfrm>
              <a:off x="2560638" y="2310766"/>
              <a:ext cx="1866900"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31" name="Text Box 15"/>
            <p:cNvSpPr txBox="1">
              <a:spLocks noChangeArrowheads="1"/>
            </p:cNvSpPr>
            <p:nvPr/>
          </p:nvSpPr>
          <p:spPr bwMode="gray">
            <a:xfrm>
              <a:off x="2560638" y="5381626"/>
              <a:ext cx="1866900"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32" name="Text Box 16"/>
            <p:cNvSpPr txBox="1">
              <a:spLocks noChangeArrowheads="1"/>
            </p:cNvSpPr>
            <p:nvPr/>
          </p:nvSpPr>
          <p:spPr bwMode="gray">
            <a:xfrm>
              <a:off x="4748213" y="2310766"/>
              <a:ext cx="1866900"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34833" name="Text Box 17"/>
            <p:cNvSpPr txBox="1">
              <a:spLocks noChangeArrowheads="1"/>
            </p:cNvSpPr>
            <p:nvPr/>
          </p:nvSpPr>
          <p:spPr bwMode="gray">
            <a:xfrm>
              <a:off x="4748213" y="5381626"/>
              <a:ext cx="1866900" cy="815340"/>
            </a:xfrm>
            <a:prstGeom prst="rect">
              <a:avLst/>
            </a:prstGeom>
            <a:solidFill>
              <a:schemeClr val="bg2"/>
            </a:solidFill>
            <a:ln w="12700">
              <a:noFill/>
              <a:miter lim="800000"/>
              <a:headEnd/>
              <a:tailEnd/>
            </a:ln>
          </p:spPr>
          <p:txBody>
            <a:bodyPr anchor="ctr"/>
            <a:lstStyle/>
            <a:p>
              <a:pPr lvl="0" algn="ctr" fontAlgn="base">
                <a:spcBef>
                  <a:spcPct val="50000"/>
                </a:spcBef>
                <a:spcAft>
                  <a:spcPct val="0"/>
                </a:spcAft>
              </a:pPr>
              <a:r>
                <a:rPr lang="en-GB" sz="1400" dirty="0">
                  <a:cs typeface="Arial" charset="0"/>
                </a:rPr>
                <a:t>Text box</a:t>
              </a:r>
            </a:p>
          </p:txBody>
        </p:sp>
        <p:sp>
          <p:nvSpPr>
            <p:cNvPr id="192537" name="AutoShape 18"/>
            <p:cNvSpPr>
              <a:spLocks noChangeArrowheads="1"/>
            </p:cNvSpPr>
            <p:nvPr/>
          </p:nvSpPr>
          <p:spPr bwMode="gray">
            <a:xfrm rot="5400000">
              <a:off x="2212817" y="2635092"/>
              <a:ext cx="373380" cy="166687"/>
            </a:xfrm>
            <a:prstGeom prst="triangle">
              <a:avLst>
                <a:gd name="adj" fmla="val 50000"/>
              </a:avLst>
            </a:prstGeom>
            <a:solidFill>
              <a:schemeClr val="tx1"/>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192539" name="AutoShape 19"/>
            <p:cNvSpPr>
              <a:spLocks noChangeArrowheads="1"/>
            </p:cNvSpPr>
            <p:nvPr/>
          </p:nvSpPr>
          <p:spPr bwMode="gray">
            <a:xfrm rot="5400000">
              <a:off x="4400392" y="2635092"/>
              <a:ext cx="373380" cy="166687"/>
            </a:xfrm>
            <a:prstGeom prst="triangle">
              <a:avLst>
                <a:gd name="adj" fmla="val 50000"/>
              </a:avLst>
            </a:prstGeom>
            <a:solidFill>
              <a:schemeClr val="tx1"/>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192540" name="AutoShape 20"/>
            <p:cNvSpPr>
              <a:spLocks noChangeArrowheads="1"/>
            </p:cNvSpPr>
            <p:nvPr/>
          </p:nvSpPr>
          <p:spPr bwMode="gray">
            <a:xfrm rot="5400000">
              <a:off x="6581617" y="2635092"/>
              <a:ext cx="373380" cy="166687"/>
            </a:xfrm>
            <a:prstGeom prst="triangle">
              <a:avLst>
                <a:gd name="adj" fmla="val 50000"/>
              </a:avLst>
            </a:prstGeom>
            <a:solidFill>
              <a:schemeClr val="tx1"/>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192541" name="AutoShape 21"/>
            <p:cNvSpPr>
              <a:spLocks noChangeArrowheads="1"/>
            </p:cNvSpPr>
            <p:nvPr/>
          </p:nvSpPr>
          <p:spPr bwMode="gray">
            <a:xfrm rot="16200000" flipH="1">
              <a:off x="2212817" y="5705952"/>
              <a:ext cx="373380" cy="166687"/>
            </a:xfrm>
            <a:prstGeom prst="triangle">
              <a:avLst>
                <a:gd name="adj" fmla="val 50000"/>
              </a:avLst>
            </a:prstGeom>
            <a:solidFill>
              <a:schemeClr val="tx1"/>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192542" name="AutoShape 22"/>
            <p:cNvSpPr>
              <a:spLocks noChangeArrowheads="1"/>
            </p:cNvSpPr>
            <p:nvPr/>
          </p:nvSpPr>
          <p:spPr bwMode="gray">
            <a:xfrm rot="16200000" flipH="1">
              <a:off x="4400392" y="5705952"/>
              <a:ext cx="373380" cy="166687"/>
            </a:xfrm>
            <a:prstGeom prst="triangle">
              <a:avLst>
                <a:gd name="adj" fmla="val 50000"/>
              </a:avLst>
            </a:prstGeom>
            <a:solidFill>
              <a:schemeClr val="tx1"/>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192543" name="AutoShape 23"/>
            <p:cNvSpPr>
              <a:spLocks noChangeArrowheads="1"/>
            </p:cNvSpPr>
            <p:nvPr/>
          </p:nvSpPr>
          <p:spPr bwMode="gray">
            <a:xfrm rot="16200000" flipH="1">
              <a:off x="6581617" y="5705952"/>
              <a:ext cx="373380" cy="166687"/>
            </a:xfrm>
            <a:prstGeom prst="triangle">
              <a:avLst>
                <a:gd name="adj" fmla="val 50000"/>
              </a:avLst>
            </a:prstGeom>
            <a:solidFill>
              <a:schemeClr val="tx1"/>
            </a:solidFill>
            <a:ln w="9525" algn="ctr">
              <a:noFill/>
              <a:miter lim="800000"/>
              <a:headEnd/>
              <a:tailEnd/>
            </a:ln>
            <a:effectLst/>
          </p:spPr>
          <p:txBody>
            <a:bodyPr wrap="none" lIns="90000" tIns="72000" rIns="90000" bIns="72000" anchor="ctr"/>
            <a:lstStyle/>
            <a:p>
              <a:pPr>
                <a:defRPr/>
              </a:pPr>
              <a:endParaRPr lang="en-GB" sz="1400" dirty="0">
                <a:solidFill>
                  <a:schemeClr val="tx2"/>
                </a:solidFill>
                <a:latin typeface="Futura Medium" panose="00000400000000000000" pitchFamily="2" charset="0"/>
              </a:endParaRPr>
            </a:p>
          </p:txBody>
        </p:sp>
        <p:sp>
          <p:nvSpPr>
            <p:cNvPr id="23" name="Text Box 24"/>
            <p:cNvSpPr txBox="1">
              <a:spLocks noChangeArrowheads="1"/>
            </p:cNvSpPr>
            <p:nvPr/>
          </p:nvSpPr>
          <p:spPr bwMode="gray">
            <a:xfrm>
              <a:off x="361949" y="1478280"/>
              <a:ext cx="8419862" cy="550546"/>
            </a:xfrm>
            <a:prstGeom prst="rect">
              <a:avLst/>
            </a:prstGeom>
            <a:solidFill>
              <a:schemeClr val="accent1"/>
            </a:solidFill>
            <a:ln w="3175" algn="ctr">
              <a:noFill/>
              <a:miter lim="800000"/>
              <a:headEnd/>
              <a:tailEnd/>
            </a:ln>
            <a:effectLst/>
          </p:spPr>
          <p:txBody>
            <a:bodyPr lIns="64800" tIns="64800" rIns="64800" bIns="64800" anchor="b"/>
            <a:lstStyle/>
            <a:p>
              <a:pPr lvl="0" eaLnBrk="0" fontAlgn="base" hangingPunct="0">
                <a:spcBef>
                  <a:spcPct val="0"/>
                </a:spcBef>
                <a:spcAft>
                  <a:spcPct val="0"/>
                </a:spcAft>
              </a:pPr>
              <a:r>
                <a:rPr lang="en-GB" sz="1600" dirty="0">
                  <a:latin typeface="+mj-lt"/>
                  <a:cs typeface="Arial" charset="0"/>
                </a:rPr>
                <a:t>Key market trend flow</a:t>
              </a:r>
            </a:p>
          </p:txBody>
        </p:sp>
      </p:grpSp>
    </p:spTree>
    <p:extLst>
      <p:ext uri="{BB962C8B-B14F-4D97-AF65-F5344CB8AC3E}">
        <p14:creationId xmlns:p14="http://schemas.microsoft.com/office/powerpoint/2010/main" val="3541635484"/>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Grp="1"/>
          </p:cNvSpPr>
          <p:nvPr>
            <p:ph type="title"/>
          </p:nvPr>
        </p:nvSpPr>
        <p:spPr/>
        <p:txBody>
          <a:bodyPr/>
          <a:lstStyle/>
          <a:p>
            <a:r>
              <a:rPr lang="en-GB" dirty="0"/>
              <a:t>Flow chart</a:t>
            </a:r>
          </a:p>
        </p:txBody>
      </p:sp>
      <p:grpSp>
        <p:nvGrpSpPr>
          <p:cNvPr id="2" name="Group 1"/>
          <p:cNvGrpSpPr/>
          <p:nvPr/>
        </p:nvGrpSpPr>
        <p:grpSpPr>
          <a:xfrm>
            <a:off x="508000" y="1528763"/>
            <a:ext cx="11171238" cy="4830762"/>
            <a:chOff x="1936750" y="1446212"/>
            <a:chExt cx="8313561" cy="4281487"/>
          </a:xfrm>
        </p:grpSpPr>
        <p:grpSp>
          <p:nvGrpSpPr>
            <p:cNvPr id="3" name="Group 2"/>
            <p:cNvGrpSpPr/>
            <p:nvPr/>
          </p:nvGrpSpPr>
          <p:grpSpPr>
            <a:xfrm>
              <a:off x="1936750" y="2096127"/>
              <a:ext cx="8302826" cy="3631572"/>
              <a:chOff x="361950" y="2194560"/>
              <a:chExt cx="8408989" cy="4002406"/>
            </a:xfrm>
          </p:grpSpPr>
          <p:sp>
            <p:nvSpPr>
              <p:cNvPr id="19" name="Line 7"/>
              <p:cNvSpPr>
                <a:spLocks noChangeShapeType="1"/>
              </p:cNvSpPr>
              <p:nvPr/>
            </p:nvSpPr>
            <p:spPr bwMode="gray">
              <a:xfrm>
                <a:off x="2309814" y="4238626"/>
                <a:ext cx="541337" cy="0"/>
              </a:xfrm>
              <a:prstGeom prst="line">
                <a:avLst/>
              </a:prstGeom>
              <a:noFill/>
              <a:ln w="12700">
                <a:solidFill>
                  <a:schemeClr val="tx2"/>
                </a:solidFill>
                <a:round/>
                <a:headEnd/>
                <a:tailEnd/>
              </a:ln>
            </p:spPr>
            <p:txBody>
              <a:bodyPr wrap="none" anchor="ctr"/>
              <a:lstStyle/>
              <a:p>
                <a:endParaRPr lang="en-US" dirty="0">
                  <a:solidFill>
                    <a:schemeClr val="bg1"/>
                  </a:solidFill>
                  <a:latin typeface="Futura Medium" panose="00000400000000000000" pitchFamily="2" charset="0"/>
                </a:endParaRPr>
              </a:p>
            </p:txBody>
          </p:sp>
          <p:sp>
            <p:nvSpPr>
              <p:cNvPr id="20" name="Line 8"/>
              <p:cNvSpPr>
                <a:spLocks noChangeShapeType="1"/>
              </p:cNvSpPr>
              <p:nvPr/>
            </p:nvSpPr>
            <p:spPr bwMode="gray">
              <a:xfrm>
                <a:off x="6299201" y="4238626"/>
                <a:ext cx="506413" cy="0"/>
              </a:xfrm>
              <a:prstGeom prst="line">
                <a:avLst/>
              </a:prstGeom>
              <a:noFill/>
              <a:ln w="12700">
                <a:solidFill>
                  <a:schemeClr val="tx2"/>
                </a:solidFill>
                <a:round/>
                <a:headEnd/>
                <a:tailEnd/>
              </a:ln>
            </p:spPr>
            <p:txBody>
              <a:bodyPr wrap="none" anchor="ctr"/>
              <a:lstStyle/>
              <a:p>
                <a:endParaRPr lang="en-US" dirty="0">
                  <a:solidFill>
                    <a:schemeClr val="bg1"/>
                  </a:solidFill>
                  <a:latin typeface="Futura Medium" panose="00000400000000000000" pitchFamily="2" charset="0"/>
                </a:endParaRPr>
              </a:p>
            </p:txBody>
          </p:sp>
          <p:sp>
            <p:nvSpPr>
              <p:cNvPr id="25" name="Line 9"/>
              <p:cNvSpPr>
                <a:spLocks noChangeShapeType="1"/>
              </p:cNvSpPr>
              <p:nvPr/>
            </p:nvSpPr>
            <p:spPr bwMode="gray">
              <a:xfrm>
                <a:off x="2309814" y="2762250"/>
                <a:ext cx="541337" cy="0"/>
              </a:xfrm>
              <a:prstGeom prst="line">
                <a:avLst/>
              </a:prstGeom>
              <a:noFill/>
              <a:ln w="12700">
                <a:solidFill>
                  <a:schemeClr val="tx2"/>
                </a:solidFill>
                <a:round/>
                <a:headEnd/>
                <a:tailEnd/>
              </a:ln>
            </p:spPr>
            <p:txBody>
              <a:bodyPr wrap="none" anchor="ctr"/>
              <a:lstStyle/>
              <a:p>
                <a:endParaRPr lang="en-US" dirty="0">
                  <a:solidFill>
                    <a:schemeClr val="bg1"/>
                  </a:solidFill>
                  <a:latin typeface="Futura Medium" panose="00000400000000000000" pitchFamily="2" charset="0"/>
                </a:endParaRPr>
              </a:p>
            </p:txBody>
          </p:sp>
          <p:sp>
            <p:nvSpPr>
              <p:cNvPr id="26" name="Line 10"/>
              <p:cNvSpPr>
                <a:spLocks noChangeShapeType="1"/>
              </p:cNvSpPr>
              <p:nvPr/>
            </p:nvSpPr>
            <p:spPr bwMode="gray">
              <a:xfrm>
                <a:off x="6299201" y="2762250"/>
                <a:ext cx="506413" cy="0"/>
              </a:xfrm>
              <a:prstGeom prst="line">
                <a:avLst/>
              </a:prstGeom>
              <a:noFill/>
              <a:ln w="12700">
                <a:solidFill>
                  <a:schemeClr val="tx2"/>
                </a:solidFill>
                <a:round/>
                <a:headEnd/>
                <a:tailEnd/>
              </a:ln>
            </p:spPr>
            <p:txBody>
              <a:bodyPr wrap="none" anchor="ctr"/>
              <a:lstStyle/>
              <a:p>
                <a:endParaRPr lang="en-US" dirty="0">
                  <a:solidFill>
                    <a:schemeClr val="bg1"/>
                  </a:solidFill>
                  <a:latin typeface="Futura Medium" panose="00000400000000000000" pitchFamily="2" charset="0"/>
                </a:endParaRPr>
              </a:p>
            </p:txBody>
          </p:sp>
          <p:sp>
            <p:nvSpPr>
              <p:cNvPr id="27" name="Line 11"/>
              <p:cNvSpPr>
                <a:spLocks noChangeShapeType="1"/>
              </p:cNvSpPr>
              <p:nvPr/>
            </p:nvSpPr>
            <p:spPr bwMode="gray">
              <a:xfrm>
                <a:off x="2309814" y="5623560"/>
                <a:ext cx="541337" cy="0"/>
              </a:xfrm>
              <a:prstGeom prst="line">
                <a:avLst/>
              </a:prstGeom>
              <a:noFill/>
              <a:ln w="12700">
                <a:solidFill>
                  <a:schemeClr val="tx2"/>
                </a:solidFill>
                <a:round/>
                <a:headEnd/>
                <a:tailEnd/>
              </a:ln>
            </p:spPr>
            <p:txBody>
              <a:bodyPr wrap="none" anchor="ctr"/>
              <a:lstStyle/>
              <a:p>
                <a:endParaRPr lang="en-US" dirty="0">
                  <a:solidFill>
                    <a:schemeClr val="bg1"/>
                  </a:solidFill>
                  <a:latin typeface="Futura Medium" panose="00000400000000000000" pitchFamily="2" charset="0"/>
                </a:endParaRPr>
              </a:p>
            </p:txBody>
          </p:sp>
          <p:sp>
            <p:nvSpPr>
              <p:cNvPr id="28" name="Line 12"/>
              <p:cNvSpPr>
                <a:spLocks noChangeShapeType="1"/>
              </p:cNvSpPr>
              <p:nvPr/>
            </p:nvSpPr>
            <p:spPr bwMode="gray">
              <a:xfrm>
                <a:off x="6299201" y="5623560"/>
                <a:ext cx="506413" cy="0"/>
              </a:xfrm>
              <a:prstGeom prst="line">
                <a:avLst/>
              </a:prstGeom>
              <a:noFill/>
              <a:ln w="12700">
                <a:solidFill>
                  <a:schemeClr val="tx2"/>
                </a:solidFill>
                <a:round/>
                <a:headEnd/>
                <a:tailEnd/>
              </a:ln>
            </p:spPr>
            <p:txBody>
              <a:bodyPr wrap="none" anchor="ctr"/>
              <a:lstStyle/>
              <a:p>
                <a:endParaRPr lang="en-US" dirty="0">
                  <a:solidFill>
                    <a:schemeClr val="bg1"/>
                  </a:solidFill>
                  <a:latin typeface="Futura Medium" panose="00000400000000000000" pitchFamily="2" charset="0"/>
                </a:endParaRPr>
              </a:p>
            </p:txBody>
          </p:sp>
          <p:sp>
            <p:nvSpPr>
              <p:cNvPr id="21517" name="Rectangle 13"/>
              <p:cNvSpPr>
                <a:spLocks noChangeArrowheads="1"/>
              </p:cNvSpPr>
              <p:nvPr/>
            </p:nvSpPr>
            <p:spPr bwMode="gray">
              <a:xfrm>
                <a:off x="361950" y="2194560"/>
                <a:ext cx="1979613" cy="1148716"/>
              </a:xfrm>
              <a:prstGeom prst="rect">
                <a:avLst/>
              </a:prstGeom>
              <a:solidFill>
                <a:schemeClr val="bg2"/>
              </a:solidFill>
              <a:ln w="12700">
                <a:noFill/>
                <a:miter lim="800000"/>
                <a:headEnd/>
                <a:tailEnd/>
              </a:ln>
            </p:spPr>
            <p:txBody>
              <a:bodyPr lIns="90000" tIns="90000" rIns="90000" bIns="90000" anchor="ctr"/>
              <a:lstStyle/>
              <a:p>
                <a:pPr algn="ctr" defTabSz="841375" fontAlgn="base">
                  <a:lnSpc>
                    <a:spcPts val="2100"/>
                  </a:lnSpc>
                  <a:spcBef>
                    <a:spcPct val="0"/>
                  </a:spcBef>
                  <a:spcAft>
                    <a:spcPct val="0"/>
                  </a:spcAft>
                </a:pPr>
                <a:r>
                  <a:rPr lang="en-GB" sz="1400" dirty="0">
                    <a:latin typeface="+mj-lt"/>
                    <a:cs typeface="Arial" charset="0"/>
                  </a:rPr>
                  <a:t>Option three</a:t>
                </a:r>
              </a:p>
              <a:p>
                <a:pPr algn="ctr" defTabSz="841375" fontAlgn="base">
                  <a:spcBef>
                    <a:spcPts val="300"/>
                  </a:spcBef>
                  <a:spcAft>
                    <a:spcPct val="0"/>
                  </a:spcAft>
                </a:pPr>
                <a:r>
                  <a:rPr lang="en-GB" sz="1400" dirty="0"/>
                  <a:t>Details of this section can appear here.</a:t>
                </a:r>
                <a:endParaRPr lang="en-GB" sz="1400" dirty="0">
                  <a:cs typeface="Arial" charset="0"/>
                </a:endParaRPr>
              </a:p>
            </p:txBody>
          </p:sp>
          <p:sp>
            <p:nvSpPr>
              <p:cNvPr id="21518" name="Rectangle 14"/>
              <p:cNvSpPr>
                <a:spLocks noChangeArrowheads="1"/>
              </p:cNvSpPr>
              <p:nvPr/>
            </p:nvSpPr>
            <p:spPr bwMode="gray">
              <a:xfrm>
                <a:off x="361950" y="3619500"/>
                <a:ext cx="1979613" cy="1152526"/>
              </a:xfrm>
              <a:prstGeom prst="rect">
                <a:avLst/>
              </a:prstGeom>
              <a:solidFill>
                <a:schemeClr val="bg2"/>
              </a:solidFill>
              <a:ln w="12700">
                <a:noFill/>
                <a:miter lim="800000"/>
                <a:headEnd/>
                <a:tailEnd/>
              </a:ln>
            </p:spPr>
            <p:txBody>
              <a:bodyPr lIns="90000" tIns="90000" rIns="90000" bIns="90000" anchor="ctr"/>
              <a:lstStyle/>
              <a:p>
                <a:pPr algn="ctr" defTabSz="841375" fontAlgn="base">
                  <a:lnSpc>
                    <a:spcPts val="2100"/>
                  </a:lnSpc>
                  <a:spcBef>
                    <a:spcPct val="0"/>
                  </a:spcBef>
                  <a:spcAft>
                    <a:spcPct val="0"/>
                  </a:spcAft>
                </a:pPr>
                <a:r>
                  <a:rPr lang="en-GB" sz="1400" dirty="0">
                    <a:latin typeface="+mj-lt"/>
                    <a:cs typeface="Arial" charset="0"/>
                  </a:rPr>
                  <a:t>Option five</a:t>
                </a:r>
              </a:p>
              <a:p>
                <a:pPr algn="ctr" defTabSz="841375" fontAlgn="base">
                  <a:spcBef>
                    <a:spcPts val="300"/>
                  </a:spcBef>
                  <a:spcAft>
                    <a:spcPct val="0"/>
                  </a:spcAft>
                </a:pPr>
                <a:r>
                  <a:rPr lang="en-GB" sz="1400" dirty="0"/>
                  <a:t>Details of this section can appear here.</a:t>
                </a:r>
                <a:endParaRPr lang="en-GB" sz="1400" dirty="0">
                  <a:cs typeface="Arial" charset="0"/>
                </a:endParaRPr>
              </a:p>
            </p:txBody>
          </p:sp>
          <p:sp>
            <p:nvSpPr>
              <p:cNvPr id="21519" name="Rectangle 15"/>
              <p:cNvSpPr>
                <a:spLocks noChangeArrowheads="1"/>
              </p:cNvSpPr>
              <p:nvPr/>
            </p:nvSpPr>
            <p:spPr bwMode="gray">
              <a:xfrm>
                <a:off x="361950" y="5048250"/>
                <a:ext cx="1979613" cy="1148716"/>
              </a:xfrm>
              <a:prstGeom prst="rect">
                <a:avLst/>
              </a:prstGeom>
              <a:solidFill>
                <a:schemeClr val="bg2"/>
              </a:solidFill>
              <a:ln w="12700">
                <a:noFill/>
                <a:miter lim="800000"/>
                <a:headEnd/>
                <a:tailEnd/>
              </a:ln>
            </p:spPr>
            <p:txBody>
              <a:bodyPr lIns="90000" tIns="90000" rIns="90000" bIns="90000" anchor="ctr"/>
              <a:lstStyle/>
              <a:p>
                <a:pPr algn="ctr" defTabSz="841375" fontAlgn="base">
                  <a:lnSpc>
                    <a:spcPts val="2100"/>
                  </a:lnSpc>
                  <a:spcBef>
                    <a:spcPct val="0"/>
                  </a:spcBef>
                  <a:spcAft>
                    <a:spcPct val="0"/>
                  </a:spcAft>
                </a:pPr>
                <a:r>
                  <a:rPr lang="en-GB" sz="1400" dirty="0">
                    <a:latin typeface="+mj-lt"/>
                    <a:cs typeface="Arial" charset="0"/>
                  </a:rPr>
                  <a:t>Option seven</a:t>
                </a:r>
              </a:p>
              <a:p>
                <a:pPr algn="ctr" defTabSz="841375" fontAlgn="base">
                  <a:spcBef>
                    <a:spcPts val="300"/>
                  </a:spcBef>
                  <a:spcAft>
                    <a:spcPct val="0"/>
                  </a:spcAft>
                </a:pPr>
                <a:r>
                  <a:rPr lang="en-GB" sz="1400" dirty="0"/>
                  <a:t>Details of this section can appear here.</a:t>
                </a:r>
                <a:endParaRPr lang="en-GB" sz="1400" dirty="0">
                  <a:cs typeface="Arial" charset="0"/>
                </a:endParaRPr>
              </a:p>
            </p:txBody>
          </p:sp>
          <p:sp>
            <p:nvSpPr>
              <p:cNvPr id="21520" name="Rectangle 16"/>
              <p:cNvSpPr>
                <a:spLocks noChangeArrowheads="1"/>
              </p:cNvSpPr>
              <p:nvPr/>
            </p:nvSpPr>
            <p:spPr bwMode="gray">
              <a:xfrm>
                <a:off x="6792914" y="2194560"/>
                <a:ext cx="1978025" cy="1148716"/>
              </a:xfrm>
              <a:prstGeom prst="rect">
                <a:avLst/>
              </a:prstGeom>
              <a:solidFill>
                <a:schemeClr val="bg2"/>
              </a:solidFill>
              <a:ln w="12700">
                <a:noFill/>
                <a:miter lim="800000"/>
                <a:headEnd/>
                <a:tailEnd/>
              </a:ln>
            </p:spPr>
            <p:txBody>
              <a:bodyPr lIns="90000" tIns="90000" rIns="90000" bIns="90000" anchor="ctr"/>
              <a:lstStyle/>
              <a:p>
                <a:pPr algn="ctr" defTabSz="841375" fontAlgn="base">
                  <a:lnSpc>
                    <a:spcPts val="2100"/>
                  </a:lnSpc>
                  <a:spcBef>
                    <a:spcPct val="0"/>
                  </a:spcBef>
                  <a:spcAft>
                    <a:spcPct val="0"/>
                  </a:spcAft>
                </a:pPr>
                <a:r>
                  <a:rPr lang="en-GB" sz="1400" dirty="0">
                    <a:latin typeface="+mj-lt"/>
                    <a:cs typeface="Arial" charset="0"/>
                  </a:rPr>
                  <a:t>Option four</a:t>
                </a:r>
              </a:p>
              <a:p>
                <a:pPr algn="ctr" defTabSz="841375" fontAlgn="base">
                  <a:spcBef>
                    <a:spcPts val="300"/>
                  </a:spcBef>
                  <a:spcAft>
                    <a:spcPct val="0"/>
                  </a:spcAft>
                </a:pPr>
                <a:r>
                  <a:rPr lang="en-GB" sz="1400" dirty="0"/>
                  <a:t>Details of this section can appear here.</a:t>
                </a:r>
                <a:endParaRPr lang="en-GB" sz="1400" dirty="0">
                  <a:cs typeface="Arial" charset="0"/>
                </a:endParaRPr>
              </a:p>
            </p:txBody>
          </p:sp>
          <p:sp>
            <p:nvSpPr>
              <p:cNvPr id="21521" name="Rectangle 17"/>
              <p:cNvSpPr>
                <a:spLocks noChangeArrowheads="1"/>
              </p:cNvSpPr>
              <p:nvPr/>
            </p:nvSpPr>
            <p:spPr bwMode="gray">
              <a:xfrm>
                <a:off x="6792914" y="3619500"/>
                <a:ext cx="1978025" cy="1152526"/>
              </a:xfrm>
              <a:prstGeom prst="rect">
                <a:avLst/>
              </a:prstGeom>
              <a:solidFill>
                <a:schemeClr val="bg2"/>
              </a:solidFill>
              <a:ln w="12700">
                <a:noFill/>
                <a:miter lim="800000"/>
                <a:headEnd/>
                <a:tailEnd/>
              </a:ln>
            </p:spPr>
            <p:txBody>
              <a:bodyPr lIns="90000" tIns="90000" rIns="90000" bIns="90000" anchor="ctr"/>
              <a:lstStyle/>
              <a:p>
                <a:pPr algn="ctr" defTabSz="841375" fontAlgn="base">
                  <a:lnSpc>
                    <a:spcPts val="2100"/>
                  </a:lnSpc>
                  <a:spcBef>
                    <a:spcPct val="0"/>
                  </a:spcBef>
                  <a:spcAft>
                    <a:spcPct val="0"/>
                  </a:spcAft>
                </a:pPr>
                <a:r>
                  <a:rPr lang="en-GB" sz="1400" dirty="0">
                    <a:latin typeface="+mj-lt"/>
                    <a:cs typeface="Arial" charset="0"/>
                  </a:rPr>
                  <a:t>Option six</a:t>
                </a:r>
              </a:p>
              <a:p>
                <a:pPr algn="ctr" defTabSz="841375" fontAlgn="base">
                  <a:spcBef>
                    <a:spcPts val="300"/>
                  </a:spcBef>
                  <a:spcAft>
                    <a:spcPct val="0"/>
                  </a:spcAft>
                </a:pPr>
                <a:r>
                  <a:rPr lang="en-GB" sz="1400" dirty="0"/>
                  <a:t>Details of this section can appear here.</a:t>
                </a:r>
                <a:endParaRPr lang="en-GB" sz="1400" dirty="0">
                  <a:cs typeface="Arial" charset="0"/>
                </a:endParaRPr>
              </a:p>
            </p:txBody>
          </p:sp>
          <p:sp>
            <p:nvSpPr>
              <p:cNvPr id="21522" name="Rectangle 18"/>
              <p:cNvSpPr>
                <a:spLocks noChangeArrowheads="1"/>
              </p:cNvSpPr>
              <p:nvPr/>
            </p:nvSpPr>
            <p:spPr bwMode="gray">
              <a:xfrm>
                <a:off x="6792914" y="5048250"/>
                <a:ext cx="1978025" cy="1148716"/>
              </a:xfrm>
              <a:prstGeom prst="rect">
                <a:avLst/>
              </a:prstGeom>
              <a:solidFill>
                <a:schemeClr val="bg2"/>
              </a:solidFill>
              <a:ln w="12700">
                <a:noFill/>
                <a:miter lim="800000"/>
                <a:headEnd/>
                <a:tailEnd/>
              </a:ln>
            </p:spPr>
            <p:txBody>
              <a:bodyPr lIns="90000" tIns="90000" rIns="90000" bIns="90000" anchor="ctr"/>
              <a:lstStyle/>
              <a:p>
                <a:pPr algn="ctr" defTabSz="841375" fontAlgn="base">
                  <a:lnSpc>
                    <a:spcPts val="2100"/>
                  </a:lnSpc>
                  <a:spcBef>
                    <a:spcPct val="0"/>
                  </a:spcBef>
                  <a:spcAft>
                    <a:spcPct val="0"/>
                  </a:spcAft>
                </a:pPr>
                <a:r>
                  <a:rPr lang="en-GB" sz="1400" dirty="0">
                    <a:latin typeface="+mj-lt"/>
                    <a:cs typeface="Arial" charset="0"/>
                  </a:rPr>
                  <a:t>Option eight</a:t>
                </a:r>
              </a:p>
              <a:p>
                <a:pPr algn="ctr" defTabSz="841375" fontAlgn="base">
                  <a:spcBef>
                    <a:spcPts val="300"/>
                  </a:spcBef>
                  <a:spcAft>
                    <a:spcPct val="0"/>
                  </a:spcAft>
                </a:pPr>
                <a:r>
                  <a:rPr lang="en-GB" sz="1400" dirty="0"/>
                  <a:t>Details of this section can appear here.</a:t>
                </a:r>
                <a:endParaRPr lang="en-GB" sz="1400" dirty="0">
                  <a:cs typeface="Arial" charset="0"/>
                </a:endParaRPr>
              </a:p>
            </p:txBody>
          </p:sp>
          <p:sp>
            <p:nvSpPr>
              <p:cNvPr id="35" name="Rectangle 19"/>
              <p:cNvSpPr>
                <a:spLocks noChangeArrowheads="1"/>
              </p:cNvSpPr>
              <p:nvPr/>
            </p:nvSpPr>
            <p:spPr bwMode="gray">
              <a:xfrm>
                <a:off x="2849564" y="2621281"/>
                <a:ext cx="3449637" cy="3135630"/>
              </a:xfrm>
              <a:prstGeom prst="rect">
                <a:avLst/>
              </a:prstGeom>
              <a:solidFill>
                <a:schemeClr val="tx2"/>
              </a:solidFill>
              <a:ln w="3175">
                <a:noFill/>
                <a:miter lim="800000"/>
                <a:headEnd/>
                <a:tailEnd/>
              </a:ln>
              <a:effectLst/>
            </p:spPr>
            <p:txBody>
              <a:bodyPr lIns="90000" tIns="90000" rIns="90000" bIns="90000" anchor="ctr"/>
              <a:lstStyle/>
              <a:p>
                <a:pPr algn="ctr" defTabSz="841375" fontAlgn="base">
                  <a:spcBef>
                    <a:spcPct val="0"/>
                  </a:spcBef>
                  <a:spcAft>
                    <a:spcPct val="0"/>
                  </a:spcAft>
                </a:pPr>
                <a:r>
                  <a:rPr lang="en-GB" sz="1600" dirty="0">
                    <a:solidFill>
                      <a:schemeClr val="bg1"/>
                    </a:solidFill>
                    <a:latin typeface="+mj-lt"/>
                    <a:cs typeface="Arial" charset="0"/>
                  </a:rPr>
                  <a:t>Key statement</a:t>
                </a:r>
              </a:p>
              <a:p>
                <a:pPr algn="ctr" defTabSz="841375" fontAlgn="base">
                  <a:spcBef>
                    <a:spcPct val="0"/>
                  </a:spcBef>
                  <a:spcAft>
                    <a:spcPct val="0"/>
                  </a:spcAft>
                </a:pPr>
                <a:endParaRPr lang="en-GB" sz="1400" b="1" dirty="0">
                  <a:solidFill>
                    <a:schemeClr val="bg1"/>
                  </a:solidFill>
                  <a:cs typeface="Arial" charset="0"/>
                </a:endParaRPr>
              </a:p>
              <a:p>
                <a:pPr marL="0" lvl="1" algn="ctr" defTabSz="841375" fontAlgn="base">
                  <a:spcBef>
                    <a:spcPct val="0"/>
                  </a:spcBef>
                  <a:spcAft>
                    <a:spcPct val="0"/>
                  </a:spcAft>
                </a:pPr>
                <a:r>
                  <a:rPr lang="en-GB" sz="1400" dirty="0">
                    <a:solidFill>
                      <a:schemeClr val="bg1"/>
                    </a:solidFill>
                  </a:rPr>
                  <a:t>Details of this section can appear here in this size and font. Details of this section can appear here in this size and font. Details of this section can appear. </a:t>
                </a:r>
              </a:p>
              <a:p>
                <a:pPr algn="ctr" defTabSz="841375" fontAlgn="base">
                  <a:spcBef>
                    <a:spcPct val="0"/>
                  </a:spcBef>
                  <a:spcAft>
                    <a:spcPct val="0"/>
                  </a:spcAft>
                </a:pPr>
                <a:endParaRPr lang="en-GB" sz="1400" dirty="0">
                  <a:solidFill>
                    <a:schemeClr val="bg1"/>
                  </a:solidFill>
                  <a:cs typeface="Arial" charset="0"/>
                </a:endParaRPr>
              </a:p>
            </p:txBody>
          </p:sp>
        </p:grpSp>
        <p:sp>
          <p:nvSpPr>
            <p:cNvPr id="21" name="Text Box 24"/>
            <p:cNvSpPr txBox="1">
              <a:spLocks noChangeArrowheads="1"/>
            </p:cNvSpPr>
            <p:nvPr/>
          </p:nvSpPr>
          <p:spPr bwMode="gray">
            <a:xfrm>
              <a:off x="1936750" y="1446212"/>
              <a:ext cx="8313561" cy="499536"/>
            </a:xfrm>
            <a:prstGeom prst="rect">
              <a:avLst/>
            </a:prstGeom>
            <a:solidFill>
              <a:schemeClr val="accent1"/>
            </a:solidFill>
            <a:ln w="3175" algn="ctr">
              <a:noFill/>
              <a:miter lim="800000"/>
              <a:headEnd/>
              <a:tailEnd/>
            </a:ln>
            <a:effectLst/>
          </p:spPr>
          <p:txBody>
            <a:bodyPr lIns="64800" tIns="64800" rIns="64800" bIns="64800" anchor="b"/>
            <a:lstStyle/>
            <a:p>
              <a:pPr lvl="0" eaLnBrk="0" fontAlgn="base" hangingPunct="0">
                <a:spcBef>
                  <a:spcPct val="0"/>
                </a:spcBef>
                <a:spcAft>
                  <a:spcPct val="0"/>
                </a:spcAft>
              </a:pPr>
              <a:r>
                <a:rPr lang="en-GB" sz="1600" dirty="0">
                  <a:latin typeface="+mj-lt"/>
                  <a:cs typeface="Arial" charset="0"/>
                </a:rPr>
                <a:t>Key market trend flow</a:t>
              </a:r>
            </a:p>
          </p:txBody>
        </p:sp>
      </p:grpSp>
    </p:spTree>
    <p:extLst>
      <p:ext uri="{BB962C8B-B14F-4D97-AF65-F5344CB8AC3E}">
        <p14:creationId xmlns:p14="http://schemas.microsoft.com/office/powerpoint/2010/main" val="14972549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7</a:t>
            </a:fld>
            <a:endParaRPr lang="en-GB" dirty="0"/>
          </a:p>
        </p:txBody>
      </p:sp>
      <p:grpSp>
        <p:nvGrpSpPr>
          <p:cNvPr id="4" name="Group 3"/>
          <p:cNvGrpSpPr/>
          <p:nvPr/>
        </p:nvGrpSpPr>
        <p:grpSpPr>
          <a:xfrm>
            <a:off x="508000" y="1528763"/>
            <a:ext cx="11171238" cy="4830762"/>
            <a:chOff x="2032000" y="1204996"/>
            <a:chExt cx="8128001" cy="4754247"/>
          </a:xfrm>
        </p:grpSpPr>
        <p:sp>
          <p:nvSpPr>
            <p:cNvPr id="5" name="TextBox 4"/>
            <p:cNvSpPr txBox="1"/>
            <p:nvPr/>
          </p:nvSpPr>
          <p:spPr>
            <a:xfrm>
              <a:off x="2032000" y="1204996"/>
              <a:ext cx="3979104"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7" name="TextBox 26"/>
            <p:cNvSpPr txBox="1"/>
            <p:nvPr/>
          </p:nvSpPr>
          <p:spPr>
            <a:xfrm>
              <a:off x="6184359" y="1204996"/>
              <a:ext cx="3975641"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8" name="TextBox 27"/>
            <p:cNvSpPr txBox="1"/>
            <p:nvPr/>
          </p:nvSpPr>
          <p:spPr>
            <a:xfrm>
              <a:off x="6184361" y="1524000"/>
              <a:ext cx="3975640" cy="19265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p:txBody>
        </p:sp>
        <p:sp>
          <p:nvSpPr>
            <p:cNvPr id="12" name="TextBox 11"/>
            <p:cNvSpPr txBox="1"/>
            <p:nvPr/>
          </p:nvSpPr>
          <p:spPr>
            <a:xfrm>
              <a:off x="2032000" y="3723393"/>
              <a:ext cx="3979104"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3" name="TextBox 12"/>
            <p:cNvSpPr txBox="1"/>
            <p:nvPr/>
          </p:nvSpPr>
          <p:spPr>
            <a:xfrm>
              <a:off x="2032000" y="4032647"/>
              <a:ext cx="3979105" cy="19265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p:txBody>
        </p:sp>
        <p:sp>
          <p:nvSpPr>
            <p:cNvPr id="14" name="TextBox 13"/>
            <p:cNvSpPr txBox="1"/>
            <p:nvPr/>
          </p:nvSpPr>
          <p:spPr>
            <a:xfrm>
              <a:off x="6184359" y="3723393"/>
              <a:ext cx="3975641"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5" name="TextBox 14"/>
            <p:cNvSpPr txBox="1"/>
            <p:nvPr/>
          </p:nvSpPr>
          <p:spPr>
            <a:xfrm>
              <a:off x="6184361" y="4032647"/>
              <a:ext cx="3975640" cy="19265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p:txBody>
        </p:sp>
        <p:sp>
          <p:nvSpPr>
            <p:cNvPr id="18" name="TextBox 17"/>
            <p:cNvSpPr txBox="1"/>
            <p:nvPr/>
          </p:nvSpPr>
          <p:spPr>
            <a:xfrm>
              <a:off x="2032000" y="1522496"/>
              <a:ext cx="3979104" cy="1928100"/>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sed</a:t>
              </a:r>
              <a:r>
                <a:rPr lang="en-US" sz="1400" dirty="0"/>
                <a:t> </a:t>
              </a:r>
              <a:r>
                <a:rPr lang="en-US" sz="1400" dirty="0" err="1"/>
                <a:t>eiusmod</a:t>
              </a:r>
              <a:r>
                <a:rPr lang="en-US" sz="1400" dirty="0"/>
                <a:t> </a:t>
              </a:r>
              <a:r>
                <a:rPr lang="en-US" sz="1400" dirty="0" err="1"/>
                <a:t>tempor</a:t>
              </a:r>
              <a:r>
                <a:rPr lang="en-US" sz="1400" dirty="0"/>
                <a:t> </a:t>
              </a:r>
              <a:r>
                <a:rPr lang="en-US" sz="1400" dirty="0" err="1"/>
                <a:t>incididunt</a:t>
              </a:r>
              <a:endParaRPr lang="en-US" sz="1400" dirty="0"/>
            </a:p>
          </p:txBody>
        </p:sp>
      </p:grpSp>
    </p:spTree>
    <p:extLst>
      <p:ext uri="{BB962C8B-B14F-4D97-AF65-F5344CB8AC3E}">
        <p14:creationId xmlns:p14="http://schemas.microsoft.com/office/powerpoint/2010/main" val="1399317480"/>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p:cNvSpPr>
          <p:nvPr>
            <p:ph type="title"/>
          </p:nvPr>
        </p:nvSpPr>
        <p:spPr/>
        <p:txBody>
          <a:bodyPr/>
          <a:lstStyle/>
          <a:p>
            <a:r>
              <a:rPr lang="en-GB" dirty="0"/>
              <a:t>Flow chart</a:t>
            </a:r>
          </a:p>
        </p:txBody>
      </p:sp>
      <p:grpSp>
        <p:nvGrpSpPr>
          <p:cNvPr id="3" name="Group 2"/>
          <p:cNvGrpSpPr/>
          <p:nvPr/>
        </p:nvGrpSpPr>
        <p:grpSpPr>
          <a:xfrm>
            <a:off x="508000" y="1528763"/>
            <a:ext cx="11171238" cy="4830762"/>
            <a:chOff x="1936750" y="1446212"/>
            <a:chExt cx="8318500" cy="4268786"/>
          </a:xfrm>
        </p:grpSpPr>
        <p:grpSp>
          <p:nvGrpSpPr>
            <p:cNvPr id="2" name="Group 1"/>
            <p:cNvGrpSpPr/>
            <p:nvPr/>
          </p:nvGrpSpPr>
          <p:grpSpPr>
            <a:xfrm>
              <a:off x="1949290" y="2009422"/>
              <a:ext cx="8305960" cy="3705576"/>
              <a:chOff x="374650" y="2044066"/>
              <a:chExt cx="8412164" cy="4152900"/>
            </a:xfrm>
          </p:grpSpPr>
          <p:sp>
            <p:nvSpPr>
              <p:cNvPr id="193538" name="Line 6"/>
              <p:cNvSpPr>
                <a:spLocks noChangeShapeType="1"/>
              </p:cNvSpPr>
              <p:nvPr/>
            </p:nvSpPr>
            <p:spPr bwMode="gray">
              <a:xfrm>
                <a:off x="2322514" y="4147186"/>
                <a:ext cx="541337" cy="0"/>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39" name="Line 7"/>
              <p:cNvSpPr>
                <a:spLocks noChangeShapeType="1"/>
              </p:cNvSpPr>
              <p:nvPr/>
            </p:nvSpPr>
            <p:spPr bwMode="gray">
              <a:xfrm>
                <a:off x="6311900" y="4147186"/>
                <a:ext cx="508000" cy="0"/>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40" name="Line 8"/>
              <p:cNvSpPr>
                <a:spLocks noChangeShapeType="1"/>
              </p:cNvSpPr>
              <p:nvPr/>
            </p:nvSpPr>
            <p:spPr bwMode="gray">
              <a:xfrm>
                <a:off x="4149725" y="2731770"/>
                <a:ext cx="0" cy="436246"/>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41" name="Line 9"/>
              <p:cNvSpPr>
                <a:spLocks noChangeShapeType="1"/>
              </p:cNvSpPr>
              <p:nvPr/>
            </p:nvSpPr>
            <p:spPr bwMode="gray">
              <a:xfrm>
                <a:off x="5029200" y="2731770"/>
                <a:ext cx="0" cy="436246"/>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42" name="Line 10"/>
              <p:cNvSpPr>
                <a:spLocks noChangeShapeType="1"/>
              </p:cNvSpPr>
              <p:nvPr/>
            </p:nvSpPr>
            <p:spPr bwMode="gray">
              <a:xfrm>
                <a:off x="4149725" y="5080636"/>
                <a:ext cx="0" cy="409574"/>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43" name="Line 11"/>
              <p:cNvSpPr>
                <a:spLocks noChangeShapeType="1"/>
              </p:cNvSpPr>
              <p:nvPr/>
            </p:nvSpPr>
            <p:spPr bwMode="gray">
              <a:xfrm>
                <a:off x="5029200" y="5080636"/>
                <a:ext cx="0" cy="419100"/>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44" name="Line 12"/>
              <p:cNvSpPr>
                <a:spLocks noChangeShapeType="1"/>
              </p:cNvSpPr>
              <p:nvPr/>
            </p:nvSpPr>
            <p:spPr bwMode="gray">
              <a:xfrm>
                <a:off x="2322514" y="3248026"/>
                <a:ext cx="541337" cy="0"/>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45" name="Line 13"/>
              <p:cNvSpPr>
                <a:spLocks noChangeShapeType="1"/>
              </p:cNvSpPr>
              <p:nvPr/>
            </p:nvSpPr>
            <p:spPr bwMode="gray">
              <a:xfrm>
                <a:off x="6311900" y="3248026"/>
                <a:ext cx="508000" cy="0"/>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46" name="Line 14"/>
              <p:cNvSpPr>
                <a:spLocks noChangeShapeType="1"/>
              </p:cNvSpPr>
              <p:nvPr/>
            </p:nvSpPr>
            <p:spPr bwMode="gray">
              <a:xfrm>
                <a:off x="2322514" y="4991100"/>
                <a:ext cx="541337" cy="0"/>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193547" name="Line 15"/>
              <p:cNvSpPr>
                <a:spLocks noChangeShapeType="1"/>
              </p:cNvSpPr>
              <p:nvPr/>
            </p:nvSpPr>
            <p:spPr bwMode="gray">
              <a:xfrm>
                <a:off x="6311900" y="4991100"/>
                <a:ext cx="508000" cy="0"/>
              </a:xfrm>
              <a:prstGeom prst="line">
                <a:avLst/>
              </a:prstGeom>
              <a:noFill/>
              <a:ln w="12700">
                <a:solidFill>
                  <a:schemeClr val="bg1">
                    <a:lumMod val="75000"/>
                  </a:schemeClr>
                </a:solidFill>
                <a:round/>
                <a:headEnd/>
                <a:tailEnd/>
              </a:ln>
            </p:spPr>
            <p:txBody>
              <a:bodyPr wrap="none" anchor="ctr"/>
              <a:lstStyle/>
              <a:p>
                <a:endParaRPr lang="en-US" dirty="0">
                  <a:latin typeface="Futura Medium" panose="00000400000000000000" pitchFamily="2" charset="0"/>
                </a:endParaRPr>
              </a:p>
            </p:txBody>
          </p:sp>
          <p:sp>
            <p:nvSpPr>
              <p:cNvPr id="22544" name="Rectangle 16"/>
              <p:cNvSpPr>
                <a:spLocks noChangeArrowheads="1"/>
              </p:cNvSpPr>
              <p:nvPr/>
            </p:nvSpPr>
            <p:spPr bwMode="gray">
              <a:xfrm>
                <a:off x="374650" y="2903220"/>
                <a:ext cx="1979613" cy="699136"/>
              </a:xfrm>
              <a:prstGeom prst="rect">
                <a:avLst/>
              </a:prstGeom>
              <a:solidFill>
                <a:schemeClr val="bg2"/>
              </a:solidFill>
              <a:ln w="12700">
                <a:noFill/>
                <a:miter lim="800000"/>
                <a:headEnd/>
                <a:tailEnd/>
              </a:ln>
            </p:spPr>
            <p:txBody>
              <a:bodyPr wrap="none" lIns="90000" tIns="46800" rIns="90000" bIns="46800" anchor="ctr"/>
              <a:lstStyle/>
              <a:p>
                <a:pPr algn="ctr" defTabSz="841375" fontAlgn="base">
                  <a:lnSpc>
                    <a:spcPts val="2100"/>
                  </a:lnSpc>
                  <a:spcBef>
                    <a:spcPct val="0"/>
                  </a:spcBef>
                  <a:spcAft>
                    <a:spcPct val="0"/>
                  </a:spcAft>
                </a:pPr>
                <a:r>
                  <a:rPr lang="en-GB" sz="1400" dirty="0">
                    <a:cs typeface="Arial" charset="0"/>
                  </a:rPr>
                  <a:t>Option three</a:t>
                </a:r>
              </a:p>
            </p:txBody>
          </p:sp>
          <p:sp>
            <p:nvSpPr>
              <p:cNvPr id="193550" name="Rectangle 17"/>
              <p:cNvSpPr>
                <a:spLocks noChangeArrowheads="1"/>
              </p:cNvSpPr>
              <p:nvPr/>
            </p:nvSpPr>
            <p:spPr bwMode="gray">
              <a:xfrm>
                <a:off x="374650" y="2053591"/>
                <a:ext cx="4125913" cy="674370"/>
              </a:xfrm>
              <a:prstGeom prst="rect">
                <a:avLst/>
              </a:prstGeom>
              <a:solidFill>
                <a:schemeClr val="tx2"/>
              </a:solidFill>
              <a:ln w="12700">
                <a:noFill/>
                <a:miter lim="800000"/>
                <a:headEnd/>
                <a:tailEnd/>
              </a:ln>
              <a:effectLst/>
            </p:spPr>
            <p:txBody>
              <a:bodyPr wrap="none" lIns="90000" tIns="46800" rIns="90000" bIns="46800" anchor="ctr"/>
              <a:lstStyle/>
              <a:p>
                <a:pPr algn="ctr" defTabSz="841375" fontAlgn="base">
                  <a:lnSpc>
                    <a:spcPts val="2100"/>
                  </a:lnSpc>
                  <a:spcBef>
                    <a:spcPct val="0"/>
                  </a:spcBef>
                  <a:spcAft>
                    <a:spcPct val="0"/>
                  </a:spcAft>
                </a:pPr>
                <a:r>
                  <a:rPr lang="en-GB" sz="1400" dirty="0">
                    <a:solidFill>
                      <a:srgbClr val="FFFFFF"/>
                    </a:solidFill>
                    <a:cs typeface="Arial" charset="0"/>
                  </a:rPr>
                  <a:t>Option one</a:t>
                </a:r>
              </a:p>
            </p:txBody>
          </p:sp>
          <p:sp>
            <p:nvSpPr>
              <p:cNvPr id="22546" name="Rectangle 18"/>
              <p:cNvSpPr>
                <a:spLocks noChangeArrowheads="1"/>
              </p:cNvSpPr>
              <p:nvPr/>
            </p:nvSpPr>
            <p:spPr bwMode="gray">
              <a:xfrm>
                <a:off x="374650" y="3771900"/>
                <a:ext cx="1979613" cy="701040"/>
              </a:xfrm>
              <a:prstGeom prst="rect">
                <a:avLst/>
              </a:prstGeom>
              <a:solidFill>
                <a:schemeClr val="bg2"/>
              </a:solidFill>
              <a:ln w="12700">
                <a:noFill/>
                <a:miter lim="800000"/>
                <a:headEnd/>
                <a:tailEnd/>
              </a:ln>
            </p:spPr>
            <p:txBody>
              <a:bodyPr wrap="none" lIns="90000" tIns="46800" rIns="90000" bIns="46800" anchor="ctr"/>
              <a:lstStyle/>
              <a:p>
                <a:pPr algn="ctr" defTabSz="841375" fontAlgn="base">
                  <a:lnSpc>
                    <a:spcPts val="2100"/>
                  </a:lnSpc>
                  <a:spcBef>
                    <a:spcPct val="0"/>
                  </a:spcBef>
                  <a:spcAft>
                    <a:spcPct val="0"/>
                  </a:spcAft>
                </a:pPr>
                <a:r>
                  <a:rPr lang="en-GB" sz="1400" dirty="0">
                    <a:cs typeface="Arial" charset="0"/>
                  </a:rPr>
                  <a:t>Option five</a:t>
                </a:r>
              </a:p>
            </p:txBody>
          </p:sp>
          <p:sp>
            <p:nvSpPr>
              <p:cNvPr id="22547" name="Rectangle 19"/>
              <p:cNvSpPr>
                <a:spLocks noChangeArrowheads="1"/>
              </p:cNvSpPr>
              <p:nvPr/>
            </p:nvSpPr>
            <p:spPr bwMode="gray">
              <a:xfrm>
                <a:off x="374650" y="4642486"/>
                <a:ext cx="1979613" cy="699134"/>
              </a:xfrm>
              <a:prstGeom prst="rect">
                <a:avLst/>
              </a:prstGeom>
              <a:solidFill>
                <a:schemeClr val="bg2"/>
              </a:solidFill>
              <a:ln w="12700">
                <a:noFill/>
                <a:miter lim="800000"/>
                <a:headEnd/>
                <a:tailEnd/>
              </a:ln>
            </p:spPr>
            <p:txBody>
              <a:bodyPr wrap="none" lIns="90000" tIns="46800" rIns="90000" bIns="46800" anchor="ctr"/>
              <a:lstStyle/>
              <a:p>
                <a:pPr algn="ctr" defTabSz="841375" fontAlgn="base">
                  <a:lnSpc>
                    <a:spcPts val="2100"/>
                  </a:lnSpc>
                  <a:spcBef>
                    <a:spcPct val="0"/>
                  </a:spcBef>
                  <a:spcAft>
                    <a:spcPct val="0"/>
                  </a:spcAft>
                </a:pPr>
                <a:r>
                  <a:rPr lang="en-GB" sz="1400" dirty="0">
                    <a:cs typeface="Arial" charset="0"/>
                  </a:rPr>
                  <a:t>Option seven</a:t>
                </a:r>
              </a:p>
            </p:txBody>
          </p:sp>
          <p:sp>
            <p:nvSpPr>
              <p:cNvPr id="193553" name="Rectangle 20"/>
              <p:cNvSpPr>
                <a:spLocks noChangeArrowheads="1"/>
              </p:cNvSpPr>
              <p:nvPr/>
            </p:nvSpPr>
            <p:spPr bwMode="gray">
              <a:xfrm>
                <a:off x="374650" y="5497830"/>
                <a:ext cx="4125913" cy="699136"/>
              </a:xfrm>
              <a:prstGeom prst="rect">
                <a:avLst/>
              </a:prstGeom>
              <a:solidFill>
                <a:schemeClr val="tx2"/>
              </a:solidFill>
              <a:ln w="12700">
                <a:noFill/>
                <a:miter lim="800000"/>
                <a:headEnd/>
                <a:tailEnd/>
              </a:ln>
              <a:effectLst/>
            </p:spPr>
            <p:txBody>
              <a:bodyPr wrap="none" lIns="90000" tIns="46800" rIns="90000" bIns="46800" anchor="ctr"/>
              <a:lstStyle/>
              <a:p>
                <a:pPr algn="ctr" defTabSz="841375" fontAlgn="base">
                  <a:lnSpc>
                    <a:spcPts val="2100"/>
                  </a:lnSpc>
                  <a:spcBef>
                    <a:spcPct val="0"/>
                  </a:spcBef>
                  <a:spcAft>
                    <a:spcPct val="0"/>
                  </a:spcAft>
                </a:pPr>
                <a:r>
                  <a:rPr lang="en-GB" sz="1400" dirty="0">
                    <a:solidFill>
                      <a:srgbClr val="FFFFFF"/>
                    </a:solidFill>
                    <a:cs typeface="Arial" charset="0"/>
                  </a:rPr>
                  <a:t>Option outcome</a:t>
                </a:r>
              </a:p>
            </p:txBody>
          </p:sp>
          <p:sp>
            <p:nvSpPr>
              <p:cNvPr id="193554" name="Rectangle 21"/>
              <p:cNvSpPr>
                <a:spLocks noChangeArrowheads="1"/>
              </p:cNvSpPr>
              <p:nvPr/>
            </p:nvSpPr>
            <p:spPr bwMode="gray">
              <a:xfrm>
                <a:off x="4662489" y="5497830"/>
                <a:ext cx="4124325" cy="699136"/>
              </a:xfrm>
              <a:prstGeom prst="rect">
                <a:avLst/>
              </a:prstGeom>
              <a:solidFill>
                <a:schemeClr val="tx2"/>
              </a:solidFill>
              <a:ln w="12700">
                <a:noFill/>
                <a:miter lim="800000"/>
                <a:headEnd/>
                <a:tailEnd/>
              </a:ln>
              <a:effectLst/>
            </p:spPr>
            <p:txBody>
              <a:bodyPr wrap="none" lIns="90000" tIns="46800" rIns="90000" bIns="46800" anchor="ctr"/>
              <a:lstStyle/>
              <a:p>
                <a:pPr algn="ctr" defTabSz="841375" fontAlgn="base">
                  <a:lnSpc>
                    <a:spcPts val="2100"/>
                  </a:lnSpc>
                  <a:spcBef>
                    <a:spcPct val="0"/>
                  </a:spcBef>
                  <a:spcAft>
                    <a:spcPct val="0"/>
                  </a:spcAft>
                </a:pPr>
                <a:r>
                  <a:rPr lang="en-GB" sz="1400" dirty="0">
                    <a:solidFill>
                      <a:srgbClr val="FFFFFF"/>
                    </a:solidFill>
                    <a:cs typeface="Arial" charset="0"/>
                  </a:rPr>
                  <a:t>Option outcome</a:t>
                </a:r>
              </a:p>
            </p:txBody>
          </p:sp>
          <p:sp>
            <p:nvSpPr>
              <p:cNvPr id="193555" name="Rectangle 22"/>
              <p:cNvSpPr>
                <a:spLocks noChangeArrowheads="1"/>
              </p:cNvSpPr>
              <p:nvPr/>
            </p:nvSpPr>
            <p:spPr bwMode="gray">
              <a:xfrm>
                <a:off x="4662489" y="2044066"/>
                <a:ext cx="4117975" cy="685800"/>
              </a:xfrm>
              <a:prstGeom prst="rect">
                <a:avLst/>
              </a:prstGeom>
              <a:solidFill>
                <a:schemeClr val="tx2"/>
              </a:solidFill>
              <a:ln w="12700">
                <a:noFill/>
                <a:miter lim="800000"/>
                <a:headEnd/>
                <a:tailEnd/>
              </a:ln>
              <a:effectLst/>
            </p:spPr>
            <p:txBody>
              <a:bodyPr wrap="none" lIns="90000" tIns="46800" rIns="90000" bIns="46800" anchor="ctr"/>
              <a:lstStyle/>
              <a:p>
                <a:pPr algn="ctr" defTabSz="841375" fontAlgn="base">
                  <a:lnSpc>
                    <a:spcPts val="2100"/>
                  </a:lnSpc>
                  <a:spcBef>
                    <a:spcPct val="0"/>
                  </a:spcBef>
                  <a:spcAft>
                    <a:spcPct val="0"/>
                  </a:spcAft>
                </a:pPr>
                <a:r>
                  <a:rPr lang="en-GB" sz="1400" dirty="0">
                    <a:solidFill>
                      <a:srgbClr val="FFFFFF"/>
                    </a:solidFill>
                    <a:cs typeface="Arial" charset="0"/>
                  </a:rPr>
                  <a:t>Option two</a:t>
                </a:r>
              </a:p>
            </p:txBody>
          </p:sp>
          <p:sp>
            <p:nvSpPr>
              <p:cNvPr id="22551" name="Rectangle 23"/>
              <p:cNvSpPr>
                <a:spLocks noChangeArrowheads="1"/>
              </p:cNvSpPr>
              <p:nvPr/>
            </p:nvSpPr>
            <p:spPr bwMode="gray">
              <a:xfrm>
                <a:off x="6807201" y="2903220"/>
                <a:ext cx="1978025" cy="699136"/>
              </a:xfrm>
              <a:prstGeom prst="rect">
                <a:avLst/>
              </a:prstGeom>
              <a:solidFill>
                <a:schemeClr val="bg2"/>
              </a:solidFill>
              <a:ln w="12700">
                <a:noFill/>
                <a:miter lim="800000"/>
                <a:headEnd/>
                <a:tailEnd/>
              </a:ln>
            </p:spPr>
            <p:txBody>
              <a:bodyPr wrap="none" lIns="90000" tIns="46800" rIns="90000" bIns="46800" anchor="ctr"/>
              <a:lstStyle/>
              <a:p>
                <a:pPr algn="ctr" defTabSz="841375" fontAlgn="base">
                  <a:lnSpc>
                    <a:spcPts val="2100"/>
                  </a:lnSpc>
                  <a:spcBef>
                    <a:spcPct val="0"/>
                  </a:spcBef>
                  <a:spcAft>
                    <a:spcPct val="0"/>
                  </a:spcAft>
                </a:pPr>
                <a:r>
                  <a:rPr lang="en-GB" sz="1400" dirty="0">
                    <a:cs typeface="Arial" charset="0"/>
                  </a:rPr>
                  <a:t>Option four</a:t>
                </a:r>
              </a:p>
            </p:txBody>
          </p:sp>
          <p:sp>
            <p:nvSpPr>
              <p:cNvPr id="22552" name="Rectangle 24"/>
              <p:cNvSpPr>
                <a:spLocks noChangeArrowheads="1"/>
              </p:cNvSpPr>
              <p:nvPr/>
            </p:nvSpPr>
            <p:spPr bwMode="gray">
              <a:xfrm>
                <a:off x="6807201" y="3771900"/>
                <a:ext cx="1978025" cy="701040"/>
              </a:xfrm>
              <a:prstGeom prst="rect">
                <a:avLst/>
              </a:prstGeom>
              <a:solidFill>
                <a:schemeClr val="bg2"/>
              </a:solidFill>
              <a:ln w="12700">
                <a:noFill/>
                <a:miter lim="800000"/>
                <a:headEnd/>
                <a:tailEnd/>
              </a:ln>
            </p:spPr>
            <p:txBody>
              <a:bodyPr wrap="none" lIns="90000" tIns="46800" rIns="90000" bIns="46800" anchor="ctr"/>
              <a:lstStyle/>
              <a:p>
                <a:pPr algn="ctr" defTabSz="841375" fontAlgn="base">
                  <a:lnSpc>
                    <a:spcPts val="2100"/>
                  </a:lnSpc>
                  <a:spcBef>
                    <a:spcPct val="0"/>
                  </a:spcBef>
                  <a:spcAft>
                    <a:spcPct val="0"/>
                  </a:spcAft>
                </a:pPr>
                <a:r>
                  <a:rPr lang="en-GB" sz="1400" dirty="0">
                    <a:cs typeface="Arial" charset="0"/>
                  </a:rPr>
                  <a:t>Option six</a:t>
                </a:r>
              </a:p>
            </p:txBody>
          </p:sp>
          <p:sp>
            <p:nvSpPr>
              <p:cNvPr id="22553" name="Rectangle 25"/>
              <p:cNvSpPr>
                <a:spLocks noChangeArrowheads="1"/>
              </p:cNvSpPr>
              <p:nvPr/>
            </p:nvSpPr>
            <p:spPr bwMode="gray">
              <a:xfrm>
                <a:off x="6807201" y="4642486"/>
                <a:ext cx="1978025" cy="699134"/>
              </a:xfrm>
              <a:prstGeom prst="rect">
                <a:avLst/>
              </a:prstGeom>
              <a:solidFill>
                <a:schemeClr val="bg2"/>
              </a:solidFill>
              <a:ln w="12700">
                <a:noFill/>
                <a:miter lim="800000"/>
                <a:headEnd/>
                <a:tailEnd/>
              </a:ln>
            </p:spPr>
            <p:txBody>
              <a:bodyPr wrap="none" lIns="90000" tIns="46800" rIns="90000" bIns="46800" anchor="ctr"/>
              <a:lstStyle/>
              <a:p>
                <a:pPr algn="ctr" defTabSz="841375" fontAlgn="base">
                  <a:lnSpc>
                    <a:spcPts val="2100"/>
                  </a:lnSpc>
                  <a:spcBef>
                    <a:spcPct val="0"/>
                  </a:spcBef>
                  <a:spcAft>
                    <a:spcPct val="0"/>
                  </a:spcAft>
                </a:pPr>
                <a:r>
                  <a:rPr lang="en-GB" sz="1400" dirty="0">
                    <a:cs typeface="Arial" charset="0"/>
                  </a:rPr>
                  <a:t>Option eight</a:t>
                </a:r>
              </a:p>
            </p:txBody>
          </p:sp>
          <p:sp>
            <p:nvSpPr>
              <p:cNvPr id="193559" name="Rectangle 26"/>
              <p:cNvSpPr>
                <a:spLocks noChangeArrowheads="1"/>
              </p:cNvSpPr>
              <p:nvPr/>
            </p:nvSpPr>
            <p:spPr bwMode="gray">
              <a:xfrm>
                <a:off x="2862264" y="3164206"/>
                <a:ext cx="3449637" cy="1908810"/>
              </a:xfrm>
              <a:prstGeom prst="rect">
                <a:avLst/>
              </a:prstGeom>
              <a:solidFill>
                <a:schemeClr val="tx2"/>
              </a:solidFill>
              <a:ln w="3175">
                <a:noFill/>
                <a:miter lim="800000"/>
                <a:headEnd/>
                <a:tailEnd/>
              </a:ln>
              <a:effectLst/>
            </p:spPr>
            <p:txBody>
              <a:bodyPr wrap="none" lIns="90000" tIns="46800" rIns="90000" bIns="46800" anchor="ctr"/>
              <a:lstStyle/>
              <a:p>
                <a:pPr algn="ctr" defTabSz="841375" fontAlgn="base">
                  <a:spcBef>
                    <a:spcPct val="0"/>
                  </a:spcBef>
                  <a:spcAft>
                    <a:spcPct val="0"/>
                  </a:spcAft>
                </a:pPr>
                <a:r>
                  <a:rPr lang="en-GB" sz="1600" dirty="0">
                    <a:solidFill>
                      <a:schemeClr val="bg1"/>
                    </a:solidFill>
                    <a:latin typeface="+mj-lt"/>
                    <a:cs typeface="Arial" charset="0"/>
                  </a:rPr>
                  <a:t>Key statement</a:t>
                </a:r>
                <a:br>
                  <a:rPr lang="en-GB" sz="1600" dirty="0">
                    <a:solidFill>
                      <a:schemeClr val="bg1"/>
                    </a:solidFill>
                    <a:latin typeface="+mj-lt"/>
                    <a:cs typeface="Arial" charset="0"/>
                  </a:rPr>
                </a:br>
                <a:r>
                  <a:rPr lang="en-GB" sz="1600" dirty="0">
                    <a:solidFill>
                      <a:schemeClr val="bg1"/>
                    </a:solidFill>
                    <a:latin typeface="+mj-lt"/>
                    <a:cs typeface="Arial" charset="0"/>
                  </a:rPr>
                  <a:t>would go here</a:t>
                </a:r>
              </a:p>
            </p:txBody>
          </p:sp>
        </p:grpSp>
        <p:sp>
          <p:nvSpPr>
            <p:cNvPr id="28" name="Text Box 24"/>
            <p:cNvSpPr txBox="1">
              <a:spLocks noChangeArrowheads="1"/>
            </p:cNvSpPr>
            <p:nvPr/>
          </p:nvSpPr>
          <p:spPr bwMode="gray">
            <a:xfrm>
              <a:off x="1936750" y="1446212"/>
              <a:ext cx="8313561" cy="499536"/>
            </a:xfrm>
            <a:prstGeom prst="rect">
              <a:avLst/>
            </a:prstGeom>
            <a:solidFill>
              <a:schemeClr val="accent1"/>
            </a:solidFill>
            <a:ln w="3175" algn="ctr">
              <a:noFill/>
              <a:miter lim="800000"/>
              <a:headEnd/>
              <a:tailEnd/>
            </a:ln>
            <a:effectLst/>
          </p:spPr>
          <p:txBody>
            <a:bodyPr lIns="64800" tIns="64800" rIns="64800" bIns="64800" anchor="b"/>
            <a:lstStyle/>
            <a:p>
              <a:pPr lvl="0" eaLnBrk="0" fontAlgn="base" hangingPunct="0">
                <a:spcBef>
                  <a:spcPct val="0"/>
                </a:spcBef>
                <a:spcAft>
                  <a:spcPct val="0"/>
                </a:spcAft>
              </a:pPr>
              <a:r>
                <a:rPr lang="en-GB" sz="1600" dirty="0">
                  <a:latin typeface="+mj-lt"/>
                  <a:cs typeface="Arial" charset="0"/>
                </a:rPr>
                <a:t>Key market trend flow</a:t>
              </a:r>
            </a:p>
          </p:txBody>
        </p:sp>
      </p:grpSp>
    </p:spTree>
    <p:extLst>
      <p:ext uri="{BB962C8B-B14F-4D97-AF65-F5344CB8AC3E}">
        <p14:creationId xmlns:p14="http://schemas.microsoft.com/office/powerpoint/2010/main" val="102432089"/>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1" name="Rectangle 57"/>
          <p:cNvSpPr>
            <a:spLocks noGrp="1" noChangeArrowheads="1"/>
          </p:cNvSpPr>
          <p:nvPr>
            <p:ph type="title"/>
            <p:custDataLst>
              <p:tags r:id="rId1"/>
            </p:custDataLst>
          </p:nvPr>
        </p:nvSpPr>
        <p:spPr/>
        <p:txBody>
          <a:bodyPr/>
          <a:lstStyle/>
          <a:p>
            <a:r>
              <a:rPr lang="en-GB" dirty="0"/>
              <a:t>Factors</a:t>
            </a:r>
          </a:p>
        </p:txBody>
      </p:sp>
      <p:grpSp>
        <p:nvGrpSpPr>
          <p:cNvPr id="2" name="Group 1"/>
          <p:cNvGrpSpPr/>
          <p:nvPr/>
        </p:nvGrpSpPr>
        <p:grpSpPr>
          <a:xfrm>
            <a:off x="508000" y="1528763"/>
            <a:ext cx="11171238" cy="4830762"/>
            <a:chOff x="361951" y="1478280"/>
            <a:chExt cx="8424863" cy="4718686"/>
          </a:xfrm>
        </p:grpSpPr>
        <p:sp>
          <p:nvSpPr>
            <p:cNvPr id="1085" name="Rectangle 61"/>
            <p:cNvSpPr>
              <a:spLocks noChangeArrowheads="1"/>
            </p:cNvSpPr>
            <p:nvPr>
              <p:custDataLst>
                <p:tags r:id="rId2"/>
              </p:custDataLst>
            </p:nvPr>
          </p:nvSpPr>
          <p:spPr bwMode="gray">
            <a:xfrm>
              <a:off x="361951" y="3975737"/>
              <a:ext cx="4068763" cy="1615440"/>
            </a:xfrm>
            <a:prstGeom prst="rect">
              <a:avLst/>
            </a:prstGeom>
            <a:solidFill>
              <a:schemeClr val="bg2"/>
            </a:solidFill>
            <a:ln w="9525" cap="flat" cmpd="sng" algn="ctr">
              <a:noFill/>
              <a:prstDash val="solid"/>
              <a:round/>
              <a:headEnd type="none" w="med" len="med"/>
              <a:tailEnd type="none" w="med" len="med"/>
            </a:ln>
            <a:effectLst/>
          </p:spPr>
          <p:txBody>
            <a:bodyPr lIns="90000" tIns="108000" rIns="90000" bIns="72000"/>
            <a:lstStyle/>
            <a:p>
              <a:pPr marL="177800" lvl="1" indent="-177800" fontAlgn="base">
                <a:spcBef>
                  <a:spcPts val="100"/>
                </a:spcBef>
                <a:spcAft>
                  <a:spcPts val="100"/>
                </a:spcAft>
                <a:buClr>
                  <a:schemeClr val="tx1"/>
                </a:buClr>
                <a:buFont typeface="Wingdings" panose="05000000000000000000" pitchFamily="2" charset="2"/>
                <a:buChar char="n"/>
              </a:pPr>
              <a:r>
                <a:rPr lang="en-GB" sz="1400"/>
                <a:t>Text</a:t>
              </a:r>
            </a:p>
            <a:p>
              <a:pPr marL="177800" lvl="1" indent="-177800" fontAlgn="base">
                <a:spcBef>
                  <a:spcPts val="100"/>
                </a:spcBef>
                <a:spcAft>
                  <a:spcPts val="100"/>
                </a:spcAft>
                <a:buClr>
                  <a:schemeClr val="tx1"/>
                </a:buClr>
                <a:buFont typeface="Wingdings" panose="05000000000000000000" pitchFamily="2" charset="2"/>
                <a:buChar char="n"/>
              </a:pPr>
              <a:r>
                <a:rPr lang="en-GB" sz="1400"/>
                <a:t>Text</a:t>
              </a:r>
            </a:p>
          </p:txBody>
        </p:sp>
        <p:sp>
          <p:nvSpPr>
            <p:cNvPr id="1086" name="Rectangle 62"/>
            <p:cNvSpPr>
              <a:spLocks noChangeArrowheads="1"/>
            </p:cNvSpPr>
            <p:nvPr>
              <p:custDataLst>
                <p:tags r:id="rId3"/>
              </p:custDataLst>
            </p:nvPr>
          </p:nvSpPr>
          <p:spPr bwMode="gray">
            <a:xfrm>
              <a:off x="4718051" y="3975737"/>
              <a:ext cx="4068763" cy="1615440"/>
            </a:xfrm>
            <a:prstGeom prst="rect">
              <a:avLst/>
            </a:prstGeom>
            <a:solidFill>
              <a:schemeClr val="bg2"/>
            </a:solidFill>
            <a:ln w="9525" cap="flat" cmpd="sng" algn="ctr">
              <a:noFill/>
              <a:prstDash val="solid"/>
              <a:round/>
              <a:headEnd type="none" w="med" len="med"/>
              <a:tailEnd type="none" w="med" len="med"/>
            </a:ln>
            <a:effectLst/>
          </p:spPr>
          <p:txBody>
            <a:bodyPr lIns="90000" tIns="108000" rIns="90000" bIns="72000"/>
            <a:lstStyle/>
            <a:p>
              <a:pPr marL="177800" lvl="1" indent="-177800" fontAlgn="base">
                <a:spcBef>
                  <a:spcPts val="100"/>
                </a:spcBef>
                <a:spcAft>
                  <a:spcPts val="100"/>
                </a:spcAft>
                <a:buClr>
                  <a:schemeClr val="tx1"/>
                </a:buClr>
                <a:buFont typeface="Wingdings" panose="05000000000000000000" pitchFamily="2" charset="2"/>
                <a:buChar char="n"/>
              </a:pPr>
              <a:endParaRPr lang="en-GB" sz="1400" dirty="0"/>
            </a:p>
            <a:p>
              <a:pPr marL="177800" lvl="1" indent="-177800" fontAlgn="base">
                <a:spcBef>
                  <a:spcPts val="100"/>
                </a:spcBef>
                <a:spcAft>
                  <a:spcPts val="100"/>
                </a:spcAft>
                <a:buClr>
                  <a:schemeClr val="tx1"/>
                </a:buClr>
                <a:buFont typeface="Wingdings" panose="05000000000000000000" pitchFamily="2" charset="2"/>
                <a:buChar char="n"/>
              </a:pPr>
              <a:r>
                <a:rPr lang="en-GB" sz="1400" dirty="0"/>
                <a:t>Text</a:t>
              </a:r>
            </a:p>
            <a:p>
              <a:pPr marL="177800" lvl="1" indent="-177800" fontAlgn="base">
                <a:spcBef>
                  <a:spcPts val="100"/>
                </a:spcBef>
                <a:spcAft>
                  <a:spcPts val="100"/>
                </a:spcAft>
                <a:buClr>
                  <a:schemeClr val="tx1"/>
                </a:buClr>
                <a:buFont typeface="Wingdings" panose="05000000000000000000" pitchFamily="2" charset="2"/>
                <a:buChar char="n"/>
              </a:pPr>
              <a:r>
                <a:rPr lang="en-GB" sz="1400" dirty="0"/>
                <a:t>Text</a:t>
              </a:r>
            </a:p>
          </p:txBody>
        </p:sp>
        <p:sp>
          <p:nvSpPr>
            <p:cNvPr id="17" name="Rectangle 63"/>
            <p:cNvSpPr>
              <a:spLocks noChangeArrowheads="1"/>
            </p:cNvSpPr>
            <p:nvPr>
              <p:custDataLst>
                <p:tags r:id="rId4"/>
              </p:custDataLst>
            </p:nvPr>
          </p:nvSpPr>
          <p:spPr bwMode="gray">
            <a:xfrm>
              <a:off x="361951" y="1478280"/>
              <a:ext cx="4068763" cy="601979"/>
            </a:xfrm>
            <a:prstGeom prst="rect">
              <a:avLst/>
            </a:prstGeom>
            <a:solidFill>
              <a:schemeClr val="accent1"/>
            </a:solidFill>
            <a:ln w="9525">
              <a:noFill/>
              <a:round/>
              <a:headEnd/>
              <a:tailEnd/>
            </a:ln>
          </p:spPr>
          <p:txBody>
            <a:bodyPr lIns="90000" tIns="72000" rIns="90000" bIns="72000" anchor="b"/>
            <a:lstStyle/>
            <a:p>
              <a:pPr lvl="0" fontAlgn="base">
                <a:spcBef>
                  <a:spcPct val="0"/>
                </a:spcBef>
                <a:spcAft>
                  <a:spcPct val="0"/>
                </a:spcAft>
              </a:pPr>
              <a:r>
                <a:rPr lang="en-GB" sz="1600" dirty="0">
                  <a:latin typeface="+mj-lt"/>
                </a:rPr>
                <a:t>Headline</a:t>
              </a:r>
            </a:p>
          </p:txBody>
        </p:sp>
        <p:sp>
          <p:nvSpPr>
            <p:cNvPr id="1088" name="Rectangle 64"/>
            <p:cNvSpPr>
              <a:spLocks noChangeArrowheads="1"/>
            </p:cNvSpPr>
            <p:nvPr>
              <p:custDataLst>
                <p:tags r:id="rId5"/>
              </p:custDataLst>
            </p:nvPr>
          </p:nvSpPr>
          <p:spPr bwMode="gray">
            <a:xfrm>
              <a:off x="361951" y="2080259"/>
              <a:ext cx="4068763" cy="1607820"/>
            </a:xfrm>
            <a:prstGeom prst="rect">
              <a:avLst/>
            </a:prstGeom>
            <a:solidFill>
              <a:schemeClr val="bg2"/>
            </a:solidFill>
            <a:ln w="9525" cap="flat" cmpd="sng" algn="ctr">
              <a:noFill/>
              <a:prstDash val="solid"/>
              <a:round/>
              <a:headEnd type="none" w="med" len="med"/>
              <a:tailEnd type="none" w="med" len="med"/>
            </a:ln>
            <a:effectLst/>
          </p:spPr>
          <p:txBody>
            <a:bodyPr lIns="90000" tIns="108000" rIns="90000" bIns="72000"/>
            <a:lstStyle/>
            <a:p>
              <a:pPr marL="177800" lvl="1" indent="-177800" fontAlgn="base">
                <a:spcBef>
                  <a:spcPts val="100"/>
                </a:spcBef>
                <a:spcAft>
                  <a:spcPts val="100"/>
                </a:spcAft>
                <a:buClr>
                  <a:schemeClr val="tx1"/>
                </a:buClr>
                <a:buFont typeface="Wingdings" panose="05000000000000000000" pitchFamily="2" charset="2"/>
                <a:buChar char="n"/>
              </a:pPr>
              <a:r>
                <a:rPr lang="en-GB" sz="1400" dirty="0"/>
                <a:t>Text</a:t>
              </a:r>
            </a:p>
            <a:p>
              <a:pPr marL="177800" lvl="1" indent="-177800" fontAlgn="base">
                <a:spcBef>
                  <a:spcPts val="100"/>
                </a:spcBef>
                <a:spcAft>
                  <a:spcPts val="100"/>
                </a:spcAft>
                <a:buClr>
                  <a:schemeClr val="tx1"/>
                </a:buClr>
                <a:buFont typeface="Wingdings" panose="05000000000000000000" pitchFamily="2" charset="2"/>
                <a:buChar char="n"/>
              </a:pPr>
              <a:r>
                <a:rPr lang="en-GB" sz="1400" dirty="0"/>
                <a:t>Text</a:t>
              </a:r>
            </a:p>
          </p:txBody>
        </p:sp>
        <p:sp>
          <p:nvSpPr>
            <p:cNvPr id="20" name="Rectangle 65"/>
            <p:cNvSpPr>
              <a:spLocks noChangeArrowheads="1"/>
            </p:cNvSpPr>
            <p:nvPr>
              <p:custDataLst>
                <p:tags r:id="rId6"/>
              </p:custDataLst>
            </p:nvPr>
          </p:nvSpPr>
          <p:spPr bwMode="gray">
            <a:xfrm>
              <a:off x="4718051" y="1478280"/>
              <a:ext cx="4068763" cy="601979"/>
            </a:xfrm>
            <a:prstGeom prst="rect">
              <a:avLst/>
            </a:prstGeom>
            <a:solidFill>
              <a:schemeClr val="accent1"/>
            </a:solidFill>
            <a:ln w="9525">
              <a:noFill/>
              <a:round/>
              <a:headEnd/>
              <a:tailEnd/>
            </a:ln>
          </p:spPr>
          <p:txBody>
            <a:bodyPr lIns="90000" tIns="72000" rIns="90000" bIns="72000" anchor="b"/>
            <a:lstStyle/>
            <a:p>
              <a:pPr lvl="0" fontAlgn="base">
                <a:spcBef>
                  <a:spcPct val="0"/>
                </a:spcBef>
                <a:spcAft>
                  <a:spcPct val="0"/>
                </a:spcAft>
              </a:pPr>
              <a:r>
                <a:rPr lang="en-GB" sz="1600">
                  <a:latin typeface="+mj-lt"/>
                </a:rPr>
                <a:t>Headline</a:t>
              </a:r>
            </a:p>
          </p:txBody>
        </p:sp>
        <p:sp>
          <p:nvSpPr>
            <p:cNvPr id="1090" name="Rectangle 66"/>
            <p:cNvSpPr>
              <a:spLocks noChangeArrowheads="1"/>
            </p:cNvSpPr>
            <p:nvPr>
              <p:custDataLst>
                <p:tags r:id="rId7"/>
              </p:custDataLst>
            </p:nvPr>
          </p:nvSpPr>
          <p:spPr bwMode="gray">
            <a:xfrm>
              <a:off x="4718051" y="2080259"/>
              <a:ext cx="4068763" cy="1607820"/>
            </a:xfrm>
            <a:prstGeom prst="rect">
              <a:avLst/>
            </a:prstGeom>
            <a:solidFill>
              <a:schemeClr val="bg2"/>
            </a:solidFill>
            <a:ln w="9525" cap="flat" cmpd="sng" algn="ctr">
              <a:noFill/>
              <a:prstDash val="solid"/>
              <a:round/>
              <a:headEnd type="none" w="med" len="med"/>
              <a:tailEnd type="none" w="med" len="med"/>
            </a:ln>
            <a:effectLst/>
          </p:spPr>
          <p:txBody>
            <a:bodyPr lIns="90000" tIns="108000" rIns="90000" bIns="72000"/>
            <a:lstStyle/>
            <a:p>
              <a:pPr marL="177800" lvl="1" indent="-177800" fontAlgn="base">
                <a:spcBef>
                  <a:spcPts val="100"/>
                </a:spcBef>
                <a:spcAft>
                  <a:spcPts val="100"/>
                </a:spcAft>
                <a:buClr>
                  <a:schemeClr val="tx1"/>
                </a:buClr>
                <a:buFont typeface="Wingdings" panose="05000000000000000000" pitchFamily="2" charset="2"/>
                <a:buChar char="n"/>
              </a:pPr>
              <a:r>
                <a:rPr lang="en-GB" sz="1400" dirty="0"/>
                <a:t>Text</a:t>
              </a:r>
            </a:p>
            <a:p>
              <a:pPr marL="177800" lvl="1" indent="-177800" fontAlgn="base">
                <a:spcBef>
                  <a:spcPts val="100"/>
                </a:spcBef>
                <a:spcAft>
                  <a:spcPts val="100"/>
                </a:spcAft>
                <a:buClr>
                  <a:schemeClr val="tx1"/>
                </a:buClr>
                <a:buFont typeface="Wingdings" panose="05000000000000000000" pitchFamily="2" charset="2"/>
                <a:buChar char="n"/>
              </a:pPr>
              <a:r>
                <a:rPr lang="en-GB" sz="1400" dirty="0"/>
                <a:t>Text</a:t>
              </a:r>
            </a:p>
          </p:txBody>
        </p:sp>
        <p:sp>
          <p:nvSpPr>
            <p:cNvPr id="23" name="Rectangle 67"/>
            <p:cNvSpPr>
              <a:spLocks noChangeArrowheads="1"/>
            </p:cNvSpPr>
            <p:nvPr>
              <p:custDataLst>
                <p:tags r:id="rId8"/>
              </p:custDataLst>
            </p:nvPr>
          </p:nvSpPr>
          <p:spPr bwMode="gray">
            <a:xfrm>
              <a:off x="361951" y="5591176"/>
              <a:ext cx="4068763" cy="605790"/>
            </a:xfrm>
            <a:prstGeom prst="rect">
              <a:avLst/>
            </a:prstGeom>
            <a:solidFill>
              <a:schemeClr val="accent1"/>
            </a:solidFill>
            <a:ln w="9525">
              <a:noFill/>
              <a:round/>
              <a:headEnd/>
              <a:tailEnd/>
            </a:ln>
          </p:spPr>
          <p:txBody>
            <a:bodyPr lIns="90000" tIns="72000" rIns="90000" bIns="72000" anchor="b"/>
            <a:lstStyle/>
            <a:p>
              <a:pPr lvl="0" fontAlgn="base">
                <a:spcBef>
                  <a:spcPct val="0"/>
                </a:spcBef>
                <a:spcAft>
                  <a:spcPct val="0"/>
                </a:spcAft>
              </a:pPr>
              <a:r>
                <a:rPr lang="en-GB" sz="1600">
                  <a:latin typeface="+mj-lt"/>
                </a:rPr>
                <a:t>Headline</a:t>
              </a:r>
            </a:p>
          </p:txBody>
        </p:sp>
        <p:sp>
          <p:nvSpPr>
            <p:cNvPr id="26" name="Rectangle 68"/>
            <p:cNvSpPr>
              <a:spLocks noChangeArrowheads="1"/>
            </p:cNvSpPr>
            <p:nvPr>
              <p:custDataLst>
                <p:tags r:id="rId9"/>
              </p:custDataLst>
            </p:nvPr>
          </p:nvSpPr>
          <p:spPr bwMode="gray">
            <a:xfrm>
              <a:off x="4718051" y="5591176"/>
              <a:ext cx="4068763" cy="605790"/>
            </a:xfrm>
            <a:prstGeom prst="rect">
              <a:avLst/>
            </a:prstGeom>
            <a:solidFill>
              <a:schemeClr val="accent1"/>
            </a:solidFill>
            <a:ln w="9525">
              <a:noFill/>
              <a:round/>
              <a:headEnd/>
              <a:tailEnd/>
            </a:ln>
          </p:spPr>
          <p:txBody>
            <a:bodyPr lIns="90000" tIns="72000" rIns="90000" bIns="72000" anchor="b"/>
            <a:lstStyle/>
            <a:p>
              <a:pPr lvl="0" fontAlgn="base">
                <a:spcBef>
                  <a:spcPct val="0"/>
                </a:spcBef>
                <a:spcAft>
                  <a:spcPct val="0"/>
                </a:spcAft>
              </a:pPr>
              <a:r>
                <a:rPr lang="en-GB" sz="1600">
                  <a:latin typeface="+mj-lt"/>
                </a:rPr>
                <a:t>Headline</a:t>
              </a:r>
            </a:p>
          </p:txBody>
        </p:sp>
        <p:sp>
          <p:nvSpPr>
            <p:cNvPr id="31" name="Oval 70"/>
            <p:cNvSpPr>
              <a:spLocks noChangeArrowheads="1"/>
            </p:cNvSpPr>
            <p:nvPr/>
          </p:nvSpPr>
          <p:spPr bwMode="gray">
            <a:xfrm>
              <a:off x="3999542" y="3028560"/>
              <a:ext cx="1153271" cy="1427419"/>
            </a:xfrm>
            <a:prstGeom prst="ellipse">
              <a:avLst/>
            </a:prstGeom>
            <a:solidFill>
              <a:schemeClr val="tx2"/>
            </a:solidFill>
            <a:ln w="9525">
              <a:noFill/>
              <a:round/>
              <a:headEnd/>
              <a:tailEnd/>
            </a:ln>
          </p:spPr>
          <p:txBody>
            <a:bodyPr lIns="0" tIns="0" rIns="0" bIns="0" anchor="ctr"/>
            <a:lstStyle/>
            <a:p>
              <a:pPr lvl="0" algn="ctr">
                <a:defRPr/>
              </a:pPr>
              <a:r>
                <a:rPr lang="en-US" sz="1600" dirty="0">
                  <a:solidFill>
                    <a:schemeClr val="bg1"/>
                  </a:solidFill>
                  <a:latin typeface="+mj-lt"/>
                </a:rPr>
                <a:t>Key point</a:t>
              </a:r>
            </a:p>
          </p:txBody>
        </p:sp>
      </p:grpSp>
    </p:spTree>
    <p:extLst>
      <p:ext uri="{BB962C8B-B14F-4D97-AF65-F5344CB8AC3E}">
        <p14:creationId xmlns:p14="http://schemas.microsoft.com/office/powerpoint/2010/main" val="1253697427"/>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5"/>
          <p:cNvSpPr>
            <a:spLocks noGrp="1" noChangeArrowheads="1"/>
          </p:cNvSpPr>
          <p:nvPr>
            <p:ph type="title"/>
          </p:nvPr>
        </p:nvSpPr>
        <p:spPr/>
        <p:txBody>
          <a:bodyPr/>
          <a:lstStyle/>
          <a:p>
            <a:pPr lvl="0"/>
            <a:r>
              <a:rPr lang="en-US"/>
              <a:t>Multiple column table</a:t>
            </a:r>
          </a:p>
        </p:txBody>
      </p:sp>
      <p:graphicFrame>
        <p:nvGraphicFramePr>
          <p:cNvPr id="346142" name="Group 30"/>
          <p:cNvGraphicFramePr>
            <a:graphicFrameLocks noGrp="1"/>
          </p:cNvGraphicFramePr>
          <p:nvPr>
            <p:extLst>
              <p:ext uri="{D42A27DB-BD31-4B8C-83A1-F6EECF244321}">
                <p14:modId xmlns:p14="http://schemas.microsoft.com/office/powerpoint/2010/main" val="3368425500"/>
              </p:ext>
            </p:extLst>
          </p:nvPr>
        </p:nvGraphicFramePr>
        <p:xfrm>
          <a:off x="507998" y="1528763"/>
          <a:ext cx="10220680" cy="4830763"/>
        </p:xfrm>
        <a:graphic>
          <a:graphicData uri="http://schemas.openxmlformats.org/drawingml/2006/table">
            <a:tbl>
              <a:tblPr rtl="1"/>
              <a:tblGrid>
                <a:gridCol w="2406615">
                  <a:extLst>
                    <a:ext uri="{9D8B030D-6E8A-4147-A177-3AD203B41FA5}">
                      <a16:colId xmlns:a16="http://schemas.microsoft.com/office/drawing/2014/main" val="20000"/>
                    </a:ext>
                  </a:extLst>
                </a:gridCol>
                <a:gridCol w="2701441">
                  <a:extLst>
                    <a:ext uri="{9D8B030D-6E8A-4147-A177-3AD203B41FA5}">
                      <a16:colId xmlns:a16="http://schemas.microsoft.com/office/drawing/2014/main" val="20001"/>
                    </a:ext>
                  </a:extLst>
                </a:gridCol>
                <a:gridCol w="2557454">
                  <a:extLst>
                    <a:ext uri="{9D8B030D-6E8A-4147-A177-3AD203B41FA5}">
                      <a16:colId xmlns:a16="http://schemas.microsoft.com/office/drawing/2014/main" val="20002"/>
                    </a:ext>
                  </a:extLst>
                </a:gridCol>
                <a:gridCol w="2555170">
                  <a:extLst>
                    <a:ext uri="{9D8B030D-6E8A-4147-A177-3AD203B41FA5}">
                      <a16:colId xmlns:a16="http://schemas.microsoft.com/office/drawing/2014/main" val="20003"/>
                    </a:ext>
                  </a:extLst>
                </a:gridCol>
              </a:tblGrid>
              <a:tr h="1091741">
                <a:tc>
                  <a:txBody>
                    <a:bodyPr/>
                    <a:lstStyle/>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endParaRPr lang="en-GB" sz="1400" kern="1200" noProof="0" dirty="0">
                        <a:solidFill>
                          <a:schemeClr val="tx1"/>
                        </a:solidFill>
                        <a:latin typeface="+mn-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2813" rtl="0" eaLnBrk="1" fontAlgn="base" latinLnBrk="0" hangingPunct="1">
                        <a:lnSpc>
                          <a:spcPct val="90000"/>
                        </a:lnSpc>
                        <a:spcBef>
                          <a:spcPct val="0"/>
                        </a:spcBef>
                        <a:spcAft>
                          <a:spcPct val="20000"/>
                        </a:spcAft>
                        <a:buClr>
                          <a:srgbClr val="FF0000"/>
                        </a:buClr>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Point four</a:t>
                      </a:r>
                      <a:endParaRPr kumimoji="0" lang="en-GB" sz="1200" b="0" i="0" u="none" strike="noStrike" kern="1200" cap="none" spc="0" normalizeH="0" baseline="0" noProof="0" dirty="0">
                        <a:ln>
                          <a:noFill/>
                        </a:ln>
                        <a:solidFill>
                          <a:srgbClr val="000000"/>
                        </a:solidFill>
                        <a:effectLst/>
                        <a:uLnTx/>
                        <a:uFillTx/>
                        <a:latin typeface="+mj-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2813" rtl="0" eaLnBrk="1" fontAlgn="base" latinLnBrk="0" hangingPunct="1">
                        <a:lnSpc>
                          <a:spcPct val="90000"/>
                        </a:lnSpc>
                        <a:spcBef>
                          <a:spcPct val="0"/>
                        </a:spcBef>
                        <a:spcAft>
                          <a:spcPct val="20000"/>
                        </a:spcAft>
                        <a:buClr>
                          <a:srgbClr val="FF0000"/>
                        </a:buClr>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Point one</a:t>
                      </a:r>
                      <a:endParaRPr kumimoji="0" lang="en-GB" sz="1600" b="0" i="0" u="none" strike="noStrike" kern="1200" cap="none" spc="0" normalizeH="0" baseline="0" noProof="0" dirty="0">
                        <a:ln>
                          <a:noFill/>
                        </a:ln>
                        <a:solidFill>
                          <a:srgbClr val="FFFFFF"/>
                        </a:solidFill>
                        <a:effectLst/>
                        <a:uLnTx/>
                        <a:uFillTx/>
                        <a:latin typeface="+mj-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1402850">
                <a:tc>
                  <a:txBody>
                    <a:bodyPr/>
                    <a:lstStyle/>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endParaRPr lang="en-GB" sz="1400" kern="1200" noProof="0" dirty="0">
                        <a:solidFill>
                          <a:schemeClr val="tx1"/>
                        </a:solidFill>
                        <a:latin typeface="+mn-lt"/>
                        <a:ea typeface="+mn-ea"/>
                        <a:cs typeface="+mn-cs"/>
                      </a:endParaRP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endParaRPr lang="en-GB" sz="1400" kern="1200" noProof="0" dirty="0">
                        <a:solidFill>
                          <a:schemeClr val="tx1"/>
                        </a:solidFill>
                        <a:latin typeface="+mn-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2813" rtl="0" eaLnBrk="1" fontAlgn="base" latinLnBrk="0" hangingPunct="1">
                        <a:lnSpc>
                          <a:spcPct val="90000"/>
                        </a:lnSpc>
                        <a:spcBef>
                          <a:spcPct val="0"/>
                        </a:spcBef>
                        <a:spcAft>
                          <a:spcPct val="20000"/>
                        </a:spcAft>
                        <a:buClr>
                          <a:srgbClr val="FF0000"/>
                        </a:buClr>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Point five</a:t>
                      </a:r>
                      <a:endParaRPr kumimoji="0" lang="en-GB" sz="1600" b="0" i="0" u="none" strike="noStrike" kern="1200" cap="none" spc="0" normalizeH="0" baseline="0" noProof="0" dirty="0">
                        <a:ln>
                          <a:noFill/>
                        </a:ln>
                        <a:solidFill>
                          <a:srgbClr val="FFFFFF"/>
                        </a:solidFill>
                        <a:effectLst/>
                        <a:uLnTx/>
                        <a:uFillTx/>
                        <a:latin typeface="+mj-lt"/>
                        <a:ea typeface="+mn-ea"/>
                        <a:cs typeface="+mn-cs"/>
                      </a:endParaRPr>
                    </a:p>
                    <a:p>
                      <a:pPr marL="0" marR="0" lvl="0" indent="0" algn="l" defTabSz="912813" rtl="0" eaLnBrk="1" fontAlgn="base" latinLnBrk="0" hangingPunct="1">
                        <a:lnSpc>
                          <a:spcPct val="90000"/>
                        </a:lnSpc>
                        <a:spcBef>
                          <a:spcPct val="0"/>
                        </a:spcBef>
                        <a:spcAft>
                          <a:spcPct val="20000"/>
                        </a:spcAft>
                        <a:buClr>
                          <a:srgbClr val="FF0000"/>
                        </a:buClr>
                        <a:buSzTx/>
                        <a:buFontTx/>
                        <a:buNone/>
                        <a:tabLst/>
                        <a:defRPr/>
                      </a:pPr>
                      <a:endParaRPr kumimoji="0" lang="en-GB" sz="1200" b="0" i="0" u="none" strike="noStrike" kern="1200" cap="none" spc="0" normalizeH="0" baseline="0" noProof="0" dirty="0">
                        <a:ln>
                          <a:noFill/>
                        </a:ln>
                        <a:solidFill>
                          <a:srgbClr val="000000"/>
                        </a:solidFill>
                        <a:effectLst/>
                        <a:uLnTx/>
                        <a:uFillTx/>
                        <a:latin typeface="+mj-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endParaRPr lang="en-GB" sz="1400" kern="1200" noProof="0" dirty="0">
                        <a:solidFill>
                          <a:schemeClr val="tx1"/>
                        </a:solidFill>
                        <a:latin typeface="+mn-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2813" rtl="0" eaLnBrk="1" fontAlgn="base" latinLnBrk="0" hangingPunct="1">
                        <a:lnSpc>
                          <a:spcPct val="90000"/>
                        </a:lnSpc>
                        <a:spcBef>
                          <a:spcPct val="0"/>
                        </a:spcBef>
                        <a:spcAft>
                          <a:spcPct val="20000"/>
                        </a:spcAft>
                        <a:buClr>
                          <a:srgbClr val="FF0000"/>
                        </a:buClr>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Point two</a:t>
                      </a:r>
                      <a:endParaRPr kumimoji="0" lang="en-GB" sz="1600" b="0" i="0" u="none" strike="noStrike" kern="1200" cap="none" spc="0" normalizeH="0" baseline="0" noProof="0" dirty="0">
                        <a:ln>
                          <a:noFill/>
                        </a:ln>
                        <a:solidFill>
                          <a:srgbClr val="FFFFFF"/>
                        </a:solidFill>
                        <a:effectLst/>
                        <a:uLnTx/>
                        <a:uFillTx/>
                        <a:latin typeface="+mj-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2336172">
                <a:tc>
                  <a:txBody>
                    <a:bodyPr/>
                    <a:lstStyle/>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defRPr/>
                      </a:pPr>
                      <a:r>
                        <a:rPr lang="en-US" sz="1400" kern="1200" noProof="0" dirty="0">
                          <a:solidFill>
                            <a:schemeClr val="tx1"/>
                          </a:solidFill>
                          <a:latin typeface="+mn-lt"/>
                          <a:ea typeface="+mn-ea"/>
                          <a:cs typeface="+mn-cs"/>
                        </a:rPr>
                        <a:t>Detail point here</a:t>
                      </a:r>
                      <a:endParaRPr lang="en-GB" sz="1400" kern="1200" noProof="0" dirty="0">
                        <a:solidFill>
                          <a:schemeClr val="tx1"/>
                        </a:solidFill>
                        <a:latin typeface="+mn-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2813" rtl="0" eaLnBrk="1" fontAlgn="base" latinLnBrk="0" hangingPunct="1">
                        <a:lnSpc>
                          <a:spcPct val="90000"/>
                        </a:lnSpc>
                        <a:spcBef>
                          <a:spcPct val="0"/>
                        </a:spcBef>
                        <a:spcAft>
                          <a:spcPct val="20000"/>
                        </a:spcAft>
                        <a:buClr>
                          <a:srgbClr val="FF0000"/>
                        </a:buClr>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Point six</a:t>
                      </a:r>
                      <a:endParaRPr kumimoji="0" lang="en-GB" sz="1600" b="0" i="0" u="none" strike="noStrike" kern="1200" cap="none" spc="0" normalizeH="0" baseline="0" noProof="0" dirty="0">
                        <a:ln>
                          <a:noFill/>
                        </a:ln>
                        <a:solidFill>
                          <a:srgbClr val="FFFFFF"/>
                        </a:solidFill>
                        <a:effectLst/>
                        <a:uLnTx/>
                        <a:uFillTx/>
                        <a:latin typeface="+mj-lt"/>
                        <a:ea typeface="+mn-ea"/>
                        <a:cs typeface="+mn-cs"/>
                      </a:endParaRPr>
                    </a:p>
                    <a:p>
                      <a:pPr marL="0" marR="0" lvl="0" indent="0" algn="l" defTabSz="912813" rtl="0" eaLnBrk="1" fontAlgn="base" latinLnBrk="0" hangingPunct="1">
                        <a:lnSpc>
                          <a:spcPct val="90000"/>
                        </a:lnSpc>
                        <a:spcBef>
                          <a:spcPct val="0"/>
                        </a:spcBef>
                        <a:spcAft>
                          <a:spcPct val="20000"/>
                        </a:spcAft>
                        <a:buClr>
                          <a:srgbClr val="FF0000"/>
                        </a:buClr>
                        <a:buSzTx/>
                        <a:buFontTx/>
                        <a:buNone/>
                        <a:tabLst/>
                        <a:defRPr/>
                      </a:pPr>
                      <a:endParaRPr kumimoji="0" lang="en-GB" sz="1200" b="0" i="0" u="none" strike="noStrike" kern="1200" cap="none" spc="0" normalizeH="0" baseline="0" noProof="0" dirty="0">
                        <a:ln>
                          <a:noFill/>
                        </a:ln>
                        <a:solidFill>
                          <a:srgbClr val="000000"/>
                        </a:solidFill>
                        <a:effectLst/>
                        <a:uLnTx/>
                        <a:uFillTx/>
                        <a:latin typeface="+mj-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90000"/>
                        </a:lnSpc>
                        <a:spcBef>
                          <a:spcPts val="100"/>
                        </a:spcBef>
                        <a:spcAft>
                          <a:spcPts val="100"/>
                        </a:spcAft>
                        <a:buClr>
                          <a:schemeClr val="tx2"/>
                        </a:buClr>
                        <a:buSzTx/>
                        <a:buFontTx/>
                        <a:buNone/>
                        <a:tabLst>
                          <a:tab pos="895350" algn="l"/>
                        </a:tabLst>
                        <a:defRPr/>
                      </a:pPr>
                      <a:r>
                        <a:rPr lang="en-US" sz="1400" kern="1200" noProof="0" dirty="0">
                          <a:solidFill>
                            <a:schemeClr val="tx1"/>
                          </a:solidFill>
                          <a:latin typeface="+mn-lt"/>
                          <a:ea typeface="+mn-ea"/>
                          <a:cs typeface="+mn-cs"/>
                        </a:rPr>
                        <a:t>Detail point here 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tab pos="895350" algn="l"/>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tab pos="895350" algn="l"/>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tab pos="895350" algn="l"/>
                        </a:tabLst>
                        <a:defRPr/>
                      </a:pPr>
                      <a:r>
                        <a:rPr lang="en-US" sz="1400" kern="1200" noProof="0" dirty="0">
                          <a:solidFill>
                            <a:schemeClr val="tx1"/>
                          </a:solidFill>
                          <a:latin typeface="+mn-lt"/>
                          <a:ea typeface="+mn-ea"/>
                          <a:cs typeface="+mn-cs"/>
                        </a:rPr>
                        <a:t>Detail point here</a:t>
                      </a:r>
                    </a:p>
                    <a:p>
                      <a:pPr marL="0" marR="0" lvl="0" indent="0" algn="l" defTabSz="914400" rtl="0" eaLnBrk="1" fontAlgn="base" latinLnBrk="0" hangingPunct="1">
                        <a:lnSpc>
                          <a:spcPct val="90000"/>
                        </a:lnSpc>
                        <a:spcBef>
                          <a:spcPts val="100"/>
                        </a:spcBef>
                        <a:spcAft>
                          <a:spcPts val="100"/>
                        </a:spcAft>
                        <a:buClr>
                          <a:schemeClr val="tx2"/>
                        </a:buClr>
                        <a:buSzTx/>
                        <a:buFontTx/>
                        <a:buNone/>
                        <a:tabLst>
                          <a:tab pos="895350" algn="l"/>
                        </a:tabLst>
                        <a:defRPr/>
                      </a:pPr>
                      <a:r>
                        <a:rPr lang="en-US" sz="1400" kern="1200" noProof="0" dirty="0">
                          <a:solidFill>
                            <a:schemeClr val="tx1"/>
                          </a:solidFill>
                          <a:latin typeface="+mn-lt"/>
                          <a:ea typeface="+mn-ea"/>
                          <a:cs typeface="+mn-cs"/>
                        </a:rPr>
                        <a:t>Detail point here</a:t>
                      </a:r>
                      <a:endParaRPr lang="en-GB" sz="1400" kern="1200" noProof="0" dirty="0">
                        <a:solidFill>
                          <a:schemeClr val="tx1"/>
                        </a:solidFill>
                        <a:latin typeface="+mn-lt"/>
                        <a:ea typeface="+mn-ea"/>
                        <a:cs typeface="+mn-cs"/>
                      </a:endParaRPr>
                    </a:p>
                    <a:p>
                      <a:pPr marL="0" marR="0" lvl="0" indent="0" algn="l" defTabSz="914400" rtl="0" eaLnBrk="1" fontAlgn="base" latinLnBrk="0" hangingPunct="1">
                        <a:lnSpc>
                          <a:spcPct val="90000"/>
                        </a:lnSpc>
                        <a:spcBef>
                          <a:spcPts val="100"/>
                        </a:spcBef>
                        <a:spcAft>
                          <a:spcPts val="100"/>
                        </a:spcAft>
                        <a:buClr>
                          <a:schemeClr val="tx2"/>
                        </a:buClr>
                        <a:buSzTx/>
                        <a:buFontTx/>
                        <a:buNone/>
                        <a:tabLst>
                          <a:tab pos="895350" algn="l"/>
                        </a:tabLst>
                        <a:defRPr/>
                      </a:pPr>
                      <a:endParaRPr lang="en-GB" sz="1400" kern="1200" noProof="0" dirty="0">
                        <a:solidFill>
                          <a:schemeClr val="tx1"/>
                        </a:solidFill>
                        <a:latin typeface="+mn-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2813" rtl="0" eaLnBrk="1" fontAlgn="base" latinLnBrk="0" hangingPunct="1">
                        <a:lnSpc>
                          <a:spcPct val="90000"/>
                        </a:lnSpc>
                        <a:spcBef>
                          <a:spcPct val="0"/>
                        </a:spcBef>
                        <a:spcAft>
                          <a:spcPct val="20000"/>
                        </a:spcAft>
                        <a:buClr>
                          <a:srgbClr val="FF0000"/>
                        </a:buClr>
                        <a:buSzTx/>
                        <a:buFontTx/>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Point three</a:t>
                      </a:r>
                      <a:endParaRPr kumimoji="0" lang="en-GB" sz="1600" b="0" i="0" u="none" strike="noStrike" kern="1200" cap="none" spc="0" normalizeH="0" baseline="0" noProof="0" dirty="0">
                        <a:ln>
                          <a:noFill/>
                        </a:ln>
                        <a:solidFill>
                          <a:srgbClr val="FFFFFF"/>
                        </a:solidFill>
                        <a:effectLst/>
                        <a:uLnTx/>
                        <a:uFillTx/>
                        <a:latin typeface="+mj-lt"/>
                        <a:ea typeface="+mn-ea"/>
                        <a:cs typeface="+mn-cs"/>
                      </a:endParaRPr>
                    </a:p>
                  </a:txBody>
                  <a:tcPr horzOverflow="overflow">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w="28575" cap="flat" cmpd="sng" algn="ctr">
                      <a:solidFill>
                        <a:srgbClr val="F2F2F2"/>
                      </a:solidFill>
                      <a:prstDash val="solid"/>
                      <a:round/>
                      <a:headEnd type="none" w="med" len="med"/>
                      <a:tailEnd type="none" w="med" len="med"/>
                    </a:lnT>
                    <a:lnB w="28575" cap="flat" cmpd="sng" algn="ctr">
                      <a:solidFill>
                        <a:srgbClr val="F2F2F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2"/>
                  </a:ext>
                </a:extLst>
              </a:tr>
            </a:tbl>
          </a:graphicData>
        </a:graphic>
      </p:graphicFrame>
      <p:sp>
        <p:nvSpPr>
          <p:cNvPr id="36889" name="Rectangle 33"/>
          <p:cNvSpPr>
            <a:spLocks noChangeArrowheads="1"/>
          </p:cNvSpPr>
          <p:nvPr/>
        </p:nvSpPr>
        <p:spPr bwMode="black">
          <a:xfrm>
            <a:off x="10728679" y="5984421"/>
            <a:ext cx="1174750" cy="375104"/>
          </a:xfrm>
          <a:prstGeom prst="rect">
            <a:avLst/>
          </a:prstGeom>
          <a:noFill/>
          <a:ln w="9525">
            <a:noFill/>
            <a:miter lim="800000"/>
            <a:headEnd/>
            <a:tailEnd/>
          </a:ln>
        </p:spPr>
        <p:txBody>
          <a:bodyPr lIns="92075" tIns="46038" rIns="92075" bIns="46038">
            <a:spAutoFit/>
          </a:bodyPr>
          <a:lstStyle/>
          <a:p>
            <a:pPr algn="ctr" defTabSz="762000" eaLnBrk="0" hangingPunct="0">
              <a:lnSpc>
                <a:spcPts val="2200"/>
              </a:lnSpc>
              <a:spcBef>
                <a:spcPct val="0"/>
              </a:spcBef>
              <a:spcAft>
                <a:spcPts val="1100"/>
              </a:spcAft>
            </a:pPr>
            <a:r>
              <a:rPr lang="en-GB" altLang="en-US" sz="1800" dirty="0">
                <a:latin typeface="Futura Medium" panose="00000400000000000000" pitchFamily="2" charset="0"/>
              </a:rPr>
              <a:t>Micro</a:t>
            </a:r>
          </a:p>
        </p:txBody>
      </p:sp>
      <p:sp>
        <p:nvSpPr>
          <p:cNvPr id="36890" name="Rectangle 34"/>
          <p:cNvSpPr>
            <a:spLocks noChangeArrowheads="1"/>
          </p:cNvSpPr>
          <p:nvPr/>
        </p:nvSpPr>
        <p:spPr bwMode="auto">
          <a:xfrm>
            <a:off x="10754079" y="1528763"/>
            <a:ext cx="1123950" cy="375104"/>
          </a:xfrm>
          <a:prstGeom prst="rect">
            <a:avLst/>
          </a:prstGeom>
          <a:noFill/>
          <a:ln w="9525">
            <a:noFill/>
            <a:miter lim="800000"/>
            <a:headEnd/>
            <a:tailEnd/>
          </a:ln>
        </p:spPr>
        <p:txBody>
          <a:bodyPr lIns="92075" tIns="46038" rIns="92075" bIns="46038">
            <a:spAutoFit/>
          </a:bodyPr>
          <a:lstStyle/>
          <a:p>
            <a:pPr algn="ctr" defTabSz="762000" eaLnBrk="0" hangingPunct="0">
              <a:lnSpc>
                <a:spcPts val="2200"/>
              </a:lnSpc>
              <a:spcBef>
                <a:spcPct val="0"/>
              </a:spcBef>
              <a:spcAft>
                <a:spcPts val="1100"/>
              </a:spcAft>
            </a:pPr>
            <a:r>
              <a:rPr lang="en-GB" altLang="en-US" sz="1800" dirty="0">
                <a:latin typeface="Futura Medium" panose="00000400000000000000" pitchFamily="2" charset="0"/>
              </a:rPr>
              <a:t>Macro</a:t>
            </a:r>
          </a:p>
        </p:txBody>
      </p:sp>
      <p:sp>
        <p:nvSpPr>
          <p:cNvPr id="36891" name="AutoShape 35"/>
          <p:cNvSpPr>
            <a:spLocks noChangeArrowheads="1"/>
          </p:cNvSpPr>
          <p:nvPr/>
        </p:nvSpPr>
        <p:spPr bwMode="black">
          <a:xfrm rot="5400000">
            <a:off x="9308630" y="3765242"/>
            <a:ext cx="4035485" cy="312736"/>
          </a:xfrm>
          <a:prstGeom prst="rightArrow">
            <a:avLst>
              <a:gd name="adj1" fmla="val 56759"/>
              <a:gd name="adj2" fmla="val 92772"/>
            </a:avLst>
          </a:prstGeom>
          <a:solidFill>
            <a:schemeClr val="tx2"/>
          </a:solidFill>
          <a:ln w="12700">
            <a:noFill/>
            <a:miter lim="800000"/>
            <a:headEnd/>
            <a:tailEnd/>
          </a:ln>
        </p:spPr>
        <p:txBody>
          <a:bodyPr wrap="none"/>
          <a:lstStyle/>
          <a:p>
            <a:pPr>
              <a:lnSpc>
                <a:spcPct val="100000"/>
              </a:lnSpc>
              <a:spcBef>
                <a:spcPct val="50000"/>
              </a:spcBef>
              <a:spcAft>
                <a:spcPct val="0"/>
              </a:spcAft>
              <a:buClrTx/>
              <a:buFontTx/>
              <a:buNone/>
            </a:pPr>
            <a:endParaRPr lang="en-US" dirty="0">
              <a:latin typeface="Futura Medium" panose="00000400000000000000" pitchFamily="2" charset="0"/>
            </a:endParaRPr>
          </a:p>
        </p:txBody>
      </p:sp>
    </p:spTree>
    <p:extLst>
      <p:ext uri="{BB962C8B-B14F-4D97-AF65-F5344CB8AC3E}">
        <p14:creationId xmlns:p14="http://schemas.microsoft.com/office/powerpoint/2010/main" val="2174709715"/>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noChangeArrowheads="1"/>
          </p:cNvSpPr>
          <p:nvPr>
            <p:ph type="title"/>
          </p:nvPr>
        </p:nvSpPr>
        <p:spPr/>
        <p:txBody>
          <a:bodyPr/>
          <a:lstStyle/>
          <a:p>
            <a:r>
              <a:rPr lang="en-US"/>
              <a:t>Issue tree</a:t>
            </a:r>
            <a:endParaRPr lang="en-US" dirty="0"/>
          </a:p>
        </p:txBody>
      </p:sp>
      <p:grpSp>
        <p:nvGrpSpPr>
          <p:cNvPr id="3" name="Group 2"/>
          <p:cNvGrpSpPr/>
          <p:nvPr/>
        </p:nvGrpSpPr>
        <p:grpSpPr>
          <a:xfrm>
            <a:off x="508000" y="1528763"/>
            <a:ext cx="11171238" cy="4830762"/>
            <a:chOff x="508000" y="1528763"/>
            <a:chExt cx="11171238" cy="4830762"/>
          </a:xfrm>
        </p:grpSpPr>
        <p:cxnSp>
          <p:nvCxnSpPr>
            <p:cNvPr id="46" name="AutoShape 55"/>
            <p:cNvCxnSpPr>
              <a:cxnSpLocks noChangeShapeType="1"/>
              <a:stCxn id="44" idx="3"/>
              <a:endCxn id="45" idx="1"/>
            </p:cNvCxnSpPr>
            <p:nvPr/>
          </p:nvCxnSpPr>
          <p:spPr bwMode="gray">
            <a:xfrm flipV="1">
              <a:off x="2940939" y="2702524"/>
              <a:ext cx="573216" cy="1162405"/>
            </a:xfrm>
            <a:prstGeom prst="bentConnector3">
              <a:avLst>
                <a:gd name="adj1" fmla="val 50000"/>
              </a:avLst>
            </a:prstGeom>
            <a:solidFill>
              <a:schemeClr val="accent3"/>
            </a:solidFill>
            <a:ln w="9525">
              <a:solidFill>
                <a:schemeClr val="tx1"/>
              </a:solidFill>
              <a:miter lim="800000"/>
              <a:headEnd/>
              <a:tailEnd/>
            </a:ln>
            <a:effectLst/>
          </p:spPr>
        </p:cxnSp>
        <p:sp>
          <p:nvSpPr>
            <p:cNvPr id="45" name="Rectangle 54"/>
            <p:cNvSpPr>
              <a:spLocks noChangeArrowheads="1"/>
            </p:cNvSpPr>
            <p:nvPr/>
          </p:nvSpPr>
          <p:spPr bwMode="gray">
            <a:xfrm>
              <a:off x="3514154" y="2318378"/>
              <a:ext cx="2388396" cy="768293"/>
            </a:xfrm>
            <a:prstGeom prst="rect">
              <a:avLst/>
            </a:prstGeom>
            <a:solidFill>
              <a:schemeClr val="bg2"/>
            </a:solidFill>
            <a:ln w="9525" cap="flat" cmpd="sng" algn="ctr">
              <a:noFill/>
              <a:prstDash val="solid"/>
              <a:round/>
              <a:headEnd type="none" w="med" len="med"/>
              <a:tailEnd type="none" w="med" len="med"/>
            </a:ln>
            <a:effectLst/>
          </p:spPr>
          <p:txBody>
            <a:bodyPr lIns="90000" tIns="72000" rIns="90000" bIns="72000" anchor="ctr"/>
            <a:lstStyle/>
            <a:p>
              <a:pPr lvl="0">
                <a:defRPr/>
              </a:pPr>
              <a:r>
                <a:rPr lang="en-US" sz="1400" dirty="0"/>
                <a:t>Text</a:t>
              </a:r>
            </a:p>
          </p:txBody>
        </p:sp>
        <p:sp>
          <p:nvSpPr>
            <p:cNvPr id="48" name="Rectangle 59"/>
            <p:cNvSpPr>
              <a:spLocks noChangeArrowheads="1"/>
            </p:cNvSpPr>
            <p:nvPr/>
          </p:nvSpPr>
          <p:spPr bwMode="gray">
            <a:xfrm>
              <a:off x="6284692" y="1742159"/>
              <a:ext cx="2483931" cy="672256"/>
            </a:xfrm>
            <a:prstGeom prst="rect">
              <a:avLst/>
            </a:prstGeom>
            <a:solidFill>
              <a:schemeClr val="bg2"/>
            </a:solidFill>
            <a:ln w="9525" cap="flat" cmpd="sng" algn="ctr">
              <a:noFill/>
              <a:prstDash val="solid"/>
              <a:round/>
              <a:headEnd type="none" w="med" len="med"/>
              <a:tailEnd type="none" w="med" len="med"/>
            </a:ln>
            <a:effectLst/>
          </p:spPr>
          <p:txBody>
            <a:bodyPr lIns="90000" tIns="72000" rIns="90000" bIns="72000" anchor="ctr"/>
            <a:lstStyle/>
            <a:p>
              <a:pPr lvl="0">
                <a:defRPr/>
              </a:pPr>
              <a:r>
                <a:rPr lang="en-US" sz="1400"/>
                <a:t>Text</a:t>
              </a:r>
              <a:endParaRPr lang="en-US" sz="1400" dirty="0"/>
            </a:p>
          </p:txBody>
        </p:sp>
        <p:sp>
          <p:nvSpPr>
            <p:cNvPr id="49" name="Rectangle 60"/>
            <p:cNvSpPr>
              <a:spLocks noChangeArrowheads="1"/>
            </p:cNvSpPr>
            <p:nvPr/>
          </p:nvSpPr>
          <p:spPr bwMode="gray">
            <a:xfrm>
              <a:off x="6284686" y="2990631"/>
              <a:ext cx="2486035" cy="672256"/>
            </a:xfrm>
            <a:prstGeom prst="rect">
              <a:avLst/>
            </a:prstGeom>
            <a:solidFill>
              <a:schemeClr val="bg2"/>
            </a:solidFill>
            <a:ln w="9525" cap="flat" cmpd="sng" algn="ctr">
              <a:noFill/>
              <a:prstDash val="solid"/>
              <a:round/>
              <a:headEnd type="none" w="med" len="med"/>
              <a:tailEnd type="none" w="med" len="med"/>
            </a:ln>
            <a:effectLst/>
          </p:spPr>
          <p:txBody>
            <a:bodyPr lIns="90000" tIns="72000" rIns="90000" bIns="72000" anchor="ctr"/>
            <a:lstStyle/>
            <a:p>
              <a:pPr lvl="0">
                <a:defRPr/>
              </a:pPr>
              <a:r>
                <a:rPr lang="en-US" sz="1400"/>
                <a:t>Text</a:t>
              </a:r>
              <a:endParaRPr lang="en-US" sz="1400" dirty="0"/>
            </a:p>
          </p:txBody>
        </p:sp>
        <p:cxnSp>
          <p:nvCxnSpPr>
            <p:cNvPr id="52" name="AutoShape 63"/>
            <p:cNvCxnSpPr>
              <a:cxnSpLocks noChangeShapeType="1"/>
            </p:cNvCxnSpPr>
            <p:nvPr/>
          </p:nvCxnSpPr>
          <p:spPr bwMode="gray">
            <a:xfrm flipV="1">
              <a:off x="5902550" y="2078289"/>
              <a:ext cx="382144" cy="624237"/>
            </a:xfrm>
            <a:prstGeom prst="bentConnector3">
              <a:avLst>
                <a:gd name="adj1" fmla="val 50000"/>
              </a:avLst>
            </a:prstGeom>
            <a:solidFill>
              <a:schemeClr val="accent3"/>
            </a:solidFill>
            <a:ln w="9525">
              <a:solidFill>
                <a:schemeClr val="tx1"/>
              </a:solidFill>
              <a:miter lim="800000"/>
              <a:headEnd/>
              <a:tailEnd/>
            </a:ln>
            <a:effectLst/>
          </p:spPr>
        </p:cxnSp>
        <p:cxnSp>
          <p:nvCxnSpPr>
            <p:cNvPr id="53" name="AutoShape 64"/>
            <p:cNvCxnSpPr>
              <a:cxnSpLocks noChangeShapeType="1"/>
            </p:cNvCxnSpPr>
            <p:nvPr/>
          </p:nvCxnSpPr>
          <p:spPr bwMode="gray">
            <a:xfrm>
              <a:off x="5902550" y="2702521"/>
              <a:ext cx="382139" cy="624238"/>
            </a:xfrm>
            <a:prstGeom prst="bentConnector3">
              <a:avLst>
                <a:gd name="adj1" fmla="val 50000"/>
              </a:avLst>
            </a:prstGeom>
            <a:solidFill>
              <a:schemeClr val="accent3"/>
            </a:solidFill>
            <a:ln w="9525">
              <a:solidFill>
                <a:schemeClr val="tx1"/>
              </a:solidFill>
              <a:miter lim="800000"/>
              <a:headEnd/>
              <a:tailEnd/>
            </a:ln>
            <a:effectLst/>
          </p:spPr>
        </p:cxnSp>
        <p:sp>
          <p:nvSpPr>
            <p:cNvPr id="56" name="Rectangle 71"/>
            <p:cNvSpPr>
              <a:spLocks noChangeArrowheads="1"/>
            </p:cNvSpPr>
            <p:nvPr/>
          </p:nvSpPr>
          <p:spPr bwMode="gray">
            <a:xfrm>
              <a:off x="9150763" y="3182706"/>
              <a:ext cx="2528475" cy="288110"/>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57" name="Rectangle 72"/>
            <p:cNvSpPr>
              <a:spLocks noChangeArrowheads="1"/>
            </p:cNvSpPr>
            <p:nvPr/>
          </p:nvSpPr>
          <p:spPr bwMode="gray">
            <a:xfrm>
              <a:off x="9150763" y="2798562"/>
              <a:ext cx="2528475" cy="288110"/>
            </a:xfrm>
            <a:prstGeom prst="rect">
              <a:avLst/>
            </a:prstGeom>
            <a:solidFill>
              <a:schemeClr val="bg2"/>
            </a:solidFill>
            <a:ln w="9525" algn="ctr">
              <a:noFill/>
              <a:miter lim="800000"/>
              <a:headEnd/>
              <a:tailEnd/>
            </a:ln>
            <a:effectLst/>
          </p:spPr>
          <p:txBody>
            <a:bodyPr bIns="46800" anchor="ctr"/>
            <a:lstStyle/>
            <a:p>
              <a:pPr lvl="0">
                <a:defRPr/>
              </a:pPr>
              <a:r>
                <a:rPr lang="en-US" sz="1200" dirty="0"/>
                <a:t>Text</a:t>
              </a:r>
            </a:p>
          </p:txBody>
        </p:sp>
        <p:sp>
          <p:nvSpPr>
            <p:cNvPr id="58" name="Rectangle 73"/>
            <p:cNvSpPr>
              <a:spLocks noChangeArrowheads="1"/>
            </p:cNvSpPr>
            <p:nvPr/>
          </p:nvSpPr>
          <p:spPr bwMode="gray">
            <a:xfrm>
              <a:off x="9150763" y="3566852"/>
              <a:ext cx="2528475" cy="288109"/>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59" name="Rectangle 74"/>
            <p:cNvSpPr>
              <a:spLocks noChangeArrowheads="1"/>
            </p:cNvSpPr>
            <p:nvPr/>
          </p:nvSpPr>
          <p:spPr bwMode="gray">
            <a:xfrm>
              <a:off x="9150763" y="1934232"/>
              <a:ext cx="2528475" cy="288110"/>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60" name="Rectangle 75"/>
            <p:cNvSpPr>
              <a:spLocks noChangeArrowheads="1"/>
            </p:cNvSpPr>
            <p:nvPr/>
          </p:nvSpPr>
          <p:spPr bwMode="gray">
            <a:xfrm>
              <a:off x="9150763" y="1528763"/>
              <a:ext cx="2528475" cy="304103"/>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61" name="Rectangle 76"/>
            <p:cNvSpPr>
              <a:spLocks noChangeArrowheads="1"/>
            </p:cNvSpPr>
            <p:nvPr/>
          </p:nvSpPr>
          <p:spPr bwMode="gray">
            <a:xfrm>
              <a:off x="9150763" y="2318378"/>
              <a:ext cx="2528475" cy="288110"/>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cxnSp>
          <p:nvCxnSpPr>
            <p:cNvPr id="74" name="AutoShape 89"/>
            <p:cNvCxnSpPr>
              <a:cxnSpLocks noChangeShapeType="1"/>
            </p:cNvCxnSpPr>
            <p:nvPr/>
          </p:nvCxnSpPr>
          <p:spPr bwMode="gray">
            <a:xfrm flipV="1">
              <a:off x="8770724" y="2942618"/>
              <a:ext cx="380040" cy="384143"/>
            </a:xfrm>
            <a:prstGeom prst="bentConnector3">
              <a:avLst>
                <a:gd name="adj1" fmla="val 50000"/>
              </a:avLst>
            </a:prstGeom>
            <a:solidFill>
              <a:schemeClr val="accent3"/>
            </a:solidFill>
            <a:ln w="9525">
              <a:solidFill>
                <a:schemeClr val="tx1"/>
              </a:solidFill>
              <a:miter lim="800000"/>
              <a:headEnd/>
              <a:tailEnd/>
            </a:ln>
            <a:effectLst/>
          </p:spPr>
        </p:cxnSp>
        <p:cxnSp>
          <p:nvCxnSpPr>
            <p:cNvPr id="75" name="AutoShape 90"/>
            <p:cNvCxnSpPr>
              <a:cxnSpLocks noChangeShapeType="1"/>
            </p:cNvCxnSpPr>
            <p:nvPr/>
          </p:nvCxnSpPr>
          <p:spPr bwMode="gray">
            <a:xfrm>
              <a:off x="8770724" y="3326761"/>
              <a:ext cx="380040" cy="1"/>
            </a:xfrm>
            <a:prstGeom prst="bentConnector3">
              <a:avLst>
                <a:gd name="adj1" fmla="val 50000"/>
              </a:avLst>
            </a:prstGeom>
            <a:solidFill>
              <a:schemeClr val="accent3"/>
            </a:solidFill>
            <a:ln w="9525">
              <a:solidFill>
                <a:schemeClr val="tx1"/>
              </a:solidFill>
              <a:miter lim="800000"/>
              <a:headEnd/>
              <a:tailEnd/>
            </a:ln>
            <a:effectLst/>
          </p:spPr>
        </p:cxnSp>
        <p:cxnSp>
          <p:nvCxnSpPr>
            <p:cNvPr id="76" name="AutoShape 91"/>
            <p:cNvCxnSpPr>
              <a:cxnSpLocks noChangeShapeType="1"/>
            </p:cNvCxnSpPr>
            <p:nvPr/>
          </p:nvCxnSpPr>
          <p:spPr bwMode="gray">
            <a:xfrm>
              <a:off x="8770724" y="3326760"/>
              <a:ext cx="380040" cy="384146"/>
            </a:xfrm>
            <a:prstGeom prst="bentConnector3">
              <a:avLst>
                <a:gd name="adj1" fmla="val 50000"/>
              </a:avLst>
            </a:prstGeom>
            <a:solidFill>
              <a:schemeClr val="accent3"/>
            </a:solidFill>
            <a:ln w="9525">
              <a:solidFill>
                <a:schemeClr val="tx1"/>
              </a:solidFill>
              <a:miter lim="800000"/>
              <a:headEnd/>
              <a:tailEnd/>
            </a:ln>
            <a:effectLst/>
          </p:spPr>
        </p:cxnSp>
        <p:cxnSp>
          <p:nvCxnSpPr>
            <p:cNvPr id="77" name="AutoShape 92"/>
            <p:cNvCxnSpPr>
              <a:cxnSpLocks noChangeShapeType="1"/>
            </p:cNvCxnSpPr>
            <p:nvPr/>
          </p:nvCxnSpPr>
          <p:spPr bwMode="gray">
            <a:xfrm>
              <a:off x="8768622" y="2078288"/>
              <a:ext cx="382143" cy="384146"/>
            </a:xfrm>
            <a:prstGeom prst="bentConnector3">
              <a:avLst>
                <a:gd name="adj1" fmla="val 50000"/>
              </a:avLst>
            </a:prstGeom>
            <a:solidFill>
              <a:schemeClr val="accent3"/>
            </a:solidFill>
            <a:ln w="9525">
              <a:solidFill>
                <a:schemeClr val="tx1"/>
              </a:solidFill>
              <a:miter lim="800000"/>
              <a:headEnd/>
              <a:tailEnd/>
            </a:ln>
            <a:effectLst/>
          </p:spPr>
        </p:cxnSp>
        <p:cxnSp>
          <p:nvCxnSpPr>
            <p:cNvPr id="78" name="AutoShape 93"/>
            <p:cNvCxnSpPr>
              <a:cxnSpLocks noChangeShapeType="1"/>
            </p:cNvCxnSpPr>
            <p:nvPr/>
          </p:nvCxnSpPr>
          <p:spPr bwMode="gray">
            <a:xfrm flipV="1">
              <a:off x="8768622" y="2078287"/>
              <a:ext cx="382143" cy="2135"/>
            </a:xfrm>
            <a:prstGeom prst="bentConnector3">
              <a:avLst>
                <a:gd name="adj1" fmla="val 50000"/>
              </a:avLst>
            </a:prstGeom>
            <a:solidFill>
              <a:schemeClr val="accent3"/>
            </a:solidFill>
            <a:ln w="9525">
              <a:solidFill>
                <a:schemeClr val="tx1"/>
              </a:solidFill>
              <a:miter lim="800000"/>
              <a:headEnd/>
              <a:tailEnd/>
            </a:ln>
            <a:effectLst/>
          </p:spPr>
        </p:cxnSp>
        <p:cxnSp>
          <p:nvCxnSpPr>
            <p:cNvPr id="79" name="AutoShape 94"/>
            <p:cNvCxnSpPr>
              <a:cxnSpLocks noChangeShapeType="1"/>
            </p:cNvCxnSpPr>
            <p:nvPr/>
          </p:nvCxnSpPr>
          <p:spPr bwMode="gray">
            <a:xfrm flipV="1">
              <a:off x="8768622" y="1680817"/>
              <a:ext cx="382143" cy="397473"/>
            </a:xfrm>
            <a:prstGeom prst="bentConnector3">
              <a:avLst>
                <a:gd name="adj1" fmla="val 50000"/>
              </a:avLst>
            </a:prstGeom>
            <a:solidFill>
              <a:schemeClr val="accent3"/>
            </a:solidFill>
            <a:ln w="9525">
              <a:solidFill>
                <a:schemeClr val="tx1"/>
              </a:solidFill>
              <a:miter lim="800000"/>
              <a:headEnd/>
              <a:tailEnd/>
            </a:ln>
            <a:effectLst/>
          </p:spPr>
        </p:cxnSp>
        <p:sp>
          <p:nvSpPr>
            <p:cNvPr id="115" name="Rectangle 54"/>
            <p:cNvSpPr>
              <a:spLocks noChangeArrowheads="1"/>
            </p:cNvSpPr>
            <p:nvPr/>
          </p:nvSpPr>
          <p:spPr bwMode="gray">
            <a:xfrm>
              <a:off x="3514154" y="4821582"/>
              <a:ext cx="2388396" cy="779794"/>
            </a:xfrm>
            <a:prstGeom prst="rect">
              <a:avLst/>
            </a:prstGeom>
            <a:solidFill>
              <a:schemeClr val="bg2"/>
            </a:solidFill>
            <a:ln w="9525" cap="flat" cmpd="sng" algn="ctr">
              <a:noFill/>
              <a:prstDash val="solid"/>
              <a:round/>
              <a:headEnd type="none" w="med" len="med"/>
              <a:tailEnd type="none" w="med" len="med"/>
            </a:ln>
            <a:effectLst/>
          </p:spPr>
          <p:txBody>
            <a:bodyPr lIns="90000" tIns="72000" rIns="90000" bIns="72000" anchor="ctr"/>
            <a:lstStyle/>
            <a:p>
              <a:pPr lvl="0">
                <a:defRPr/>
              </a:pPr>
              <a:r>
                <a:rPr lang="en-US" sz="1400"/>
                <a:t>Text</a:t>
              </a:r>
              <a:endParaRPr lang="en-US" sz="1400" dirty="0"/>
            </a:p>
          </p:txBody>
        </p:sp>
        <p:sp>
          <p:nvSpPr>
            <p:cNvPr id="116" name="Rectangle 59"/>
            <p:cNvSpPr>
              <a:spLocks noChangeArrowheads="1"/>
            </p:cNvSpPr>
            <p:nvPr/>
          </p:nvSpPr>
          <p:spPr bwMode="gray">
            <a:xfrm>
              <a:off x="6284692" y="4236738"/>
              <a:ext cx="2483931" cy="682320"/>
            </a:xfrm>
            <a:prstGeom prst="rect">
              <a:avLst/>
            </a:prstGeom>
            <a:solidFill>
              <a:schemeClr val="bg2"/>
            </a:solidFill>
            <a:ln w="9525" cap="flat" cmpd="sng" algn="ctr">
              <a:noFill/>
              <a:prstDash val="solid"/>
              <a:round/>
              <a:headEnd type="none" w="med" len="med"/>
              <a:tailEnd type="none" w="med" len="med"/>
            </a:ln>
            <a:effectLst/>
          </p:spPr>
          <p:txBody>
            <a:bodyPr lIns="90000" tIns="72000" rIns="90000" bIns="72000" anchor="ctr"/>
            <a:lstStyle/>
            <a:p>
              <a:pPr lvl="0">
                <a:defRPr/>
              </a:pPr>
              <a:r>
                <a:rPr lang="en-US" sz="1400"/>
                <a:t>Text</a:t>
              </a:r>
              <a:endParaRPr lang="en-US" sz="1400" dirty="0"/>
            </a:p>
          </p:txBody>
        </p:sp>
        <p:sp>
          <p:nvSpPr>
            <p:cNvPr id="117" name="Rectangle 60"/>
            <p:cNvSpPr>
              <a:spLocks noChangeArrowheads="1"/>
            </p:cNvSpPr>
            <p:nvPr/>
          </p:nvSpPr>
          <p:spPr bwMode="gray">
            <a:xfrm>
              <a:off x="6284686" y="5503900"/>
              <a:ext cx="2486035" cy="682320"/>
            </a:xfrm>
            <a:prstGeom prst="rect">
              <a:avLst/>
            </a:prstGeom>
            <a:solidFill>
              <a:schemeClr val="bg2"/>
            </a:solidFill>
            <a:ln w="9525" cap="flat" cmpd="sng" algn="ctr">
              <a:noFill/>
              <a:prstDash val="solid"/>
              <a:round/>
              <a:headEnd type="none" w="med" len="med"/>
              <a:tailEnd type="none" w="med" len="med"/>
            </a:ln>
            <a:effectLst/>
          </p:spPr>
          <p:txBody>
            <a:bodyPr lIns="90000" tIns="72000" rIns="90000" bIns="72000" anchor="ctr"/>
            <a:lstStyle/>
            <a:p>
              <a:pPr lvl="0">
                <a:defRPr/>
              </a:pPr>
              <a:r>
                <a:rPr lang="en-US" sz="1400"/>
                <a:t>Text</a:t>
              </a:r>
              <a:endParaRPr lang="en-US" sz="1400" dirty="0"/>
            </a:p>
          </p:txBody>
        </p:sp>
        <p:cxnSp>
          <p:nvCxnSpPr>
            <p:cNvPr id="118" name="AutoShape 63"/>
            <p:cNvCxnSpPr>
              <a:cxnSpLocks noChangeShapeType="1"/>
            </p:cNvCxnSpPr>
            <p:nvPr/>
          </p:nvCxnSpPr>
          <p:spPr bwMode="gray">
            <a:xfrm flipV="1">
              <a:off x="5902550" y="4577899"/>
              <a:ext cx="382144" cy="633581"/>
            </a:xfrm>
            <a:prstGeom prst="bentConnector3">
              <a:avLst>
                <a:gd name="adj1" fmla="val 50000"/>
              </a:avLst>
            </a:prstGeom>
            <a:solidFill>
              <a:schemeClr val="accent3"/>
            </a:solidFill>
            <a:ln w="9525">
              <a:solidFill>
                <a:schemeClr val="tx1"/>
              </a:solidFill>
              <a:miter lim="800000"/>
              <a:headEnd/>
              <a:tailEnd/>
            </a:ln>
            <a:effectLst/>
          </p:spPr>
        </p:cxnSp>
        <p:cxnSp>
          <p:nvCxnSpPr>
            <p:cNvPr id="119" name="AutoShape 64"/>
            <p:cNvCxnSpPr>
              <a:cxnSpLocks noChangeShapeType="1"/>
            </p:cNvCxnSpPr>
            <p:nvPr/>
          </p:nvCxnSpPr>
          <p:spPr bwMode="gray">
            <a:xfrm>
              <a:off x="5902550" y="5211476"/>
              <a:ext cx="382139" cy="633582"/>
            </a:xfrm>
            <a:prstGeom prst="bentConnector3">
              <a:avLst>
                <a:gd name="adj1" fmla="val 50000"/>
              </a:avLst>
            </a:prstGeom>
            <a:solidFill>
              <a:schemeClr val="accent3"/>
            </a:solidFill>
            <a:ln w="9525">
              <a:solidFill>
                <a:schemeClr val="tx1"/>
              </a:solidFill>
              <a:miter lim="800000"/>
              <a:headEnd/>
              <a:tailEnd/>
            </a:ln>
            <a:effectLst/>
          </p:spPr>
        </p:cxnSp>
        <p:sp>
          <p:nvSpPr>
            <p:cNvPr id="120" name="Rectangle 71"/>
            <p:cNvSpPr>
              <a:spLocks noChangeArrowheads="1"/>
            </p:cNvSpPr>
            <p:nvPr/>
          </p:nvSpPr>
          <p:spPr bwMode="gray">
            <a:xfrm>
              <a:off x="9150763" y="5698849"/>
              <a:ext cx="2528475" cy="292422"/>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121" name="Rectangle 72"/>
            <p:cNvSpPr>
              <a:spLocks noChangeArrowheads="1"/>
            </p:cNvSpPr>
            <p:nvPr/>
          </p:nvSpPr>
          <p:spPr bwMode="gray">
            <a:xfrm>
              <a:off x="9150763" y="5308954"/>
              <a:ext cx="2528475" cy="292422"/>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122" name="Rectangle 73"/>
            <p:cNvSpPr>
              <a:spLocks noChangeArrowheads="1"/>
            </p:cNvSpPr>
            <p:nvPr/>
          </p:nvSpPr>
          <p:spPr bwMode="gray">
            <a:xfrm>
              <a:off x="9150763" y="6067104"/>
              <a:ext cx="2528475" cy="292421"/>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123" name="Rectangle 74"/>
            <p:cNvSpPr>
              <a:spLocks noChangeArrowheads="1"/>
            </p:cNvSpPr>
            <p:nvPr/>
          </p:nvSpPr>
          <p:spPr bwMode="gray">
            <a:xfrm>
              <a:off x="9150763" y="4431685"/>
              <a:ext cx="2528475" cy="292422"/>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124" name="Rectangle 75"/>
            <p:cNvSpPr>
              <a:spLocks noChangeArrowheads="1"/>
            </p:cNvSpPr>
            <p:nvPr/>
          </p:nvSpPr>
          <p:spPr bwMode="gray">
            <a:xfrm>
              <a:off x="9150763" y="4020146"/>
              <a:ext cx="2528475" cy="308655"/>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sp>
          <p:nvSpPr>
            <p:cNvPr id="125" name="Rectangle 76"/>
            <p:cNvSpPr>
              <a:spLocks noChangeArrowheads="1"/>
            </p:cNvSpPr>
            <p:nvPr/>
          </p:nvSpPr>
          <p:spPr bwMode="gray">
            <a:xfrm>
              <a:off x="9150763" y="4821582"/>
              <a:ext cx="2528475" cy="292422"/>
            </a:xfrm>
            <a:prstGeom prst="rect">
              <a:avLst/>
            </a:prstGeom>
            <a:solidFill>
              <a:schemeClr val="bg2"/>
            </a:solidFill>
            <a:ln w="9525" algn="ctr">
              <a:noFill/>
              <a:miter lim="800000"/>
              <a:headEnd/>
              <a:tailEnd/>
            </a:ln>
            <a:effectLst/>
          </p:spPr>
          <p:txBody>
            <a:bodyPr bIns="46800" anchor="ctr"/>
            <a:lstStyle/>
            <a:p>
              <a:pPr lvl="0">
                <a:defRPr/>
              </a:pPr>
              <a:r>
                <a:rPr lang="en-US" sz="1200"/>
                <a:t>Text</a:t>
              </a:r>
              <a:endParaRPr lang="en-US" sz="1200" dirty="0"/>
            </a:p>
          </p:txBody>
        </p:sp>
        <p:cxnSp>
          <p:nvCxnSpPr>
            <p:cNvPr id="126" name="AutoShape 89"/>
            <p:cNvCxnSpPr>
              <a:cxnSpLocks noChangeShapeType="1"/>
            </p:cNvCxnSpPr>
            <p:nvPr/>
          </p:nvCxnSpPr>
          <p:spPr bwMode="gray">
            <a:xfrm flipV="1">
              <a:off x="8770724" y="5455166"/>
              <a:ext cx="380040" cy="389893"/>
            </a:xfrm>
            <a:prstGeom prst="bentConnector3">
              <a:avLst>
                <a:gd name="adj1" fmla="val 50000"/>
              </a:avLst>
            </a:prstGeom>
            <a:solidFill>
              <a:schemeClr val="accent3"/>
            </a:solidFill>
            <a:ln w="9525">
              <a:solidFill>
                <a:schemeClr val="tx1"/>
              </a:solidFill>
              <a:miter lim="800000"/>
              <a:headEnd/>
              <a:tailEnd/>
            </a:ln>
            <a:effectLst/>
          </p:spPr>
        </p:cxnSp>
        <p:cxnSp>
          <p:nvCxnSpPr>
            <p:cNvPr id="127" name="AutoShape 90"/>
            <p:cNvCxnSpPr>
              <a:cxnSpLocks noChangeShapeType="1"/>
            </p:cNvCxnSpPr>
            <p:nvPr/>
          </p:nvCxnSpPr>
          <p:spPr bwMode="gray">
            <a:xfrm>
              <a:off x="8770724" y="5845062"/>
              <a:ext cx="380040" cy="1"/>
            </a:xfrm>
            <a:prstGeom prst="bentConnector3">
              <a:avLst>
                <a:gd name="adj1" fmla="val 50000"/>
              </a:avLst>
            </a:prstGeom>
            <a:solidFill>
              <a:schemeClr val="accent3"/>
            </a:solidFill>
            <a:ln w="9525">
              <a:solidFill>
                <a:schemeClr val="tx1"/>
              </a:solidFill>
              <a:miter lim="800000"/>
              <a:headEnd/>
              <a:tailEnd/>
            </a:ln>
            <a:effectLst/>
          </p:spPr>
        </p:cxnSp>
        <p:cxnSp>
          <p:nvCxnSpPr>
            <p:cNvPr id="128" name="AutoShape 91"/>
            <p:cNvCxnSpPr>
              <a:cxnSpLocks noChangeShapeType="1"/>
            </p:cNvCxnSpPr>
            <p:nvPr/>
          </p:nvCxnSpPr>
          <p:spPr bwMode="gray">
            <a:xfrm>
              <a:off x="8770724" y="5845062"/>
              <a:ext cx="380040" cy="368252"/>
            </a:xfrm>
            <a:prstGeom prst="bentConnector3">
              <a:avLst>
                <a:gd name="adj1" fmla="val 50000"/>
              </a:avLst>
            </a:prstGeom>
            <a:solidFill>
              <a:schemeClr val="accent3"/>
            </a:solidFill>
            <a:ln w="9525">
              <a:solidFill>
                <a:schemeClr val="tx1"/>
              </a:solidFill>
              <a:miter lim="800000"/>
              <a:headEnd/>
              <a:tailEnd/>
            </a:ln>
            <a:effectLst/>
          </p:spPr>
        </p:cxnSp>
        <p:cxnSp>
          <p:nvCxnSpPr>
            <p:cNvPr id="129" name="AutoShape 92"/>
            <p:cNvCxnSpPr>
              <a:cxnSpLocks noChangeShapeType="1"/>
            </p:cNvCxnSpPr>
            <p:nvPr/>
          </p:nvCxnSpPr>
          <p:spPr bwMode="gray">
            <a:xfrm>
              <a:off x="8768622" y="4577898"/>
              <a:ext cx="382143" cy="389896"/>
            </a:xfrm>
            <a:prstGeom prst="bentConnector3">
              <a:avLst>
                <a:gd name="adj1" fmla="val 50000"/>
              </a:avLst>
            </a:prstGeom>
            <a:solidFill>
              <a:schemeClr val="accent3"/>
            </a:solidFill>
            <a:ln w="9525">
              <a:solidFill>
                <a:schemeClr val="tx1"/>
              </a:solidFill>
              <a:miter lim="800000"/>
              <a:headEnd/>
              <a:tailEnd/>
            </a:ln>
            <a:effectLst/>
          </p:spPr>
        </p:cxnSp>
        <p:cxnSp>
          <p:nvCxnSpPr>
            <p:cNvPr id="130" name="AutoShape 93"/>
            <p:cNvCxnSpPr>
              <a:cxnSpLocks noChangeShapeType="1"/>
            </p:cNvCxnSpPr>
            <p:nvPr/>
          </p:nvCxnSpPr>
          <p:spPr bwMode="gray">
            <a:xfrm flipV="1">
              <a:off x="8768622" y="4577893"/>
              <a:ext cx="382143" cy="2167"/>
            </a:xfrm>
            <a:prstGeom prst="bentConnector3">
              <a:avLst>
                <a:gd name="adj1" fmla="val 50000"/>
              </a:avLst>
            </a:prstGeom>
            <a:solidFill>
              <a:schemeClr val="accent3"/>
            </a:solidFill>
            <a:ln w="9525">
              <a:solidFill>
                <a:schemeClr val="tx1"/>
              </a:solidFill>
              <a:miter lim="800000"/>
              <a:headEnd/>
              <a:tailEnd/>
            </a:ln>
            <a:effectLst/>
          </p:spPr>
        </p:cxnSp>
        <p:cxnSp>
          <p:nvCxnSpPr>
            <p:cNvPr id="131" name="AutoShape 94"/>
            <p:cNvCxnSpPr>
              <a:cxnSpLocks noChangeShapeType="1"/>
            </p:cNvCxnSpPr>
            <p:nvPr/>
          </p:nvCxnSpPr>
          <p:spPr bwMode="gray">
            <a:xfrm flipV="1">
              <a:off x="8768622" y="4174476"/>
              <a:ext cx="382143" cy="403423"/>
            </a:xfrm>
            <a:prstGeom prst="bentConnector3">
              <a:avLst>
                <a:gd name="adj1" fmla="val 50000"/>
              </a:avLst>
            </a:prstGeom>
            <a:solidFill>
              <a:schemeClr val="accent3"/>
            </a:solidFill>
            <a:ln w="9525">
              <a:solidFill>
                <a:schemeClr val="tx1"/>
              </a:solidFill>
              <a:miter lim="800000"/>
              <a:headEnd/>
              <a:tailEnd/>
            </a:ln>
            <a:effectLst/>
          </p:spPr>
        </p:cxnSp>
        <p:cxnSp>
          <p:nvCxnSpPr>
            <p:cNvPr id="137" name="AutoShape 55"/>
            <p:cNvCxnSpPr>
              <a:cxnSpLocks noChangeShapeType="1"/>
              <a:stCxn id="44" idx="3"/>
              <a:endCxn id="115" idx="1"/>
            </p:cNvCxnSpPr>
            <p:nvPr/>
          </p:nvCxnSpPr>
          <p:spPr bwMode="gray">
            <a:xfrm>
              <a:off x="2940939" y="3864930"/>
              <a:ext cx="573216" cy="1346549"/>
            </a:xfrm>
            <a:prstGeom prst="bentConnector3">
              <a:avLst>
                <a:gd name="adj1" fmla="val 50000"/>
              </a:avLst>
            </a:prstGeom>
            <a:solidFill>
              <a:schemeClr val="accent3"/>
            </a:solidFill>
            <a:ln w="9525">
              <a:solidFill>
                <a:schemeClr val="tx1"/>
              </a:solidFill>
              <a:miter lim="800000"/>
              <a:headEnd/>
              <a:tailEnd/>
            </a:ln>
            <a:effectLst/>
          </p:spPr>
        </p:cxnSp>
        <p:sp>
          <p:nvSpPr>
            <p:cNvPr id="44" name="Rectangle 51"/>
            <p:cNvSpPr>
              <a:spLocks noChangeArrowheads="1"/>
            </p:cNvSpPr>
            <p:nvPr/>
          </p:nvSpPr>
          <p:spPr bwMode="gray">
            <a:xfrm>
              <a:off x="508000" y="3494913"/>
              <a:ext cx="2432938" cy="740033"/>
            </a:xfrm>
            <a:prstGeom prst="rect">
              <a:avLst/>
            </a:prstGeom>
            <a:solidFill>
              <a:schemeClr val="accent1"/>
            </a:solidFill>
            <a:ln w="9525" cap="flat" cmpd="sng" algn="ctr">
              <a:solidFill>
                <a:schemeClr val="tx2"/>
              </a:solidFill>
              <a:prstDash val="solid"/>
              <a:round/>
              <a:headEnd type="none" w="med" len="med"/>
              <a:tailEnd type="none" w="med" len="med"/>
            </a:ln>
            <a:effectLst/>
          </p:spPr>
          <p:txBody>
            <a:bodyPr lIns="90000" tIns="72000" rIns="90000" bIns="72000" anchor="ctr"/>
            <a:lstStyle/>
            <a:p>
              <a:pPr lvl="0">
                <a:defRPr/>
              </a:pPr>
              <a:r>
                <a:rPr lang="en-US" sz="1600">
                  <a:solidFill>
                    <a:srgbClr val="FFFFFF"/>
                  </a:solidFill>
                  <a:latin typeface="+mj-lt"/>
                </a:rPr>
                <a:t>Text</a:t>
              </a:r>
              <a:endParaRPr lang="en-US" sz="1600" dirty="0">
                <a:solidFill>
                  <a:srgbClr val="FFFFFF"/>
                </a:solidFill>
                <a:latin typeface="+mj-lt"/>
              </a:endParaRPr>
            </a:p>
          </p:txBody>
        </p:sp>
      </p:grpSp>
    </p:spTree>
    <p:extLst>
      <p:ext uri="{BB962C8B-B14F-4D97-AF65-F5344CB8AC3E}">
        <p14:creationId xmlns:p14="http://schemas.microsoft.com/office/powerpoint/2010/main" val="582023537"/>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noChangeArrowheads="1"/>
          </p:cNvSpPr>
          <p:nvPr>
            <p:ph type="title"/>
          </p:nvPr>
        </p:nvSpPr>
        <p:spPr/>
        <p:txBody>
          <a:bodyPr/>
          <a:lstStyle/>
          <a:p>
            <a:r>
              <a:rPr lang="en-US"/>
              <a:t>Issue tree</a:t>
            </a:r>
            <a:endParaRPr lang="en-US" dirty="0"/>
          </a:p>
        </p:txBody>
      </p:sp>
      <p:grpSp>
        <p:nvGrpSpPr>
          <p:cNvPr id="3" name="Group 2"/>
          <p:cNvGrpSpPr/>
          <p:nvPr/>
        </p:nvGrpSpPr>
        <p:grpSpPr>
          <a:xfrm>
            <a:off x="508001" y="1522413"/>
            <a:ext cx="11171238" cy="4837111"/>
            <a:chOff x="508001" y="1522413"/>
            <a:chExt cx="11171238" cy="4837111"/>
          </a:xfrm>
        </p:grpSpPr>
        <p:cxnSp>
          <p:nvCxnSpPr>
            <p:cNvPr id="81" name="AutoShape 9"/>
            <p:cNvCxnSpPr>
              <a:cxnSpLocks noChangeShapeType="1"/>
              <a:endCxn id="80" idx="1"/>
            </p:cNvCxnSpPr>
            <p:nvPr/>
          </p:nvCxnSpPr>
          <p:spPr bwMode="gray">
            <a:xfrm flipV="1">
              <a:off x="2951811" y="2688886"/>
              <a:ext cx="477264" cy="1160301"/>
            </a:xfrm>
            <a:prstGeom prst="bentConnector3">
              <a:avLst>
                <a:gd name="adj1" fmla="val 50000"/>
              </a:avLst>
            </a:prstGeom>
            <a:solidFill>
              <a:schemeClr val="accent3"/>
            </a:solidFill>
            <a:ln w="9525">
              <a:solidFill>
                <a:schemeClr val="tx1"/>
              </a:solidFill>
              <a:miter lim="800000"/>
              <a:headEnd/>
              <a:tailEnd/>
            </a:ln>
          </p:spPr>
        </p:cxnSp>
        <p:sp>
          <p:nvSpPr>
            <p:cNvPr id="80" name="Rectangle 8"/>
            <p:cNvSpPr>
              <a:spLocks noChangeArrowheads="1"/>
            </p:cNvSpPr>
            <p:nvPr/>
          </p:nvSpPr>
          <p:spPr bwMode="gray">
            <a:xfrm>
              <a:off x="3429077" y="2442690"/>
              <a:ext cx="2384220" cy="492392"/>
            </a:xfrm>
            <a:prstGeom prst="rect">
              <a:avLst/>
            </a:prstGeom>
            <a:solidFill>
              <a:schemeClr val="bg2"/>
            </a:solidFill>
            <a:ln w="9525" cap="flat" cmpd="sng" algn="ctr">
              <a:solidFill>
                <a:schemeClr val="bg1"/>
              </a:solidFill>
              <a:prstDash val="solid"/>
              <a:round/>
              <a:headEnd type="none" w="med" len="med"/>
              <a:tailEnd type="none" w="med" len="med"/>
            </a:ln>
            <a:effectLst/>
          </p:spPr>
          <p:txBody>
            <a:bodyPr lIns="90000" tIns="72000" rIns="90000" bIns="72000" anchor="ctr"/>
            <a:lstStyle/>
            <a:p>
              <a:pPr lvl="0">
                <a:defRPr/>
              </a:pPr>
              <a:r>
                <a:rPr lang="en-US" sz="1400" dirty="0"/>
                <a:t>Text</a:t>
              </a:r>
            </a:p>
          </p:txBody>
        </p:sp>
        <p:sp>
          <p:nvSpPr>
            <p:cNvPr id="83" name="Rectangle 10"/>
            <p:cNvSpPr>
              <a:spLocks noChangeArrowheads="1"/>
            </p:cNvSpPr>
            <p:nvPr/>
          </p:nvSpPr>
          <p:spPr bwMode="gray">
            <a:xfrm>
              <a:off x="6290561" y="1621320"/>
              <a:ext cx="2480934" cy="492392"/>
            </a:xfrm>
            <a:prstGeom prst="rect">
              <a:avLst/>
            </a:prstGeom>
            <a:solidFill>
              <a:schemeClr val="bg2"/>
            </a:solidFill>
            <a:ln w="9525" cap="flat" cmpd="sng" algn="ctr">
              <a:solidFill>
                <a:schemeClr val="bg1"/>
              </a:solidFill>
              <a:prstDash val="solid"/>
              <a:round/>
              <a:headEnd type="none" w="med" len="med"/>
              <a:tailEnd type="none" w="med" len="med"/>
            </a:ln>
            <a:effectLst/>
          </p:spPr>
          <p:txBody>
            <a:bodyPr lIns="90000" tIns="72000" rIns="90000" bIns="72000" anchor="ctr"/>
            <a:lstStyle/>
            <a:p>
              <a:pPr lvl="0">
                <a:defRPr/>
              </a:pPr>
              <a:r>
                <a:rPr lang="en-US" sz="1200"/>
                <a:t>Text</a:t>
              </a:r>
              <a:endParaRPr lang="en-US" sz="1200" dirty="0"/>
            </a:p>
          </p:txBody>
        </p:sp>
        <p:cxnSp>
          <p:nvCxnSpPr>
            <p:cNvPr id="87" name="AutoShape 11"/>
            <p:cNvCxnSpPr>
              <a:cxnSpLocks noChangeShapeType="1"/>
            </p:cNvCxnSpPr>
            <p:nvPr/>
          </p:nvCxnSpPr>
          <p:spPr bwMode="gray">
            <a:xfrm flipV="1">
              <a:off x="5814018" y="1866943"/>
              <a:ext cx="477110" cy="821223"/>
            </a:xfrm>
            <a:prstGeom prst="bentConnector3">
              <a:avLst>
                <a:gd name="adj1" fmla="val 50000"/>
              </a:avLst>
            </a:prstGeom>
            <a:solidFill>
              <a:schemeClr val="accent3"/>
            </a:solidFill>
            <a:ln w="9525">
              <a:solidFill>
                <a:schemeClr val="tx1"/>
              </a:solidFill>
              <a:miter lim="800000"/>
              <a:headEnd/>
              <a:tailEnd/>
            </a:ln>
          </p:spPr>
        </p:cxnSp>
        <p:sp>
          <p:nvSpPr>
            <p:cNvPr id="94" name="Rectangle 12"/>
            <p:cNvSpPr>
              <a:spLocks noChangeArrowheads="1"/>
            </p:cNvSpPr>
            <p:nvPr/>
          </p:nvSpPr>
          <p:spPr bwMode="gray">
            <a:xfrm>
              <a:off x="9154150" y="1769683"/>
              <a:ext cx="2525089" cy="191365"/>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95" name="Rectangle 13"/>
            <p:cNvSpPr>
              <a:spLocks noChangeArrowheads="1"/>
            </p:cNvSpPr>
            <p:nvPr/>
          </p:nvSpPr>
          <p:spPr bwMode="gray">
            <a:xfrm>
              <a:off x="9154150" y="1522413"/>
              <a:ext cx="2525089" cy="19351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96" name="Rectangle 14"/>
            <p:cNvSpPr>
              <a:spLocks noChangeArrowheads="1"/>
            </p:cNvSpPr>
            <p:nvPr/>
          </p:nvSpPr>
          <p:spPr bwMode="gray">
            <a:xfrm>
              <a:off x="9154150" y="2014805"/>
              <a:ext cx="2525089" cy="19351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cxnSp>
          <p:nvCxnSpPr>
            <p:cNvPr id="112" name="AutoShape 15"/>
            <p:cNvCxnSpPr>
              <a:cxnSpLocks noChangeShapeType="1"/>
            </p:cNvCxnSpPr>
            <p:nvPr/>
          </p:nvCxnSpPr>
          <p:spPr bwMode="gray">
            <a:xfrm>
              <a:off x="8772093" y="1866943"/>
              <a:ext cx="381687" cy="244438"/>
            </a:xfrm>
            <a:prstGeom prst="bentConnector3">
              <a:avLst>
                <a:gd name="adj1" fmla="val 50000"/>
              </a:avLst>
            </a:prstGeom>
            <a:solidFill>
              <a:schemeClr val="accent3"/>
            </a:solidFill>
            <a:ln w="9525">
              <a:solidFill>
                <a:schemeClr val="tx1"/>
              </a:solidFill>
              <a:miter lim="800000"/>
              <a:headEnd/>
              <a:tailEnd/>
            </a:ln>
          </p:spPr>
        </p:cxnSp>
        <p:cxnSp>
          <p:nvCxnSpPr>
            <p:cNvPr id="113" name="AutoShape 16"/>
            <p:cNvCxnSpPr>
              <a:cxnSpLocks noChangeShapeType="1"/>
            </p:cNvCxnSpPr>
            <p:nvPr/>
          </p:nvCxnSpPr>
          <p:spPr bwMode="gray">
            <a:xfrm flipV="1">
              <a:off x="8772093" y="1865012"/>
              <a:ext cx="381687" cy="1929"/>
            </a:xfrm>
            <a:prstGeom prst="bentConnector3">
              <a:avLst>
                <a:gd name="adj1" fmla="val 50000"/>
              </a:avLst>
            </a:prstGeom>
            <a:solidFill>
              <a:schemeClr val="accent3"/>
            </a:solidFill>
            <a:ln w="9525">
              <a:solidFill>
                <a:schemeClr val="tx1"/>
              </a:solidFill>
              <a:miter lim="800000"/>
              <a:headEnd/>
              <a:tailEnd/>
            </a:ln>
          </p:spPr>
        </p:cxnSp>
        <p:cxnSp>
          <p:nvCxnSpPr>
            <p:cNvPr id="114" name="AutoShape 17"/>
            <p:cNvCxnSpPr>
              <a:cxnSpLocks noChangeShapeType="1"/>
            </p:cNvCxnSpPr>
            <p:nvPr/>
          </p:nvCxnSpPr>
          <p:spPr bwMode="gray">
            <a:xfrm flipV="1">
              <a:off x="8772093" y="1618645"/>
              <a:ext cx="381687" cy="248296"/>
            </a:xfrm>
            <a:prstGeom prst="bentConnector3">
              <a:avLst>
                <a:gd name="adj1" fmla="val 50000"/>
              </a:avLst>
            </a:prstGeom>
            <a:solidFill>
              <a:schemeClr val="accent3"/>
            </a:solidFill>
            <a:ln w="9525">
              <a:solidFill>
                <a:schemeClr val="tx1"/>
              </a:solidFill>
              <a:miter lim="800000"/>
              <a:headEnd/>
              <a:tailEnd/>
            </a:ln>
          </p:spPr>
        </p:cxnSp>
        <p:sp>
          <p:nvSpPr>
            <p:cNvPr id="284" name="Rectangle 18"/>
            <p:cNvSpPr>
              <a:spLocks noChangeArrowheads="1"/>
            </p:cNvSpPr>
            <p:nvPr/>
          </p:nvSpPr>
          <p:spPr bwMode="gray">
            <a:xfrm>
              <a:off x="6290561" y="2442690"/>
              <a:ext cx="2480934" cy="492392"/>
            </a:xfrm>
            <a:prstGeom prst="rect">
              <a:avLst/>
            </a:prstGeom>
            <a:solidFill>
              <a:schemeClr val="bg2"/>
            </a:solidFill>
            <a:ln w="9525" cap="flat" cmpd="sng" algn="ctr">
              <a:solidFill>
                <a:schemeClr val="bg1"/>
              </a:solidFill>
              <a:prstDash val="solid"/>
              <a:round/>
              <a:headEnd type="none" w="med" len="med"/>
              <a:tailEnd type="none" w="med" len="med"/>
            </a:ln>
            <a:effectLst/>
          </p:spPr>
          <p:txBody>
            <a:bodyPr lIns="90000" tIns="72000" rIns="90000" bIns="72000" anchor="ctr"/>
            <a:lstStyle/>
            <a:p>
              <a:pPr lvl="0">
                <a:defRPr/>
              </a:pPr>
              <a:r>
                <a:rPr lang="en-US" sz="1200"/>
                <a:t>Text</a:t>
              </a:r>
              <a:endParaRPr lang="en-US" sz="1200" dirty="0"/>
            </a:p>
          </p:txBody>
        </p:sp>
        <p:sp>
          <p:nvSpPr>
            <p:cNvPr id="285" name="Rectangle 19"/>
            <p:cNvSpPr>
              <a:spLocks noChangeArrowheads="1"/>
            </p:cNvSpPr>
            <p:nvPr/>
          </p:nvSpPr>
          <p:spPr bwMode="gray">
            <a:xfrm>
              <a:off x="9154150" y="2591052"/>
              <a:ext cx="2525089" cy="191365"/>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286" name="Rectangle 20"/>
            <p:cNvSpPr>
              <a:spLocks noChangeArrowheads="1"/>
            </p:cNvSpPr>
            <p:nvPr/>
          </p:nvSpPr>
          <p:spPr bwMode="gray">
            <a:xfrm>
              <a:off x="9154150" y="2343782"/>
              <a:ext cx="2525089" cy="19136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287" name="Rectangle 21"/>
            <p:cNvSpPr>
              <a:spLocks noChangeArrowheads="1"/>
            </p:cNvSpPr>
            <p:nvPr/>
          </p:nvSpPr>
          <p:spPr bwMode="gray">
            <a:xfrm>
              <a:off x="9154150" y="2836173"/>
              <a:ext cx="2525089" cy="19351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cxnSp>
          <p:nvCxnSpPr>
            <p:cNvPr id="288" name="AutoShape 22"/>
            <p:cNvCxnSpPr>
              <a:cxnSpLocks noChangeShapeType="1"/>
            </p:cNvCxnSpPr>
            <p:nvPr/>
          </p:nvCxnSpPr>
          <p:spPr bwMode="gray">
            <a:xfrm>
              <a:off x="8772093" y="2688168"/>
              <a:ext cx="381687" cy="244438"/>
            </a:xfrm>
            <a:prstGeom prst="bentConnector3">
              <a:avLst>
                <a:gd name="adj1" fmla="val 50000"/>
              </a:avLst>
            </a:prstGeom>
            <a:solidFill>
              <a:schemeClr val="accent3"/>
            </a:solidFill>
            <a:ln w="9525">
              <a:solidFill>
                <a:schemeClr val="tx1"/>
              </a:solidFill>
              <a:miter lim="800000"/>
              <a:headEnd/>
              <a:tailEnd/>
            </a:ln>
          </p:spPr>
        </p:cxnSp>
        <p:cxnSp>
          <p:nvCxnSpPr>
            <p:cNvPr id="289" name="AutoShape 23"/>
            <p:cNvCxnSpPr>
              <a:cxnSpLocks noChangeShapeType="1"/>
            </p:cNvCxnSpPr>
            <p:nvPr/>
          </p:nvCxnSpPr>
          <p:spPr bwMode="gray">
            <a:xfrm flipV="1">
              <a:off x="8772093" y="2686239"/>
              <a:ext cx="381687" cy="1929"/>
            </a:xfrm>
            <a:prstGeom prst="bentConnector3">
              <a:avLst>
                <a:gd name="adj1" fmla="val 50000"/>
              </a:avLst>
            </a:prstGeom>
            <a:solidFill>
              <a:schemeClr val="accent3"/>
            </a:solidFill>
            <a:ln w="9525">
              <a:solidFill>
                <a:schemeClr val="tx1"/>
              </a:solidFill>
              <a:miter lim="800000"/>
              <a:headEnd/>
              <a:tailEnd/>
            </a:ln>
          </p:spPr>
        </p:cxnSp>
        <p:cxnSp>
          <p:nvCxnSpPr>
            <p:cNvPr id="290" name="AutoShape 24"/>
            <p:cNvCxnSpPr>
              <a:cxnSpLocks noChangeShapeType="1"/>
            </p:cNvCxnSpPr>
            <p:nvPr/>
          </p:nvCxnSpPr>
          <p:spPr bwMode="gray">
            <a:xfrm flipV="1">
              <a:off x="8772093" y="2439870"/>
              <a:ext cx="381687" cy="248296"/>
            </a:xfrm>
            <a:prstGeom prst="bentConnector3">
              <a:avLst>
                <a:gd name="adj1" fmla="val 50000"/>
              </a:avLst>
            </a:prstGeom>
            <a:solidFill>
              <a:schemeClr val="accent3"/>
            </a:solidFill>
            <a:ln w="9525">
              <a:solidFill>
                <a:schemeClr val="tx1"/>
              </a:solidFill>
              <a:miter lim="800000"/>
              <a:headEnd/>
              <a:tailEnd/>
            </a:ln>
          </p:spPr>
        </p:cxnSp>
        <p:sp>
          <p:nvSpPr>
            <p:cNvPr id="291" name="Rectangle 25"/>
            <p:cNvSpPr>
              <a:spLocks noChangeArrowheads="1"/>
            </p:cNvSpPr>
            <p:nvPr/>
          </p:nvSpPr>
          <p:spPr bwMode="gray">
            <a:xfrm>
              <a:off x="6290561" y="3264059"/>
              <a:ext cx="2480934" cy="492392"/>
            </a:xfrm>
            <a:prstGeom prst="rect">
              <a:avLst/>
            </a:prstGeom>
            <a:solidFill>
              <a:schemeClr val="bg2"/>
            </a:solidFill>
            <a:ln w="9525" cap="flat" cmpd="sng" algn="ctr">
              <a:solidFill>
                <a:schemeClr val="bg1"/>
              </a:solidFill>
              <a:prstDash val="solid"/>
              <a:round/>
              <a:headEnd type="none" w="med" len="med"/>
              <a:tailEnd type="none" w="med" len="med"/>
            </a:ln>
            <a:effectLst/>
          </p:spPr>
          <p:txBody>
            <a:bodyPr lIns="90000" tIns="72000" rIns="90000" bIns="72000" anchor="ctr"/>
            <a:lstStyle/>
            <a:p>
              <a:pPr lvl="0">
                <a:defRPr/>
              </a:pPr>
              <a:r>
                <a:rPr lang="en-US" sz="1200"/>
                <a:t>Text</a:t>
              </a:r>
              <a:endParaRPr lang="en-US" sz="1200" dirty="0"/>
            </a:p>
          </p:txBody>
        </p:sp>
        <p:sp>
          <p:nvSpPr>
            <p:cNvPr id="292" name="Rectangle 26"/>
            <p:cNvSpPr>
              <a:spLocks noChangeArrowheads="1"/>
            </p:cNvSpPr>
            <p:nvPr/>
          </p:nvSpPr>
          <p:spPr bwMode="gray">
            <a:xfrm>
              <a:off x="9154150" y="3410269"/>
              <a:ext cx="2525089" cy="19351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293" name="Rectangle 27"/>
            <p:cNvSpPr>
              <a:spLocks noChangeArrowheads="1"/>
            </p:cNvSpPr>
            <p:nvPr/>
          </p:nvSpPr>
          <p:spPr bwMode="gray">
            <a:xfrm>
              <a:off x="9154150" y="3165151"/>
              <a:ext cx="2525089" cy="19136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294" name="Rectangle 28"/>
            <p:cNvSpPr>
              <a:spLocks noChangeArrowheads="1"/>
            </p:cNvSpPr>
            <p:nvPr/>
          </p:nvSpPr>
          <p:spPr bwMode="gray">
            <a:xfrm>
              <a:off x="9154150" y="3657543"/>
              <a:ext cx="2525089" cy="19351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cxnSp>
          <p:nvCxnSpPr>
            <p:cNvPr id="295" name="AutoShape 29"/>
            <p:cNvCxnSpPr>
              <a:cxnSpLocks noChangeShapeType="1"/>
            </p:cNvCxnSpPr>
            <p:nvPr/>
          </p:nvCxnSpPr>
          <p:spPr bwMode="gray">
            <a:xfrm>
              <a:off x="8772093" y="3509391"/>
              <a:ext cx="381687" cy="244440"/>
            </a:xfrm>
            <a:prstGeom prst="bentConnector3">
              <a:avLst>
                <a:gd name="adj1" fmla="val 50000"/>
              </a:avLst>
            </a:prstGeom>
            <a:solidFill>
              <a:schemeClr val="accent3"/>
            </a:solidFill>
            <a:ln w="9525">
              <a:solidFill>
                <a:schemeClr val="tx1"/>
              </a:solidFill>
              <a:miter lim="800000"/>
              <a:headEnd/>
              <a:tailEnd/>
            </a:ln>
          </p:spPr>
        </p:cxnSp>
        <p:cxnSp>
          <p:nvCxnSpPr>
            <p:cNvPr id="296" name="AutoShape 30"/>
            <p:cNvCxnSpPr>
              <a:cxnSpLocks noChangeShapeType="1"/>
            </p:cNvCxnSpPr>
            <p:nvPr/>
          </p:nvCxnSpPr>
          <p:spPr bwMode="gray">
            <a:xfrm flipV="1">
              <a:off x="8772093" y="3507463"/>
              <a:ext cx="381687" cy="1929"/>
            </a:xfrm>
            <a:prstGeom prst="bentConnector3">
              <a:avLst>
                <a:gd name="adj1" fmla="val 50000"/>
              </a:avLst>
            </a:prstGeom>
            <a:solidFill>
              <a:schemeClr val="accent3"/>
            </a:solidFill>
            <a:ln w="9525">
              <a:solidFill>
                <a:schemeClr val="tx1"/>
              </a:solidFill>
              <a:miter lim="800000"/>
              <a:headEnd/>
              <a:tailEnd/>
            </a:ln>
          </p:spPr>
        </p:cxnSp>
        <p:cxnSp>
          <p:nvCxnSpPr>
            <p:cNvPr id="297" name="AutoShape 31"/>
            <p:cNvCxnSpPr>
              <a:cxnSpLocks noChangeShapeType="1"/>
            </p:cNvCxnSpPr>
            <p:nvPr/>
          </p:nvCxnSpPr>
          <p:spPr bwMode="gray">
            <a:xfrm flipV="1">
              <a:off x="8772093" y="3261094"/>
              <a:ext cx="381687" cy="248296"/>
            </a:xfrm>
            <a:prstGeom prst="bentConnector3">
              <a:avLst>
                <a:gd name="adj1" fmla="val 50000"/>
              </a:avLst>
            </a:prstGeom>
            <a:solidFill>
              <a:schemeClr val="accent3"/>
            </a:solidFill>
            <a:ln w="9525">
              <a:solidFill>
                <a:schemeClr val="tx1"/>
              </a:solidFill>
              <a:miter lim="800000"/>
              <a:headEnd/>
              <a:tailEnd/>
            </a:ln>
          </p:spPr>
        </p:cxnSp>
        <p:cxnSp>
          <p:nvCxnSpPr>
            <p:cNvPr id="298" name="AutoShape 32"/>
            <p:cNvCxnSpPr>
              <a:cxnSpLocks noChangeShapeType="1"/>
            </p:cNvCxnSpPr>
            <p:nvPr/>
          </p:nvCxnSpPr>
          <p:spPr bwMode="gray">
            <a:xfrm>
              <a:off x="5814018" y="2688167"/>
              <a:ext cx="477110" cy="821225"/>
            </a:xfrm>
            <a:prstGeom prst="bentConnector3">
              <a:avLst>
                <a:gd name="adj1" fmla="val 50000"/>
              </a:avLst>
            </a:prstGeom>
            <a:solidFill>
              <a:schemeClr val="accent3"/>
            </a:solidFill>
            <a:ln w="9525">
              <a:solidFill>
                <a:schemeClr val="tx1"/>
              </a:solidFill>
              <a:miter lim="800000"/>
              <a:headEnd/>
              <a:tailEnd/>
            </a:ln>
          </p:spPr>
        </p:cxnSp>
        <p:cxnSp>
          <p:nvCxnSpPr>
            <p:cNvPr id="303" name="Line 33"/>
            <p:cNvCxnSpPr>
              <a:cxnSpLocks noChangeShapeType="1"/>
              <a:stCxn id="80" idx="3"/>
              <a:endCxn id="284" idx="1"/>
            </p:cNvCxnSpPr>
            <p:nvPr/>
          </p:nvCxnSpPr>
          <p:spPr bwMode="gray">
            <a:xfrm>
              <a:off x="5813297" y="2688885"/>
              <a:ext cx="477264" cy="0"/>
            </a:xfrm>
            <a:prstGeom prst="line">
              <a:avLst/>
            </a:prstGeom>
            <a:solidFill>
              <a:schemeClr val="accent3"/>
            </a:solidFill>
            <a:ln w="9525">
              <a:solidFill>
                <a:schemeClr val="tx1"/>
              </a:solidFill>
              <a:round/>
              <a:headEnd/>
              <a:tailEnd/>
            </a:ln>
          </p:spPr>
        </p:cxnSp>
        <p:cxnSp>
          <p:nvCxnSpPr>
            <p:cNvPr id="315" name="AutoShape 35"/>
            <p:cNvCxnSpPr>
              <a:cxnSpLocks noChangeShapeType="1"/>
              <a:endCxn id="314" idx="1"/>
            </p:cNvCxnSpPr>
            <p:nvPr/>
          </p:nvCxnSpPr>
          <p:spPr bwMode="gray">
            <a:xfrm>
              <a:off x="2951811" y="3849186"/>
              <a:ext cx="477264" cy="1347268"/>
            </a:xfrm>
            <a:prstGeom prst="bentConnector3">
              <a:avLst>
                <a:gd name="adj1" fmla="val 50000"/>
              </a:avLst>
            </a:prstGeom>
            <a:solidFill>
              <a:schemeClr val="accent3"/>
            </a:solidFill>
            <a:ln w="9525">
              <a:solidFill>
                <a:schemeClr val="tx1"/>
              </a:solidFill>
              <a:miter lim="800000"/>
              <a:headEnd/>
              <a:tailEnd/>
            </a:ln>
          </p:spPr>
        </p:cxnSp>
        <p:sp>
          <p:nvSpPr>
            <p:cNvPr id="314" name="Rectangle 34"/>
            <p:cNvSpPr>
              <a:spLocks noChangeArrowheads="1"/>
            </p:cNvSpPr>
            <p:nvPr/>
          </p:nvSpPr>
          <p:spPr bwMode="gray">
            <a:xfrm>
              <a:off x="3429077" y="4950068"/>
              <a:ext cx="2384220" cy="492772"/>
            </a:xfrm>
            <a:prstGeom prst="rect">
              <a:avLst/>
            </a:prstGeom>
            <a:solidFill>
              <a:schemeClr val="bg2"/>
            </a:solidFill>
            <a:ln w="9525" cap="flat" cmpd="sng" algn="ctr">
              <a:solidFill>
                <a:schemeClr val="bg1"/>
              </a:solidFill>
              <a:prstDash val="solid"/>
              <a:round/>
              <a:headEnd type="none" w="med" len="med"/>
              <a:tailEnd type="none" w="med" len="med"/>
            </a:ln>
            <a:effectLst/>
          </p:spPr>
          <p:txBody>
            <a:bodyPr lIns="90000" tIns="72000" rIns="90000" bIns="72000" anchor="ctr"/>
            <a:lstStyle/>
            <a:p>
              <a:pPr lvl="0">
                <a:defRPr/>
              </a:pPr>
              <a:r>
                <a:rPr lang="en-US" sz="1400"/>
                <a:t>Text</a:t>
              </a:r>
              <a:endParaRPr lang="en-US" sz="1400" dirty="0"/>
            </a:p>
          </p:txBody>
        </p:sp>
        <p:sp>
          <p:nvSpPr>
            <p:cNvPr id="316" name="Rectangle 36"/>
            <p:cNvSpPr>
              <a:spLocks noChangeArrowheads="1"/>
            </p:cNvSpPr>
            <p:nvPr/>
          </p:nvSpPr>
          <p:spPr bwMode="gray">
            <a:xfrm>
              <a:off x="6290561" y="4128064"/>
              <a:ext cx="2480934" cy="492772"/>
            </a:xfrm>
            <a:prstGeom prst="rect">
              <a:avLst/>
            </a:prstGeom>
            <a:solidFill>
              <a:schemeClr val="bg2"/>
            </a:solidFill>
            <a:ln w="9525" cap="flat" cmpd="sng" algn="ctr">
              <a:solidFill>
                <a:schemeClr val="bg1"/>
              </a:solidFill>
              <a:prstDash val="solid"/>
              <a:round/>
              <a:headEnd type="none" w="med" len="med"/>
              <a:tailEnd type="none" w="med" len="med"/>
            </a:ln>
            <a:effectLst/>
          </p:spPr>
          <p:txBody>
            <a:bodyPr lIns="90000" tIns="72000" rIns="90000" bIns="72000" anchor="ctr"/>
            <a:lstStyle/>
            <a:p>
              <a:pPr lvl="0">
                <a:defRPr/>
              </a:pPr>
              <a:r>
                <a:rPr lang="en-US" sz="1200"/>
                <a:t>Text</a:t>
              </a:r>
              <a:endParaRPr lang="en-US" sz="1200" dirty="0"/>
            </a:p>
          </p:txBody>
        </p:sp>
        <p:cxnSp>
          <p:nvCxnSpPr>
            <p:cNvPr id="317" name="AutoShape 37"/>
            <p:cNvCxnSpPr>
              <a:cxnSpLocks noChangeShapeType="1"/>
            </p:cNvCxnSpPr>
            <p:nvPr/>
          </p:nvCxnSpPr>
          <p:spPr bwMode="gray">
            <a:xfrm flipV="1">
              <a:off x="5814018" y="4374871"/>
              <a:ext cx="477110" cy="821857"/>
            </a:xfrm>
            <a:prstGeom prst="bentConnector3">
              <a:avLst>
                <a:gd name="adj1" fmla="val 50000"/>
              </a:avLst>
            </a:prstGeom>
            <a:solidFill>
              <a:schemeClr val="accent3"/>
            </a:solidFill>
            <a:ln w="9525">
              <a:solidFill>
                <a:schemeClr val="tx1"/>
              </a:solidFill>
              <a:miter lim="800000"/>
              <a:headEnd/>
              <a:tailEnd/>
            </a:ln>
          </p:spPr>
        </p:cxnSp>
        <p:sp>
          <p:nvSpPr>
            <p:cNvPr id="318" name="Rectangle 38"/>
            <p:cNvSpPr>
              <a:spLocks noChangeArrowheads="1"/>
            </p:cNvSpPr>
            <p:nvPr/>
          </p:nvSpPr>
          <p:spPr bwMode="gray">
            <a:xfrm>
              <a:off x="9154150" y="4276543"/>
              <a:ext cx="2525089" cy="19366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319" name="Rectangle 39"/>
            <p:cNvSpPr>
              <a:spLocks noChangeArrowheads="1"/>
            </p:cNvSpPr>
            <p:nvPr/>
          </p:nvSpPr>
          <p:spPr bwMode="gray">
            <a:xfrm>
              <a:off x="9154150" y="4029079"/>
              <a:ext cx="2525089" cy="19366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320" name="Rectangle 40"/>
            <p:cNvSpPr>
              <a:spLocks noChangeArrowheads="1"/>
            </p:cNvSpPr>
            <p:nvPr/>
          </p:nvSpPr>
          <p:spPr bwMode="gray">
            <a:xfrm>
              <a:off x="9154150" y="4524002"/>
              <a:ext cx="2525089" cy="191514"/>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cxnSp>
          <p:nvCxnSpPr>
            <p:cNvPr id="321" name="AutoShape 41"/>
            <p:cNvCxnSpPr>
              <a:cxnSpLocks noChangeShapeType="1"/>
            </p:cNvCxnSpPr>
            <p:nvPr/>
          </p:nvCxnSpPr>
          <p:spPr bwMode="gray">
            <a:xfrm>
              <a:off x="8772093" y="4374871"/>
              <a:ext cx="381687" cy="244627"/>
            </a:xfrm>
            <a:prstGeom prst="bentConnector3">
              <a:avLst>
                <a:gd name="adj1" fmla="val 50000"/>
              </a:avLst>
            </a:prstGeom>
            <a:solidFill>
              <a:schemeClr val="accent3"/>
            </a:solidFill>
            <a:ln w="9525">
              <a:solidFill>
                <a:schemeClr val="tx1"/>
              </a:solidFill>
              <a:miter lim="800000"/>
              <a:headEnd/>
              <a:tailEnd/>
            </a:ln>
          </p:spPr>
        </p:cxnSp>
        <p:cxnSp>
          <p:nvCxnSpPr>
            <p:cNvPr id="322" name="AutoShape 42"/>
            <p:cNvCxnSpPr>
              <a:cxnSpLocks noChangeShapeType="1"/>
            </p:cNvCxnSpPr>
            <p:nvPr/>
          </p:nvCxnSpPr>
          <p:spPr bwMode="gray">
            <a:xfrm flipV="1">
              <a:off x="8772093" y="4372939"/>
              <a:ext cx="381687" cy="1931"/>
            </a:xfrm>
            <a:prstGeom prst="bentConnector3">
              <a:avLst>
                <a:gd name="adj1" fmla="val 50000"/>
              </a:avLst>
            </a:prstGeom>
            <a:solidFill>
              <a:schemeClr val="accent3"/>
            </a:solidFill>
            <a:ln w="9525">
              <a:solidFill>
                <a:schemeClr val="tx1"/>
              </a:solidFill>
              <a:miter lim="800000"/>
              <a:headEnd/>
              <a:tailEnd/>
            </a:ln>
          </p:spPr>
        </p:cxnSp>
        <p:cxnSp>
          <p:nvCxnSpPr>
            <p:cNvPr id="323" name="AutoShape 43"/>
            <p:cNvCxnSpPr>
              <a:cxnSpLocks noChangeShapeType="1"/>
            </p:cNvCxnSpPr>
            <p:nvPr/>
          </p:nvCxnSpPr>
          <p:spPr bwMode="gray">
            <a:xfrm flipV="1">
              <a:off x="8772093" y="4126381"/>
              <a:ext cx="381687" cy="248489"/>
            </a:xfrm>
            <a:prstGeom prst="bentConnector3">
              <a:avLst>
                <a:gd name="adj1" fmla="val 50000"/>
              </a:avLst>
            </a:prstGeom>
            <a:solidFill>
              <a:schemeClr val="accent3"/>
            </a:solidFill>
            <a:ln w="9525">
              <a:solidFill>
                <a:schemeClr val="tx1"/>
              </a:solidFill>
              <a:miter lim="800000"/>
              <a:headEnd/>
              <a:tailEnd/>
            </a:ln>
          </p:spPr>
        </p:cxnSp>
        <p:sp>
          <p:nvSpPr>
            <p:cNvPr id="324" name="Rectangle 44"/>
            <p:cNvSpPr>
              <a:spLocks noChangeArrowheads="1"/>
            </p:cNvSpPr>
            <p:nvPr/>
          </p:nvSpPr>
          <p:spPr bwMode="gray">
            <a:xfrm>
              <a:off x="6290561" y="4950068"/>
              <a:ext cx="2480934" cy="492772"/>
            </a:xfrm>
            <a:prstGeom prst="rect">
              <a:avLst/>
            </a:prstGeom>
            <a:solidFill>
              <a:schemeClr val="bg2"/>
            </a:solidFill>
            <a:ln w="9525" cap="flat" cmpd="sng" algn="ctr">
              <a:solidFill>
                <a:schemeClr val="bg1"/>
              </a:solidFill>
              <a:prstDash val="solid"/>
              <a:round/>
              <a:headEnd type="none" w="med" len="med"/>
              <a:tailEnd type="none" w="med" len="med"/>
            </a:ln>
            <a:effectLst/>
          </p:spPr>
          <p:txBody>
            <a:bodyPr lIns="90000" tIns="72000" rIns="90000" bIns="72000" anchor="ctr"/>
            <a:lstStyle/>
            <a:p>
              <a:pPr lvl="0">
                <a:defRPr/>
              </a:pPr>
              <a:r>
                <a:rPr lang="en-US" sz="1200"/>
                <a:t>Text</a:t>
              </a:r>
              <a:endParaRPr lang="en-US" sz="1200" dirty="0"/>
            </a:p>
          </p:txBody>
        </p:sp>
        <p:sp>
          <p:nvSpPr>
            <p:cNvPr id="325" name="Rectangle 45"/>
            <p:cNvSpPr>
              <a:spLocks noChangeArrowheads="1"/>
            </p:cNvSpPr>
            <p:nvPr/>
          </p:nvSpPr>
          <p:spPr bwMode="gray">
            <a:xfrm>
              <a:off x="9154150" y="5098544"/>
              <a:ext cx="2525089" cy="191512"/>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326" name="Rectangle 46"/>
            <p:cNvSpPr>
              <a:spLocks noChangeArrowheads="1"/>
            </p:cNvSpPr>
            <p:nvPr/>
          </p:nvSpPr>
          <p:spPr bwMode="gray">
            <a:xfrm>
              <a:off x="9154150" y="4851084"/>
              <a:ext cx="2525089" cy="19366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327" name="Rectangle 47"/>
            <p:cNvSpPr>
              <a:spLocks noChangeArrowheads="1"/>
            </p:cNvSpPr>
            <p:nvPr/>
          </p:nvSpPr>
          <p:spPr bwMode="gray">
            <a:xfrm>
              <a:off x="9154150" y="5346006"/>
              <a:ext cx="2525089" cy="191514"/>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cxnSp>
          <p:nvCxnSpPr>
            <p:cNvPr id="328" name="AutoShape 48"/>
            <p:cNvCxnSpPr>
              <a:cxnSpLocks noChangeShapeType="1"/>
            </p:cNvCxnSpPr>
            <p:nvPr/>
          </p:nvCxnSpPr>
          <p:spPr bwMode="gray">
            <a:xfrm>
              <a:off x="8772093" y="5196730"/>
              <a:ext cx="381687" cy="244627"/>
            </a:xfrm>
            <a:prstGeom prst="bentConnector3">
              <a:avLst>
                <a:gd name="adj1" fmla="val 50000"/>
              </a:avLst>
            </a:prstGeom>
            <a:solidFill>
              <a:schemeClr val="accent3"/>
            </a:solidFill>
            <a:ln w="9525">
              <a:solidFill>
                <a:schemeClr val="tx1"/>
              </a:solidFill>
              <a:miter lim="800000"/>
              <a:headEnd/>
              <a:tailEnd/>
            </a:ln>
          </p:spPr>
        </p:cxnSp>
        <p:cxnSp>
          <p:nvCxnSpPr>
            <p:cNvPr id="329" name="AutoShape 49"/>
            <p:cNvCxnSpPr>
              <a:cxnSpLocks noChangeShapeType="1"/>
            </p:cNvCxnSpPr>
            <p:nvPr/>
          </p:nvCxnSpPr>
          <p:spPr bwMode="gray">
            <a:xfrm flipV="1">
              <a:off x="8772093" y="5194799"/>
              <a:ext cx="381687" cy="1931"/>
            </a:xfrm>
            <a:prstGeom prst="bentConnector3">
              <a:avLst>
                <a:gd name="adj1" fmla="val 50000"/>
              </a:avLst>
            </a:prstGeom>
            <a:solidFill>
              <a:schemeClr val="accent3"/>
            </a:solidFill>
            <a:ln w="9525">
              <a:solidFill>
                <a:schemeClr val="tx1"/>
              </a:solidFill>
              <a:miter lim="800000"/>
              <a:headEnd/>
              <a:tailEnd/>
            </a:ln>
          </p:spPr>
        </p:cxnSp>
        <p:cxnSp>
          <p:nvCxnSpPr>
            <p:cNvPr id="330" name="AutoShape 50"/>
            <p:cNvCxnSpPr>
              <a:cxnSpLocks noChangeShapeType="1"/>
            </p:cNvCxnSpPr>
            <p:nvPr/>
          </p:nvCxnSpPr>
          <p:spPr bwMode="gray">
            <a:xfrm flipV="1">
              <a:off x="8772093" y="4948242"/>
              <a:ext cx="381687" cy="248489"/>
            </a:xfrm>
            <a:prstGeom prst="bentConnector3">
              <a:avLst>
                <a:gd name="adj1" fmla="val 50000"/>
              </a:avLst>
            </a:prstGeom>
            <a:solidFill>
              <a:schemeClr val="accent3"/>
            </a:solidFill>
            <a:ln w="9525">
              <a:solidFill>
                <a:schemeClr val="tx1"/>
              </a:solidFill>
              <a:miter lim="800000"/>
              <a:headEnd/>
              <a:tailEnd/>
            </a:ln>
          </p:spPr>
        </p:cxnSp>
        <p:sp>
          <p:nvSpPr>
            <p:cNvPr id="331" name="Rectangle 51"/>
            <p:cNvSpPr>
              <a:spLocks noChangeArrowheads="1"/>
            </p:cNvSpPr>
            <p:nvPr/>
          </p:nvSpPr>
          <p:spPr bwMode="gray">
            <a:xfrm>
              <a:off x="6290561" y="5772070"/>
              <a:ext cx="2480934" cy="492772"/>
            </a:xfrm>
            <a:prstGeom prst="rect">
              <a:avLst/>
            </a:prstGeom>
            <a:solidFill>
              <a:schemeClr val="bg2"/>
            </a:solidFill>
            <a:ln w="9525" cap="flat" cmpd="sng" algn="ctr">
              <a:solidFill>
                <a:schemeClr val="bg1"/>
              </a:solidFill>
              <a:prstDash val="solid"/>
              <a:round/>
              <a:headEnd type="none" w="med" len="med"/>
              <a:tailEnd type="none" w="med" len="med"/>
            </a:ln>
            <a:effectLst/>
          </p:spPr>
          <p:txBody>
            <a:bodyPr lIns="90000" tIns="72000" rIns="90000" bIns="72000" anchor="ctr"/>
            <a:lstStyle/>
            <a:p>
              <a:pPr lvl="0">
                <a:defRPr/>
              </a:pPr>
              <a:r>
                <a:rPr lang="en-US" sz="1200"/>
                <a:t>Text</a:t>
              </a:r>
              <a:endParaRPr lang="en-US" sz="1200" dirty="0"/>
            </a:p>
          </p:txBody>
        </p:sp>
        <p:sp>
          <p:nvSpPr>
            <p:cNvPr id="332" name="Rectangle 52"/>
            <p:cNvSpPr>
              <a:spLocks noChangeArrowheads="1"/>
            </p:cNvSpPr>
            <p:nvPr/>
          </p:nvSpPr>
          <p:spPr bwMode="gray">
            <a:xfrm>
              <a:off x="9154150" y="5920548"/>
              <a:ext cx="2525089" cy="191512"/>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333" name="Rectangle 53"/>
            <p:cNvSpPr>
              <a:spLocks noChangeArrowheads="1"/>
            </p:cNvSpPr>
            <p:nvPr/>
          </p:nvSpPr>
          <p:spPr bwMode="gray">
            <a:xfrm>
              <a:off x="9154150" y="5673086"/>
              <a:ext cx="2525089" cy="19366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sp>
          <p:nvSpPr>
            <p:cNvPr id="334" name="Rectangle 54"/>
            <p:cNvSpPr>
              <a:spLocks noChangeArrowheads="1"/>
            </p:cNvSpPr>
            <p:nvPr/>
          </p:nvSpPr>
          <p:spPr bwMode="gray">
            <a:xfrm>
              <a:off x="9154150" y="6165858"/>
              <a:ext cx="2525089" cy="193666"/>
            </a:xfrm>
            <a:prstGeom prst="rect">
              <a:avLst/>
            </a:prstGeom>
            <a:solidFill>
              <a:schemeClr val="bg2"/>
            </a:solidFill>
            <a:ln w="9525" algn="ctr">
              <a:solidFill>
                <a:schemeClr val="bg1"/>
              </a:solidFill>
              <a:miter lim="800000"/>
              <a:headEnd/>
              <a:tailEnd/>
            </a:ln>
            <a:effectLst/>
          </p:spPr>
          <p:txBody>
            <a:bodyPr bIns="46800" anchor="ctr"/>
            <a:lstStyle/>
            <a:p>
              <a:pPr lvl="0">
                <a:defRPr/>
              </a:pPr>
              <a:r>
                <a:rPr lang="en-US" sz="1000"/>
                <a:t>Text</a:t>
              </a:r>
              <a:endParaRPr lang="en-US" sz="1000" dirty="0"/>
            </a:p>
          </p:txBody>
        </p:sp>
        <p:cxnSp>
          <p:nvCxnSpPr>
            <p:cNvPr id="335" name="AutoShape 55"/>
            <p:cNvCxnSpPr>
              <a:cxnSpLocks noChangeShapeType="1"/>
            </p:cNvCxnSpPr>
            <p:nvPr/>
          </p:nvCxnSpPr>
          <p:spPr bwMode="gray">
            <a:xfrm>
              <a:off x="8772093" y="6018587"/>
              <a:ext cx="381687" cy="244628"/>
            </a:xfrm>
            <a:prstGeom prst="bentConnector3">
              <a:avLst>
                <a:gd name="adj1" fmla="val 50000"/>
              </a:avLst>
            </a:prstGeom>
            <a:solidFill>
              <a:schemeClr val="accent3"/>
            </a:solidFill>
            <a:ln w="9525">
              <a:solidFill>
                <a:schemeClr val="tx1"/>
              </a:solidFill>
              <a:miter lim="800000"/>
              <a:headEnd/>
              <a:tailEnd/>
            </a:ln>
          </p:spPr>
        </p:cxnSp>
        <p:cxnSp>
          <p:nvCxnSpPr>
            <p:cNvPr id="336" name="AutoShape 56"/>
            <p:cNvCxnSpPr>
              <a:cxnSpLocks noChangeShapeType="1"/>
            </p:cNvCxnSpPr>
            <p:nvPr/>
          </p:nvCxnSpPr>
          <p:spPr bwMode="gray">
            <a:xfrm flipV="1">
              <a:off x="8772093" y="6016658"/>
              <a:ext cx="381687" cy="1931"/>
            </a:xfrm>
            <a:prstGeom prst="bentConnector3">
              <a:avLst>
                <a:gd name="adj1" fmla="val 50000"/>
              </a:avLst>
            </a:prstGeom>
            <a:solidFill>
              <a:schemeClr val="accent3"/>
            </a:solidFill>
            <a:ln w="9525">
              <a:solidFill>
                <a:schemeClr val="tx1"/>
              </a:solidFill>
              <a:miter lim="800000"/>
              <a:headEnd/>
              <a:tailEnd/>
            </a:ln>
          </p:spPr>
        </p:cxnSp>
        <p:cxnSp>
          <p:nvCxnSpPr>
            <p:cNvPr id="337" name="AutoShape 57"/>
            <p:cNvCxnSpPr>
              <a:cxnSpLocks noChangeShapeType="1"/>
            </p:cNvCxnSpPr>
            <p:nvPr/>
          </p:nvCxnSpPr>
          <p:spPr bwMode="gray">
            <a:xfrm flipV="1">
              <a:off x="8772093" y="5770099"/>
              <a:ext cx="381687" cy="248489"/>
            </a:xfrm>
            <a:prstGeom prst="bentConnector3">
              <a:avLst>
                <a:gd name="adj1" fmla="val 50000"/>
              </a:avLst>
            </a:prstGeom>
            <a:solidFill>
              <a:schemeClr val="accent3"/>
            </a:solidFill>
            <a:ln w="9525">
              <a:solidFill>
                <a:schemeClr val="tx1"/>
              </a:solidFill>
              <a:miter lim="800000"/>
              <a:headEnd/>
              <a:tailEnd/>
            </a:ln>
          </p:spPr>
        </p:cxnSp>
        <p:cxnSp>
          <p:nvCxnSpPr>
            <p:cNvPr id="338" name="AutoShape 58"/>
            <p:cNvCxnSpPr>
              <a:cxnSpLocks noChangeShapeType="1"/>
            </p:cNvCxnSpPr>
            <p:nvPr/>
          </p:nvCxnSpPr>
          <p:spPr bwMode="gray">
            <a:xfrm>
              <a:off x="5814018" y="5196729"/>
              <a:ext cx="477110" cy="821860"/>
            </a:xfrm>
            <a:prstGeom prst="bentConnector3">
              <a:avLst>
                <a:gd name="adj1" fmla="val 50000"/>
              </a:avLst>
            </a:prstGeom>
            <a:solidFill>
              <a:schemeClr val="accent3"/>
            </a:solidFill>
            <a:ln w="9525">
              <a:solidFill>
                <a:schemeClr val="tx1"/>
              </a:solidFill>
              <a:miter lim="800000"/>
              <a:headEnd/>
              <a:tailEnd/>
            </a:ln>
          </p:spPr>
        </p:cxnSp>
        <p:cxnSp>
          <p:nvCxnSpPr>
            <p:cNvPr id="339" name="Line 59"/>
            <p:cNvCxnSpPr>
              <a:cxnSpLocks noChangeShapeType="1"/>
              <a:stCxn id="314" idx="3"/>
              <a:endCxn id="324" idx="1"/>
            </p:cNvCxnSpPr>
            <p:nvPr/>
          </p:nvCxnSpPr>
          <p:spPr bwMode="gray">
            <a:xfrm>
              <a:off x="5813297" y="5196454"/>
              <a:ext cx="477264" cy="0"/>
            </a:xfrm>
            <a:prstGeom prst="line">
              <a:avLst/>
            </a:prstGeom>
            <a:solidFill>
              <a:schemeClr val="accent3"/>
            </a:solidFill>
            <a:ln w="9525">
              <a:solidFill>
                <a:schemeClr val="tx1"/>
              </a:solidFill>
              <a:round/>
              <a:headEnd/>
              <a:tailEnd/>
            </a:ln>
          </p:spPr>
        </p:cxnSp>
        <p:sp>
          <p:nvSpPr>
            <p:cNvPr id="60" name="Rectangle 51"/>
            <p:cNvSpPr>
              <a:spLocks noChangeArrowheads="1"/>
            </p:cNvSpPr>
            <p:nvPr/>
          </p:nvSpPr>
          <p:spPr bwMode="gray">
            <a:xfrm>
              <a:off x="508001" y="3490910"/>
              <a:ext cx="2432938" cy="740241"/>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lIns="90000" tIns="72000" rIns="90000" bIns="72000" anchor="ctr"/>
            <a:lstStyle/>
            <a:p>
              <a:pPr lvl="0">
                <a:defRPr/>
              </a:pPr>
              <a:r>
                <a:rPr lang="en-US" sz="1600">
                  <a:solidFill>
                    <a:srgbClr val="FFFFFF"/>
                  </a:solidFill>
                  <a:latin typeface="+mj-lt"/>
                </a:rPr>
                <a:t>Text</a:t>
              </a:r>
              <a:endParaRPr lang="en-US" sz="1600" dirty="0">
                <a:solidFill>
                  <a:srgbClr val="FFFFFF"/>
                </a:solidFill>
                <a:latin typeface="+mj-lt"/>
              </a:endParaRPr>
            </a:p>
          </p:txBody>
        </p:sp>
      </p:grpSp>
    </p:spTree>
    <p:extLst>
      <p:ext uri="{BB962C8B-B14F-4D97-AF65-F5344CB8AC3E}">
        <p14:creationId xmlns:p14="http://schemas.microsoft.com/office/powerpoint/2010/main" val="2571559776"/>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p:txBody>
          <a:bodyPr/>
          <a:lstStyle/>
          <a:p>
            <a:pPr lvl="0"/>
            <a:r>
              <a:rPr lang="en-GB"/>
              <a:t>Sample flow chart</a:t>
            </a:r>
          </a:p>
        </p:txBody>
      </p:sp>
      <p:sp>
        <p:nvSpPr>
          <p:cNvPr id="43011" name="AutoShape 3"/>
          <p:cNvSpPr>
            <a:spLocks noChangeArrowheads="1"/>
          </p:cNvSpPr>
          <p:nvPr/>
        </p:nvSpPr>
        <p:spPr bwMode="gray">
          <a:xfrm rot="5400000">
            <a:off x="438765" y="5692018"/>
            <a:ext cx="335546" cy="197077"/>
          </a:xfrm>
          <a:prstGeom prst="triangle">
            <a:avLst>
              <a:gd name="adj" fmla="val 50000"/>
            </a:avLst>
          </a:prstGeom>
          <a:solidFill>
            <a:schemeClr val="accent3"/>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a:p>
        </p:txBody>
      </p:sp>
      <p:sp>
        <p:nvSpPr>
          <p:cNvPr id="43012" name="AutoShape 4"/>
          <p:cNvSpPr>
            <a:spLocks noChangeArrowheads="1"/>
          </p:cNvSpPr>
          <p:nvPr/>
        </p:nvSpPr>
        <p:spPr bwMode="gray">
          <a:xfrm rot="5400000">
            <a:off x="438765" y="6093214"/>
            <a:ext cx="335546" cy="197077"/>
          </a:xfrm>
          <a:prstGeom prst="triangle">
            <a:avLst>
              <a:gd name="adj" fmla="val 50000"/>
            </a:avLst>
          </a:prstGeom>
          <a:solidFill>
            <a:schemeClr val="accent2"/>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a:p>
        </p:txBody>
      </p:sp>
      <p:sp>
        <p:nvSpPr>
          <p:cNvPr id="43013" name="Text Box 5"/>
          <p:cNvSpPr txBox="1">
            <a:spLocks noChangeArrowheads="1"/>
          </p:cNvSpPr>
          <p:nvPr/>
        </p:nvSpPr>
        <p:spPr bwMode="gray">
          <a:xfrm>
            <a:off x="518711" y="1528763"/>
            <a:ext cx="11151959" cy="829745"/>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dirty="0">
                <a:latin typeface="+mj-lt"/>
              </a:rPr>
              <a:t>Key market trend flow</a:t>
            </a:r>
          </a:p>
        </p:txBody>
      </p:sp>
      <p:sp>
        <p:nvSpPr>
          <p:cNvPr id="43014" name="Text Box 6"/>
          <p:cNvSpPr txBox="1">
            <a:spLocks noChangeArrowheads="1"/>
          </p:cNvSpPr>
          <p:nvPr/>
        </p:nvSpPr>
        <p:spPr bwMode="gray">
          <a:xfrm>
            <a:off x="518710" y="4656266"/>
            <a:ext cx="2572703" cy="829745"/>
          </a:xfrm>
          <a:prstGeom prst="rect">
            <a:avLst/>
          </a:prstGeom>
          <a:solidFill>
            <a:schemeClr val="bg2"/>
          </a:solidFill>
          <a:ln w="12700">
            <a:noFill/>
            <a:miter lim="800000"/>
            <a:headEnd/>
            <a:tailEnd/>
          </a:ln>
        </p:spPr>
        <p:txBody>
          <a:bodyPr/>
          <a:lstStyle/>
          <a:p>
            <a:pPr lvl="0">
              <a:lnSpc>
                <a:spcPct val="90000"/>
              </a:lnSpc>
              <a:spcBef>
                <a:spcPct val="0"/>
              </a:spcBef>
              <a:spcAft>
                <a:spcPct val="0"/>
              </a:spcAft>
              <a:buClrTx/>
              <a:buNone/>
            </a:pPr>
            <a:r>
              <a:rPr lang="en-GB" sz="1400" dirty="0">
                <a:solidFill>
                  <a:srgbClr val="FFFFFF"/>
                </a:solidFill>
              </a:rPr>
              <a:t>Market share</a:t>
            </a:r>
          </a:p>
        </p:txBody>
      </p:sp>
      <p:sp>
        <p:nvSpPr>
          <p:cNvPr id="43015" name="Text Box 7"/>
          <p:cNvSpPr txBox="1">
            <a:spLocks noChangeArrowheads="1"/>
          </p:cNvSpPr>
          <p:nvPr/>
        </p:nvSpPr>
        <p:spPr bwMode="gray">
          <a:xfrm>
            <a:off x="518710" y="3613158"/>
            <a:ext cx="2561995" cy="829745"/>
          </a:xfrm>
          <a:prstGeom prst="rect">
            <a:avLst/>
          </a:prstGeom>
          <a:solidFill>
            <a:schemeClr val="tx2"/>
          </a:solidFill>
          <a:ln w="12700">
            <a:noFill/>
            <a:miter lim="800000"/>
            <a:headEnd/>
            <a:tailEnd/>
          </a:ln>
        </p:spPr>
        <p:txBody>
          <a:bodyPr/>
          <a:lstStyle/>
          <a:p>
            <a:pPr lvl="0">
              <a:lnSpc>
                <a:spcPct val="90000"/>
              </a:lnSpc>
              <a:spcBef>
                <a:spcPct val="0"/>
              </a:spcBef>
              <a:spcAft>
                <a:spcPct val="0"/>
              </a:spcAft>
              <a:buClrTx/>
              <a:buNone/>
            </a:pPr>
            <a:r>
              <a:rPr lang="en-GB" sz="1400">
                <a:solidFill>
                  <a:srgbClr val="FFFFFF"/>
                </a:solidFill>
              </a:rPr>
              <a:t>Key factor 2</a:t>
            </a:r>
          </a:p>
        </p:txBody>
      </p:sp>
      <p:sp>
        <p:nvSpPr>
          <p:cNvPr id="43016" name="Text Box 8"/>
          <p:cNvSpPr txBox="1">
            <a:spLocks noChangeArrowheads="1"/>
          </p:cNvSpPr>
          <p:nvPr/>
        </p:nvSpPr>
        <p:spPr bwMode="gray">
          <a:xfrm>
            <a:off x="518710" y="2566402"/>
            <a:ext cx="2572703" cy="829745"/>
          </a:xfrm>
          <a:prstGeom prst="rect">
            <a:avLst/>
          </a:prstGeom>
          <a:solidFill>
            <a:schemeClr val="tx2"/>
          </a:solidFill>
          <a:ln w="12700">
            <a:noFill/>
            <a:miter lim="800000"/>
            <a:headEnd/>
            <a:tailEnd/>
          </a:ln>
        </p:spPr>
        <p:txBody>
          <a:bodyPr/>
          <a:lstStyle/>
          <a:p>
            <a:pPr lvl="0">
              <a:lnSpc>
                <a:spcPct val="90000"/>
              </a:lnSpc>
              <a:spcBef>
                <a:spcPct val="0"/>
              </a:spcBef>
              <a:spcAft>
                <a:spcPct val="0"/>
              </a:spcAft>
              <a:buClrTx/>
              <a:buNone/>
            </a:pPr>
            <a:r>
              <a:rPr lang="en-GB" sz="1400">
                <a:solidFill>
                  <a:srgbClr val="FFFFFF"/>
                </a:solidFill>
              </a:rPr>
              <a:t>Key factor 1</a:t>
            </a:r>
          </a:p>
        </p:txBody>
      </p:sp>
      <p:sp>
        <p:nvSpPr>
          <p:cNvPr id="43017" name="Text Box 9"/>
          <p:cNvSpPr txBox="1">
            <a:spLocks noChangeArrowheads="1"/>
          </p:cNvSpPr>
          <p:nvPr/>
        </p:nvSpPr>
        <p:spPr bwMode="gray">
          <a:xfrm>
            <a:off x="908579" y="5670199"/>
            <a:ext cx="10770659" cy="212132"/>
          </a:xfrm>
          <a:prstGeom prst="rect">
            <a:avLst/>
          </a:prstGeom>
          <a:noFill/>
          <a:ln w="9525">
            <a:noFill/>
            <a:miter lim="800000"/>
            <a:headEnd/>
            <a:tailEnd/>
          </a:ln>
        </p:spPr>
        <p:txBody>
          <a:bodyPr lIns="0" tIns="0" rIns="0" bIns="0">
            <a:spAutoFit/>
          </a:bodyPr>
          <a:lstStyle/>
          <a:p>
            <a:pPr lvl="0">
              <a:lnSpc>
                <a:spcPct val="100000"/>
              </a:lnSpc>
              <a:spcBef>
                <a:spcPct val="50000"/>
              </a:spcBef>
              <a:spcAft>
                <a:spcPct val="0"/>
              </a:spcAft>
              <a:buClrTx/>
              <a:buNone/>
            </a:pPr>
            <a:r>
              <a:rPr lang="en-GB" sz="1200">
                <a:solidFill>
                  <a:srgbClr val="000000"/>
                </a:solidFill>
              </a:rPr>
              <a:t>Short description here.</a:t>
            </a:r>
          </a:p>
        </p:txBody>
      </p:sp>
      <p:sp>
        <p:nvSpPr>
          <p:cNvPr id="43018" name="Text Box 10"/>
          <p:cNvSpPr txBox="1">
            <a:spLocks noChangeArrowheads="1"/>
          </p:cNvSpPr>
          <p:nvPr/>
        </p:nvSpPr>
        <p:spPr bwMode="gray">
          <a:xfrm>
            <a:off x="9097965" y="4656266"/>
            <a:ext cx="2572706" cy="829745"/>
          </a:xfrm>
          <a:prstGeom prst="rect">
            <a:avLst/>
          </a:prstGeom>
          <a:solidFill>
            <a:schemeClr val="bg2"/>
          </a:solidFill>
          <a:ln w="12700">
            <a:noFill/>
            <a:miter lim="800000"/>
            <a:headEnd/>
            <a:tailEnd/>
          </a:ln>
        </p:spPr>
        <p:txBody>
          <a:bodyPr/>
          <a:lstStyle/>
          <a:p>
            <a:pPr lvl="0">
              <a:lnSpc>
                <a:spcPct val="90000"/>
              </a:lnSpc>
              <a:spcBef>
                <a:spcPct val="0"/>
              </a:spcBef>
              <a:spcAft>
                <a:spcPct val="0"/>
              </a:spcAft>
              <a:buClrTx/>
              <a:buNone/>
            </a:pPr>
            <a:r>
              <a:rPr lang="en-GB" sz="1400">
                <a:solidFill>
                  <a:srgbClr val="FFFFFF"/>
                </a:solidFill>
              </a:rPr>
              <a:t>Sub group</a:t>
            </a:r>
          </a:p>
        </p:txBody>
      </p:sp>
      <p:sp>
        <p:nvSpPr>
          <p:cNvPr id="43019" name="Text Box 11"/>
          <p:cNvSpPr txBox="1">
            <a:spLocks noChangeArrowheads="1"/>
          </p:cNvSpPr>
          <p:nvPr/>
        </p:nvSpPr>
        <p:spPr bwMode="gray">
          <a:xfrm>
            <a:off x="9097965" y="3613158"/>
            <a:ext cx="2553426" cy="829745"/>
          </a:xfrm>
          <a:prstGeom prst="rect">
            <a:avLst/>
          </a:prstGeom>
          <a:solidFill>
            <a:schemeClr val="tx2"/>
          </a:solidFill>
          <a:ln w="12700">
            <a:noFill/>
            <a:miter lim="800000"/>
            <a:headEnd/>
            <a:tailEnd/>
          </a:ln>
        </p:spPr>
        <p:txBody>
          <a:bodyPr/>
          <a:lstStyle/>
          <a:p>
            <a:pPr lvl="0">
              <a:lnSpc>
                <a:spcPct val="90000"/>
              </a:lnSpc>
              <a:spcBef>
                <a:spcPct val="0"/>
              </a:spcBef>
              <a:spcAft>
                <a:spcPct val="0"/>
              </a:spcAft>
              <a:buClrTx/>
              <a:buNone/>
            </a:pPr>
            <a:r>
              <a:rPr lang="en-GB" sz="1400">
                <a:solidFill>
                  <a:srgbClr val="FFFFFF"/>
                </a:solidFill>
              </a:rPr>
              <a:t>Main group</a:t>
            </a:r>
          </a:p>
        </p:txBody>
      </p:sp>
      <p:sp>
        <p:nvSpPr>
          <p:cNvPr id="43020" name="Text Box 12"/>
          <p:cNvSpPr txBox="1">
            <a:spLocks noChangeArrowheads="1"/>
          </p:cNvSpPr>
          <p:nvPr/>
        </p:nvSpPr>
        <p:spPr bwMode="gray">
          <a:xfrm>
            <a:off x="4796556" y="4674502"/>
            <a:ext cx="2570563" cy="829745"/>
          </a:xfrm>
          <a:prstGeom prst="rect">
            <a:avLst/>
          </a:prstGeom>
          <a:solidFill>
            <a:schemeClr val="bg2"/>
          </a:solidFill>
          <a:ln w="12700">
            <a:noFill/>
            <a:miter lim="800000"/>
            <a:headEnd/>
            <a:tailEnd/>
          </a:ln>
        </p:spPr>
        <p:txBody>
          <a:bodyPr/>
          <a:lstStyle/>
          <a:p>
            <a:pPr lvl="0">
              <a:lnSpc>
                <a:spcPct val="90000"/>
              </a:lnSpc>
              <a:spcBef>
                <a:spcPct val="0"/>
              </a:spcBef>
              <a:spcAft>
                <a:spcPct val="0"/>
              </a:spcAft>
              <a:buClrTx/>
              <a:buNone/>
            </a:pPr>
            <a:r>
              <a:rPr lang="en-GB" sz="1400">
                <a:solidFill>
                  <a:srgbClr val="FFFFFF"/>
                </a:solidFill>
              </a:rPr>
              <a:t>Sub group</a:t>
            </a:r>
          </a:p>
        </p:txBody>
      </p:sp>
      <p:sp>
        <p:nvSpPr>
          <p:cNvPr id="43021" name="Text Box 13"/>
          <p:cNvSpPr txBox="1">
            <a:spLocks noChangeArrowheads="1"/>
          </p:cNvSpPr>
          <p:nvPr/>
        </p:nvSpPr>
        <p:spPr bwMode="gray">
          <a:xfrm>
            <a:off x="4798698" y="2580991"/>
            <a:ext cx="6871972" cy="829745"/>
          </a:xfrm>
          <a:prstGeom prst="rect">
            <a:avLst/>
          </a:prstGeom>
          <a:solidFill>
            <a:schemeClr val="tx2"/>
          </a:solidFill>
          <a:ln w="12700">
            <a:noFill/>
            <a:miter lim="800000"/>
            <a:headEnd/>
            <a:tailEnd/>
          </a:ln>
        </p:spPr>
        <p:txBody>
          <a:bodyPr/>
          <a:lstStyle/>
          <a:p>
            <a:pPr lvl="0">
              <a:lnSpc>
                <a:spcPct val="90000"/>
              </a:lnSpc>
              <a:spcBef>
                <a:spcPct val="0"/>
              </a:spcBef>
              <a:spcAft>
                <a:spcPct val="0"/>
              </a:spcAft>
              <a:buClrTx/>
              <a:buNone/>
            </a:pPr>
            <a:r>
              <a:rPr lang="en-GB" sz="1400">
                <a:solidFill>
                  <a:srgbClr val="FFFFFF"/>
                </a:solidFill>
              </a:rPr>
              <a:t>Total population of that market</a:t>
            </a:r>
          </a:p>
        </p:txBody>
      </p:sp>
      <p:sp>
        <p:nvSpPr>
          <p:cNvPr id="43022" name="Text Box 14"/>
          <p:cNvSpPr txBox="1">
            <a:spLocks noChangeArrowheads="1"/>
          </p:cNvSpPr>
          <p:nvPr/>
        </p:nvSpPr>
        <p:spPr bwMode="gray">
          <a:xfrm>
            <a:off x="4796556" y="3613158"/>
            <a:ext cx="2570563" cy="829745"/>
          </a:xfrm>
          <a:prstGeom prst="rect">
            <a:avLst/>
          </a:prstGeom>
          <a:solidFill>
            <a:schemeClr val="tx2"/>
          </a:solidFill>
          <a:ln w="12700">
            <a:noFill/>
            <a:miter lim="800000"/>
            <a:headEnd/>
            <a:tailEnd/>
          </a:ln>
        </p:spPr>
        <p:txBody>
          <a:bodyPr/>
          <a:lstStyle/>
          <a:p>
            <a:pPr lvl="0">
              <a:lnSpc>
                <a:spcPct val="90000"/>
              </a:lnSpc>
              <a:spcBef>
                <a:spcPct val="0"/>
              </a:spcBef>
              <a:spcAft>
                <a:spcPct val="0"/>
              </a:spcAft>
              <a:buClrTx/>
              <a:buNone/>
            </a:pPr>
            <a:r>
              <a:rPr lang="en-GB" sz="1400">
                <a:solidFill>
                  <a:srgbClr val="FFFFFF"/>
                </a:solidFill>
              </a:rPr>
              <a:t>Main group</a:t>
            </a:r>
          </a:p>
        </p:txBody>
      </p:sp>
      <p:sp>
        <p:nvSpPr>
          <p:cNvPr id="43023" name="Text Box 15"/>
          <p:cNvSpPr txBox="1">
            <a:spLocks noChangeArrowheads="1"/>
          </p:cNvSpPr>
          <p:nvPr/>
        </p:nvSpPr>
        <p:spPr bwMode="gray">
          <a:xfrm>
            <a:off x="908579" y="6089631"/>
            <a:ext cx="10770659" cy="212132"/>
          </a:xfrm>
          <a:prstGeom prst="rect">
            <a:avLst/>
          </a:prstGeom>
          <a:noFill/>
          <a:ln w="9525">
            <a:noFill/>
            <a:miter lim="800000"/>
            <a:headEnd/>
            <a:tailEnd/>
          </a:ln>
        </p:spPr>
        <p:txBody>
          <a:bodyPr lIns="0" tIns="0" rIns="0" bIns="0">
            <a:spAutoFit/>
          </a:bodyPr>
          <a:lstStyle/>
          <a:p>
            <a:pPr lvl="0">
              <a:lnSpc>
                <a:spcPct val="100000"/>
              </a:lnSpc>
              <a:spcBef>
                <a:spcPct val="50000"/>
              </a:spcBef>
              <a:spcAft>
                <a:spcPct val="0"/>
              </a:spcAft>
              <a:buClrTx/>
              <a:buNone/>
            </a:pPr>
            <a:r>
              <a:rPr lang="en-GB" sz="1200" dirty="0">
                <a:solidFill>
                  <a:srgbClr val="000000"/>
                </a:solidFill>
              </a:rPr>
              <a:t>Short description here.</a:t>
            </a:r>
          </a:p>
        </p:txBody>
      </p:sp>
      <p:sp>
        <p:nvSpPr>
          <p:cNvPr id="43024" name="AutoShape 16"/>
          <p:cNvSpPr>
            <a:spLocks noChangeArrowheads="1"/>
          </p:cNvSpPr>
          <p:nvPr/>
        </p:nvSpPr>
        <p:spPr bwMode="gray">
          <a:xfrm rot="5400000">
            <a:off x="3037177" y="2883648"/>
            <a:ext cx="335546" cy="197077"/>
          </a:xfrm>
          <a:prstGeom prst="triangle">
            <a:avLst>
              <a:gd name="adj" fmla="val 50000"/>
            </a:avLst>
          </a:prstGeom>
          <a:solidFill>
            <a:schemeClr val="tx2"/>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a:solidFill>
                <a:schemeClr val="tx2"/>
              </a:solidFill>
            </a:endParaRPr>
          </a:p>
        </p:txBody>
      </p:sp>
      <p:sp>
        <p:nvSpPr>
          <p:cNvPr id="43025" name="AutoShape 17"/>
          <p:cNvSpPr>
            <a:spLocks noChangeArrowheads="1"/>
          </p:cNvSpPr>
          <p:nvPr/>
        </p:nvSpPr>
        <p:spPr bwMode="gray">
          <a:xfrm rot="5400000">
            <a:off x="3037177" y="3919462"/>
            <a:ext cx="335546" cy="197077"/>
          </a:xfrm>
          <a:prstGeom prst="triangle">
            <a:avLst>
              <a:gd name="adj" fmla="val 50000"/>
            </a:avLst>
          </a:prstGeom>
          <a:solidFill>
            <a:schemeClr val="tx2"/>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a:solidFill>
                <a:schemeClr val="tx2"/>
              </a:solidFill>
            </a:endParaRPr>
          </a:p>
        </p:txBody>
      </p:sp>
      <p:sp>
        <p:nvSpPr>
          <p:cNvPr id="43026" name="AutoShape 18"/>
          <p:cNvSpPr>
            <a:spLocks noChangeArrowheads="1"/>
          </p:cNvSpPr>
          <p:nvPr/>
        </p:nvSpPr>
        <p:spPr bwMode="gray">
          <a:xfrm rot="5400000">
            <a:off x="3037177" y="4984455"/>
            <a:ext cx="335546" cy="197077"/>
          </a:xfrm>
          <a:prstGeom prst="triangle">
            <a:avLst>
              <a:gd name="adj" fmla="val 50000"/>
            </a:avLst>
          </a:prstGeom>
          <a:solidFill>
            <a:schemeClr val="bg2"/>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a:solidFill>
                <a:schemeClr val="bg1"/>
              </a:solidFill>
            </a:endParaRPr>
          </a:p>
        </p:txBody>
      </p:sp>
      <p:sp>
        <p:nvSpPr>
          <p:cNvPr id="43027" name="AutoShape 19"/>
          <p:cNvSpPr>
            <a:spLocks noChangeArrowheads="1"/>
          </p:cNvSpPr>
          <p:nvPr/>
        </p:nvSpPr>
        <p:spPr bwMode="gray">
          <a:xfrm rot="10800000">
            <a:off x="5908324" y="3425327"/>
            <a:ext cx="404862" cy="155007"/>
          </a:xfrm>
          <a:prstGeom prst="triangle">
            <a:avLst>
              <a:gd name="adj" fmla="val 50000"/>
            </a:avLst>
          </a:prstGeom>
          <a:solidFill>
            <a:schemeClr val="tx2"/>
          </a:solidFill>
          <a:ln w="9525">
            <a:noFill/>
            <a:miter lim="800000"/>
            <a:headEnd/>
            <a:tailEnd/>
          </a:ln>
        </p:spPr>
        <p:txBody>
          <a:bodyPr rot="10800000" wrap="none" lIns="0" tIns="0" rIns="0" bIns="0" anchor="ctr"/>
          <a:lstStyle/>
          <a:p>
            <a:pPr algn="ctr">
              <a:lnSpc>
                <a:spcPct val="100000"/>
              </a:lnSpc>
              <a:spcBef>
                <a:spcPct val="0"/>
              </a:spcBef>
              <a:spcAft>
                <a:spcPct val="0"/>
              </a:spcAft>
              <a:buClrTx/>
              <a:buFontTx/>
              <a:buNone/>
            </a:pPr>
            <a:endParaRPr lang="en-US" b="1">
              <a:solidFill>
                <a:schemeClr val="tx2"/>
              </a:solidFill>
            </a:endParaRPr>
          </a:p>
        </p:txBody>
      </p:sp>
      <p:sp>
        <p:nvSpPr>
          <p:cNvPr id="43028" name="AutoShape 20"/>
          <p:cNvSpPr>
            <a:spLocks noChangeArrowheads="1"/>
          </p:cNvSpPr>
          <p:nvPr/>
        </p:nvSpPr>
        <p:spPr bwMode="gray">
          <a:xfrm rot="10800000">
            <a:off x="5908324" y="4453848"/>
            <a:ext cx="404862" cy="155007"/>
          </a:xfrm>
          <a:prstGeom prst="triangle">
            <a:avLst>
              <a:gd name="adj" fmla="val 50000"/>
            </a:avLst>
          </a:prstGeom>
          <a:solidFill>
            <a:schemeClr val="tx2"/>
          </a:solidFill>
          <a:ln w="9525">
            <a:noFill/>
            <a:miter lim="800000"/>
            <a:headEnd/>
            <a:tailEnd/>
          </a:ln>
        </p:spPr>
        <p:txBody>
          <a:bodyPr rot="10800000" wrap="none" lIns="0" tIns="0" rIns="0" bIns="0" anchor="ctr"/>
          <a:lstStyle/>
          <a:p>
            <a:pPr algn="ctr">
              <a:lnSpc>
                <a:spcPct val="100000"/>
              </a:lnSpc>
              <a:spcBef>
                <a:spcPct val="0"/>
              </a:spcBef>
              <a:spcAft>
                <a:spcPct val="0"/>
              </a:spcAft>
              <a:buClrTx/>
              <a:buFontTx/>
              <a:buNone/>
            </a:pPr>
            <a:endParaRPr lang="en-US" b="1">
              <a:solidFill>
                <a:schemeClr val="tx2"/>
              </a:solidFill>
            </a:endParaRPr>
          </a:p>
        </p:txBody>
      </p:sp>
      <p:sp>
        <p:nvSpPr>
          <p:cNvPr id="43029" name="AutoShape 21"/>
          <p:cNvSpPr>
            <a:spLocks noChangeArrowheads="1"/>
          </p:cNvSpPr>
          <p:nvPr/>
        </p:nvSpPr>
        <p:spPr bwMode="gray">
          <a:xfrm rot="10800000">
            <a:off x="5908324" y="2374924"/>
            <a:ext cx="404862" cy="155007"/>
          </a:xfrm>
          <a:prstGeom prst="triangle">
            <a:avLst>
              <a:gd name="adj" fmla="val 50000"/>
            </a:avLst>
          </a:prstGeom>
          <a:solidFill>
            <a:schemeClr val="accent1"/>
          </a:solidFill>
          <a:ln w="9525">
            <a:noFill/>
            <a:miter lim="800000"/>
            <a:headEnd/>
            <a:tailEnd/>
          </a:ln>
        </p:spPr>
        <p:txBody>
          <a:bodyPr rot="10800000" wrap="none" lIns="0" tIns="0" rIns="0" bIns="0" anchor="ctr"/>
          <a:lstStyle/>
          <a:p>
            <a:pPr algn="ctr">
              <a:lnSpc>
                <a:spcPct val="100000"/>
              </a:lnSpc>
              <a:spcBef>
                <a:spcPct val="0"/>
              </a:spcBef>
              <a:spcAft>
                <a:spcPct val="0"/>
              </a:spcAft>
              <a:buClrTx/>
              <a:buFontTx/>
              <a:buNone/>
            </a:pPr>
            <a:endParaRPr lang="en-US">
              <a:latin typeface="+mj-lt"/>
            </a:endParaRPr>
          </a:p>
        </p:txBody>
      </p:sp>
      <p:sp>
        <p:nvSpPr>
          <p:cNvPr id="43030" name="AutoShape 22"/>
          <p:cNvSpPr>
            <a:spLocks noChangeArrowheads="1"/>
          </p:cNvSpPr>
          <p:nvPr/>
        </p:nvSpPr>
        <p:spPr bwMode="gray">
          <a:xfrm rot="10800000">
            <a:off x="10136902" y="3425327"/>
            <a:ext cx="404862" cy="155007"/>
          </a:xfrm>
          <a:prstGeom prst="triangle">
            <a:avLst>
              <a:gd name="adj" fmla="val 50000"/>
            </a:avLst>
          </a:prstGeom>
          <a:solidFill>
            <a:schemeClr val="tx2"/>
          </a:solidFill>
          <a:ln w="9525">
            <a:noFill/>
            <a:miter lim="800000"/>
            <a:headEnd/>
            <a:tailEnd/>
          </a:ln>
        </p:spPr>
        <p:txBody>
          <a:bodyPr rot="10800000" wrap="none" lIns="0" tIns="0" rIns="0" bIns="0" anchor="ctr"/>
          <a:lstStyle/>
          <a:p>
            <a:pPr algn="ctr">
              <a:lnSpc>
                <a:spcPct val="100000"/>
              </a:lnSpc>
              <a:spcBef>
                <a:spcPct val="0"/>
              </a:spcBef>
              <a:spcAft>
                <a:spcPct val="0"/>
              </a:spcAft>
              <a:buClrTx/>
              <a:buFontTx/>
              <a:buNone/>
            </a:pPr>
            <a:endParaRPr lang="en-US" b="1">
              <a:solidFill>
                <a:schemeClr val="tx2"/>
              </a:solidFill>
            </a:endParaRPr>
          </a:p>
        </p:txBody>
      </p:sp>
      <p:sp>
        <p:nvSpPr>
          <p:cNvPr id="43031" name="AutoShape 23"/>
          <p:cNvSpPr>
            <a:spLocks noChangeArrowheads="1"/>
          </p:cNvSpPr>
          <p:nvPr/>
        </p:nvSpPr>
        <p:spPr bwMode="gray">
          <a:xfrm rot="10800000">
            <a:off x="10136902" y="4453848"/>
            <a:ext cx="404862" cy="155007"/>
          </a:xfrm>
          <a:prstGeom prst="triangle">
            <a:avLst>
              <a:gd name="adj" fmla="val 50000"/>
            </a:avLst>
          </a:prstGeom>
          <a:solidFill>
            <a:schemeClr val="tx2"/>
          </a:solidFill>
          <a:ln w="9525">
            <a:noFill/>
            <a:miter lim="800000"/>
            <a:headEnd/>
            <a:tailEnd/>
          </a:ln>
        </p:spPr>
        <p:txBody>
          <a:bodyPr rot="10800000" wrap="none" lIns="0" tIns="0" rIns="0" bIns="0" anchor="ctr"/>
          <a:lstStyle/>
          <a:p>
            <a:pPr algn="ctr">
              <a:lnSpc>
                <a:spcPct val="100000"/>
              </a:lnSpc>
              <a:spcBef>
                <a:spcPct val="0"/>
              </a:spcBef>
              <a:spcAft>
                <a:spcPct val="0"/>
              </a:spcAft>
              <a:buClrTx/>
              <a:buFontTx/>
              <a:buNone/>
            </a:pPr>
            <a:endParaRPr lang="en-US" b="1">
              <a:solidFill>
                <a:schemeClr val="tx2"/>
              </a:solidFill>
            </a:endParaRPr>
          </a:p>
        </p:txBody>
      </p:sp>
      <p:sp>
        <p:nvSpPr>
          <p:cNvPr id="43032" name="AutoShape 24"/>
          <p:cNvSpPr>
            <a:spLocks noChangeArrowheads="1"/>
          </p:cNvSpPr>
          <p:nvPr/>
        </p:nvSpPr>
        <p:spPr bwMode="gray">
          <a:xfrm rot="10800000">
            <a:off x="10136902" y="2374924"/>
            <a:ext cx="404862" cy="155007"/>
          </a:xfrm>
          <a:prstGeom prst="triangle">
            <a:avLst>
              <a:gd name="adj" fmla="val 50000"/>
            </a:avLst>
          </a:prstGeom>
          <a:solidFill>
            <a:schemeClr val="accent1"/>
          </a:solidFill>
          <a:ln w="9525">
            <a:noFill/>
            <a:miter lim="800000"/>
            <a:headEnd/>
            <a:tailEnd/>
          </a:ln>
        </p:spPr>
        <p:txBody>
          <a:bodyPr rot="10800000" wrap="none" lIns="0" tIns="0" rIns="0" bIns="0" anchor="ctr"/>
          <a:lstStyle/>
          <a:p>
            <a:pPr algn="ctr">
              <a:lnSpc>
                <a:spcPct val="100000"/>
              </a:lnSpc>
              <a:spcBef>
                <a:spcPct val="0"/>
              </a:spcBef>
              <a:spcAft>
                <a:spcPct val="0"/>
              </a:spcAft>
              <a:buClrTx/>
              <a:buFontTx/>
              <a:buNone/>
            </a:pPr>
            <a:endParaRPr lang="en-US">
              <a:latin typeface="+mj-lt"/>
            </a:endParaRPr>
          </a:p>
        </p:txBody>
      </p:sp>
      <p:sp>
        <p:nvSpPr>
          <p:cNvPr id="43033" name="AutoShape 25"/>
          <p:cNvSpPr>
            <a:spLocks noChangeArrowheads="1"/>
          </p:cNvSpPr>
          <p:nvPr/>
        </p:nvSpPr>
        <p:spPr bwMode="gray">
          <a:xfrm rot="16200000">
            <a:off x="8805948" y="4970503"/>
            <a:ext cx="335546" cy="188508"/>
          </a:xfrm>
          <a:prstGeom prst="triangle">
            <a:avLst>
              <a:gd name="adj" fmla="val 50000"/>
            </a:avLst>
          </a:prstGeom>
          <a:solidFill>
            <a:schemeClr val="bg2"/>
          </a:solidFill>
          <a:ln w="9525">
            <a:noFill/>
            <a:miter lim="800000"/>
            <a:headEnd/>
            <a:tailEnd/>
          </a:ln>
        </p:spPr>
        <p:txBody>
          <a:bodyPr vert="eaVert" wrap="none" lIns="0" tIns="0" rIns="0" bIns="0" anchor="ctr"/>
          <a:lstStyle/>
          <a:p>
            <a:pPr algn="ctr">
              <a:lnSpc>
                <a:spcPct val="100000"/>
              </a:lnSpc>
              <a:spcBef>
                <a:spcPct val="0"/>
              </a:spcBef>
              <a:spcAft>
                <a:spcPct val="0"/>
              </a:spcAft>
              <a:buClrTx/>
              <a:buFontTx/>
              <a:buNone/>
            </a:pPr>
            <a:endParaRPr lang="en-US" b="1"/>
          </a:p>
        </p:txBody>
      </p:sp>
    </p:spTree>
    <p:extLst>
      <p:ext uri="{BB962C8B-B14F-4D97-AF65-F5344CB8AC3E}">
        <p14:creationId xmlns:p14="http://schemas.microsoft.com/office/powerpoint/2010/main" val="962436402"/>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Sample diagram with grey palette</a:t>
            </a:r>
            <a:endParaRPr lang="en-GB" dirty="0"/>
          </a:p>
        </p:txBody>
      </p:sp>
      <p:sp>
        <p:nvSpPr>
          <p:cNvPr id="47" name="Content Placeholder 2"/>
          <p:cNvSpPr>
            <a:spLocks noGrp="1"/>
          </p:cNvSpPr>
          <p:nvPr>
            <p:ph idx="11"/>
          </p:nvPr>
        </p:nvSpPr>
        <p:spPr>
          <a:xfrm>
            <a:off x="508000" y="1528763"/>
            <a:ext cx="11171238" cy="4830762"/>
          </a:xfrm>
        </p:spPr>
        <p:txBody>
          <a:bodyPr/>
          <a:lstStyle/>
          <a:p>
            <a:r>
              <a:rPr lang="en-AU" dirty="0"/>
              <a:t>Sub headline (optional):</a:t>
            </a:r>
            <a:br>
              <a:rPr lang="en-AU" dirty="0"/>
            </a:br>
            <a:r>
              <a:rPr lang="en-AU" dirty="0"/>
              <a:t>Sub headline second line written in sentence case. </a:t>
            </a:r>
          </a:p>
        </p:txBody>
      </p:sp>
      <p:sp>
        <p:nvSpPr>
          <p:cNvPr id="31" name="Rectangle 7"/>
          <p:cNvSpPr>
            <a:spLocks noChangeArrowheads="1"/>
          </p:cNvSpPr>
          <p:nvPr/>
        </p:nvSpPr>
        <p:spPr bwMode="auto">
          <a:xfrm>
            <a:off x="2149119" y="2554507"/>
            <a:ext cx="1319288" cy="934977"/>
          </a:xfrm>
          <a:prstGeom prst="rect">
            <a:avLst/>
          </a:prstGeom>
          <a:noFill/>
          <a:ln w="6350">
            <a:noFill/>
            <a:miter lim="800000"/>
            <a:headEnd/>
            <a:tailEnd/>
          </a:ln>
        </p:spPr>
        <p:txBody>
          <a:bodyPr wrap="none" lIns="0" tIns="0" rIns="0" bIns="0" anchor="ctr"/>
          <a:lstStyle/>
          <a:p>
            <a:pPr fontAlgn="base">
              <a:spcBef>
                <a:spcPct val="0"/>
              </a:spcBef>
              <a:spcAft>
                <a:spcPct val="0"/>
              </a:spcAft>
            </a:pPr>
            <a:endParaRPr lang="en-GB"/>
          </a:p>
        </p:txBody>
      </p:sp>
      <p:sp>
        <p:nvSpPr>
          <p:cNvPr id="33" name="AutoShape 9"/>
          <p:cNvSpPr>
            <a:spLocks noChangeArrowheads="1"/>
          </p:cNvSpPr>
          <p:nvPr/>
        </p:nvSpPr>
        <p:spPr bwMode="auto">
          <a:xfrm>
            <a:off x="508000" y="2448666"/>
            <a:ext cx="2571927" cy="525655"/>
          </a:xfrm>
          <a:prstGeom prst="chevron">
            <a:avLst>
              <a:gd name="adj" fmla="val 28271"/>
            </a:avLst>
          </a:prstGeom>
          <a:solidFill>
            <a:schemeClr val="tx1"/>
          </a:solidFill>
          <a:ln w="9525" algn="ctr">
            <a:noFill/>
            <a:miter lim="800000"/>
            <a:headEnd/>
            <a:tailEnd/>
          </a:ln>
          <a:effectLst/>
        </p:spPr>
        <p:txBody>
          <a:bodyPr wrap="none" lIns="81043" tIns="40522" rIns="81043" bIns="40522" anchor="ctr"/>
          <a:lstStyle/>
          <a:p>
            <a:pPr lvl="0" algn="ctr">
              <a:defRPr/>
            </a:pPr>
            <a:r>
              <a:rPr lang="en-US" sz="1600" dirty="0">
                <a:solidFill>
                  <a:schemeClr val="bg1"/>
                </a:solidFill>
                <a:latin typeface="+mj-lt"/>
              </a:rPr>
              <a:t>Phase 1</a:t>
            </a:r>
          </a:p>
        </p:txBody>
      </p:sp>
      <p:sp>
        <p:nvSpPr>
          <p:cNvPr id="34" name="AutoShape 10"/>
          <p:cNvSpPr>
            <a:spLocks noChangeArrowheads="1"/>
          </p:cNvSpPr>
          <p:nvPr/>
        </p:nvSpPr>
        <p:spPr bwMode="auto">
          <a:xfrm>
            <a:off x="3376644" y="2448666"/>
            <a:ext cx="2569824" cy="525655"/>
          </a:xfrm>
          <a:prstGeom prst="chevron">
            <a:avLst>
              <a:gd name="adj" fmla="val 28250"/>
            </a:avLst>
          </a:prstGeom>
          <a:solidFill>
            <a:schemeClr val="accent1"/>
          </a:solidFill>
          <a:ln w="9525" algn="ctr">
            <a:noFill/>
            <a:miter lim="800000"/>
            <a:headEnd/>
            <a:tailEnd/>
          </a:ln>
          <a:effectLst/>
        </p:spPr>
        <p:txBody>
          <a:bodyPr wrap="none" lIns="81043" tIns="40522" rIns="81043" bIns="40522" anchor="ctr"/>
          <a:lstStyle/>
          <a:p>
            <a:pPr lvl="0" algn="ctr">
              <a:defRPr/>
            </a:pPr>
            <a:r>
              <a:rPr lang="en-US" sz="1600">
                <a:latin typeface="+mj-lt"/>
              </a:rPr>
              <a:t>Phase 2</a:t>
            </a:r>
          </a:p>
        </p:txBody>
      </p:sp>
      <p:sp>
        <p:nvSpPr>
          <p:cNvPr id="35" name="AutoShape 11"/>
          <p:cNvSpPr>
            <a:spLocks noChangeArrowheads="1"/>
          </p:cNvSpPr>
          <p:nvPr/>
        </p:nvSpPr>
        <p:spPr bwMode="auto">
          <a:xfrm>
            <a:off x="6243186" y="2448666"/>
            <a:ext cx="2569827" cy="525655"/>
          </a:xfrm>
          <a:prstGeom prst="chevron">
            <a:avLst>
              <a:gd name="adj" fmla="val 28250"/>
            </a:avLst>
          </a:prstGeom>
          <a:solidFill>
            <a:schemeClr val="bg2"/>
          </a:solidFill>
          <a:ln w="9525" algn="ctr">
            <a:noFill/>
            <a:miter lim="800000"/>
            <a:headEnd/>
            <a:tailEnd/>
          </a:ln>
          <a:effectLst/>
        </p:spPr>
        <p:txBody>
          <a:bodyPr wrap="none" lIns="81043" tIns="40522" rIns="81043" bIns="40522" anchor="ctr"/>
          <a:lstStyle/>
          <a:p>
            <a:pPr lvl="0" algn="ctr">
              <a:defRPr/>
            </a:pPr>
            <a:r>
              <a:rPr lang="en-US" sz="1600" dirty="0">
                <a:solidFill>
                  <a:schemeClr val="tx2"/>
                </a:solidFill>
                <a:latin typeface="+mj-lt"/>
              </a:rPr>
              <a:t>Phase 3</a:t>
            </a:r>
          </a:p>
        </p:txBody>
      </p:sp>
      <p:sp>
        <p:nvSpPr>
          <p:cNvPr id="36" name="AutoShape 12"/>
          <p:cNvSpPr>
            <a:spLocks noChangeArrowheads="1"/>
          </p:cNvSpPr>
          <p:nvPr/>
        </p:nvSpPr>
        <p:spPr bwMode="gray">
          <a:xfrm>
            <a:off x="9109731" y="2448667"/>
            <a:ext cx="2569507" cy="526224"/>
          </a:xfrm>
          <a:prstGeom prst="chevron">
            <a:avLst>
              <a:gd name="adj" fmla="val 28256"/>
            </a:avLst>
          </a:prstGeom>
          <a:solidFill>
            <a:schemeClr val="bg2"/>
          </a:solidFill>
          <a:ln w="6350">
            <a:noFill/>
            <a:miter lim="800000"/>
            <a:headEnd/>
            <a:tailEnd/>
          </a:ln>
        </p:spPr>
        <p:txBody>
          <a:bodyPr lIns="191441" tIns="31907" rIns="95720" bIns="63814" anchor="ctr"/>
          <a:lstStyle/>
          <a:p>
            <a:pPr lvl="0" algn="ctr" eaLnBrk="0" fontAlgn="base" hangingPunct="0">
              <a:spcBef>
                <a:spcPct val="0"/>
              </a:spcBef>
              <a:spcAft>
                <a:spcPct val="0"/>
              </a:spcAft>
            </a:pPr>
            <a:r>
              <a:rPr lang="en-GB" sz="1600" dirty="0">
                <a:solidFill>
                  <a:schemeClr val="tx2"/>
                </a:solidFill>
                <a:latin typeface="+mj-lt"/>
              </a:rPr>
              <a:t>Phase 4</a:t>
            </a:r>
          </a:p>
        </p:txBody>
      </p:sp>
      <p:sp>
        <p:nvSpPr>
          <p:cNvPr id="37" name="Rectangle 13"/>
          <p:cNvSpPr>
            <a:spLocks noChangeArrowheads="1"/>
          </p:cNvSpPr>
          <p:nvPr/>
        </p:nvSpPr>
        <p:spPr bwMode="gray">
          <a:xfrm>
            <a:off x="508003" y="4041347"/>
            <a:ext cx="2082514" cy="738664"/>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of the text used in this location. </a:t>
            </a:r>
          </a:p>
        </p:txBody>
      </p:sp>
      <p:sp>
        <p:nvSpPr>
          <p:cNvPr id="38" name="Rectangle 14"/>
          <p:cNvSpPr>
            <a:spLocks noChangeArrowheads="1"/>
          </p:cNvSpPr>
          <p:nvPr/>
        </p:nvSpPr>
        <p:spPr bwMode="gray">
          <a:xfrm>
            <a:off x="2781130" y="4041347"/>
            <a:ext cx="2084409" cy="738664"/>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of the text used in this location. </a:t>
            </a:r>
          </a:p>
        </p:txBody>
      </p:sp>
      <p:sp>
        <p:nvSpPr>
          <p:cNvPr id="39" name="Rectangle 15"/>
          <p:cNvSpPr>
            <a:spLocks noChangeArrowheads="1"/>
          </p:cNvSpPr>
          <p:nvPr/>
        </p:nvSpPr>
        <p:spPr bwMode="gray">
          <a:xfrm>
            <a:off x="7323600" y="4041347"/>
            <a:ext cx="2080619" cy="738664"/>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of the text used in this location. </a:t>
            </a:r>
          </a:p>
        </p:txBody>
      </p:sp>
      <p:sp>
        <p:nvSpPr>
          <p:cNvPr id="40" name="Rectangle 16"/>
          <p:cNvSpPr>
            <a:spLocks noChangeArrowheads="1"/>
          </p:cNvSpPr>
          <p:nvPr/>
        </p:nvSpPr>
        <p:spPr bwMode="gray">
          <a:xfrm>
            <a:off x="9594829" y="4041347"/>
            <a:ext cx="2073040" cy="738664"/>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of the text used in this location. </a:t>
            </a:r>
          </a:p>
        </p:txBody>
      </p:sp>
      <p:sp>
        <p:nvSpPr>
          <p:cNvPr id="41" name="Rectangle 17"/>
          <p:cNvSpPr>
            <a:spLocks noChangeArrowheads="1"/>
          </p:cNvSpPr>
          <p:nvPr/>
        </p:nvSpPr>
        <p:spPr bwMode="gray">
          <a:xfrm>
            <a:off x="508003" y="3236250"/>
            <a:ext cx="2082514" cy="520961"/>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600" dirty="0"/>
              <a:t>Phase 2.1</a:t>
            </a:r>
          </a:p>
        </p:txBody>
      </p:sp>
      <p:sp>
        <p:nvSpPr>
          <p:cNvPr id="42" name="Rectangle 18"/>
          <p:cNvSpPr>
            <a:spLocks noChangeArrowheads="1"/>
          </p:cNvSpPr>
          <p:nvPr/>
        </p:nvSpPr>
        <p:spPr bwMode="gray">
          <a:xfrm>
            <a:off x="2781130" y="3236250"/>
            <a:ext cx="2084409" cy="520961"/>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600" dirty="0"/>
              <a:t>Phase 2.2</a:t>
            </a:r>
          </a:p>
        </p:txBody>
      </p:sp>
      <p:sp>
        <p:nvSpPr>
          <p:cNvPr id="43" name="Rectangle 19"/>
          <p:cNvSpPr>
            <a:spLocks noChangeArrowheads="1"/>
          </p:cNvSpPr>
          <p:nvPr/>
        </p:nvSpPr>
        <p:spPr bwMode="gray">
          <a:xfrm>
            <a:off x="5056155" y="3236250"/>
            <a:ext cx="2076830" cy="520961"/>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600" dirty="0"/>
              <a:t>Phase 2.3</a:t>
            </a:r>
          </a:p>
        </p:txBody>
      </p:sp>
      <p:sp>
        <p:nvSpPr>
          <p:cNvPr id="44" name="Rectangle 20"/>
          <p:cNvSpPr>
            <a:spLocks noChangeArrowheads="1"/>
          </p:cNvSpPr>
          <p:nvPr/>
        </p:nvSpPr>
        <p:spPr bwMode="gray">
          <a:xfrm>
            <a:off x="7323600" y="3236250"/>
            <a:ext cx="2080619" cy="520961"/>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600" dirty="0"/>
              <a:t>Phase 2.4</a:t>
            </a:r>
          </a:p>
        </p:txBody>
      </p:sp>
      <p:sp>
        <p:nvSpPr>
          <p:cNvPr id="45" name="Rectangle 21"/>
          <p:cNvSpPr>
            <a:spLocks noChangeArrowheads="1"/>
          </p:cNvSpPr>
          <p:nvPr/>
        </p:nvSpPr>
        <p:spPr bwMode="gray">
          <a:xfrm>
            <a:off x="9594829" y="3236250"/>
            <a:ext cx="2084409" cy="520961"/>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600" dirty="0"/>
              <a:t>Phase 2.5</a:t>
            </a:r>
          </a:p>
        </p:txBody>
      </p:sp>
      <p:sp>
        <p:nvSpPr>
          <p:cNvPr id="46" name="Rectangle 22"/>
          <p:cNvSpPr>
            <a:spLocks noChangeArrowheads="1"/>
          </p:cNvSpPr>
          <p:nvPr/>
        </p:nvSpPr>
        <p:spPr bwMode="gray">
          <a:xfrm>
            <a:off x="5056155" y="4041347"/>
            <a:ext cx="2078723" cy="738664"/>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of the text used in this location. </a:t>
            </a:r>
          </a:p>
        </p:txBody>
      </p:sp>
      <p:sp>
        <p:nvSpPr>
          <p:cNvPr id="32" name="TextBox 31"/>
          <p:cNvSpPr txBox="1"/>
          <p:nvPr/>
        </p:nvSpPr>
        <p:spPr>
          <a:xfrm>
            <a:off x="511105" y="6020971"/>
            <a:ext cx="11018941" cy="338554"/>
          </a:xfrm>
          <a:prstGeom prst="rect">
            <a:avLst/>
          </a:prstGeom>
          <a:noFill/>
        </p:spPr>
        <p:txBody>
          <a:bodyPr wrap="square" lIns="0" tIns="0" rIns="0" bIns="0" rtlCol="0" anchor="b" anchorCtr="0">
            <a:spAutoFit/>
          </a:bodyPr>
          <a:lstStyle/>
          <a:p>
            <a:r>
              <a:rPr lang="en-GB" sz="1100" dirty="0"/>
              <a:t>Source: source or label should appear here, source or label should appear here, source or label should appear here, source or label </a:t>
            </a:r>
            <a:br>
              <a:rPr lang="en-GB" sz="1100" dirty="0"/>
            </a:br>
            <a:r>
              <a:rPr lang="en-GB" sz="1100" dirty="0"/>
              <a:t>should appear here, source or label should appear here, source or label should appear here.</a:t>
            </a:r>
          </a:p>
        </p:txBody>
      </p:sp>
    </p:spTree>
    <p:extLst>
      <p:ext uri="{BB962C8B-B14F-4D97-AF65-F5344CB8AC3E}">
        <p14:creationId xmlns:p14="http://schemas.microsoft.com/office/powerpoint/2010/main" val="2373109515"/>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pPr lvl="0"/>
            <a:r>
              <a:rPr lang="en-GB"/>
              <a:t>Sample flow chart</a:t>
            </a:r>
            <a:endParaRPr lang="en-GB" altLang="en-US"/>
          </a:p>
        </p:txBody>
      </p:sp>
      <p:sp>
        <p:nvSpPr>
          <p:cNvPr id="46083" name="Rectangle 3"/>
          <p:cNvSpPr>
            <a:spLocks noGrp="1" noChangeArrowheads="1"/>
          </p:cNvSpPr>
          <p:nvPr>
            <p:ph idx="11"/>
          </p:nvPr>
        </p:nvSpPr>
        <p:spPr>
          <a:xfrm>
            <a:off x="508000" y="1528763"/>
            <a:ext cx="11171238" cy="4830762"/>
          </a:xfrm>
        </p:spPr>
        <p:txBody>
          <a:bodyPr/>
          <a:lstStyle/>
          <a:p>
            <a:r>
              <a:rPr lang="en-GB" altLang="en-US"/>
              <a:t>Heading here</a:t>
            </a:r>
          </a:p>
          <a:p>
            <a:pPr lvl="0"/>
            <a:r>
              <a:rPr lang="en-GB" altLang="en-GB"/>
              <a:t>Diagrams should be simple, clear and legible, avoiding 3D effects and gradients. The colours used should be taken from the corporate colour palette.</a:t>
            </a:r>
            <a:endParaRPr lang="en-GB" altLang="en-GB" dirty="0"/>
          </a:p>
        </p:txBody>
      </p:sp>
      <p:sp>
        <p:nvSpPr>
          <p:cNvPr id="46084" name="Rectangle 4"/>
          <p:cNvSpPr>
            <a:spLocks noChangeArrowheads="1"/>
          </p:cNvSpPr>
          <p:nvPr/>
        </p:nvSpPr>
        <p:spPr bwMode="gray">
          <a:xfrm>
            <a:off x="508000" y="2921177"/>
            <a:ext cx="1975049" cy="939854"/>
          </a:xfrm>
          <a:prstGeom prst="rect">
            <a:avLst/>
          </a:prstGeom>
          <a:solidFill>
            <a:schemeClr val="accent1"/>
          </a:solidFill>
          <a:ln w="6350">
            <a:noFill/>
            <a:miter lim="800000"/>
            <a:headEnd/>
            <a:tailEnd/>
          </a:ln>
        </p:spPr>
        <p:txBody>
          <a:bodyPr wrap="none" anchor="ctr"/>
          <a:lstStyle/>
          <a:p>
            <a:pPr algn="ctr">
              <a:lnSpc>
                <a:spcPts val="1600"/>
              </a:lnSpc>
              <a:spcBef>
                <a:spcPct val="0"/>
              </a:spcBef>
              <a:spcAft>
                <a:spcPct val="0"/>
              </a:spcAft>
            </a:pPr>
            <a:r>
              <a:rPr lang="en-GB" altLang="en-US" sz="1600" dirty="0">
                <a:latin typeface="+mj-lt"/>
              </a:rPr>
              <a:t>Plant</a:t>
            </a:r>
          </a:p>
        </p:txBody>
      </p:sp>
      <p:sp>
        <p:nvSpPr>
          <p:cNvPr id="46085" name="Rectangle 5"/>
          <p:cNvSpPr>
            <a:spLocks noChangeArrowheads="1"/>
          </p:cNvSpPr>
          <p:nvPr/>
        </p:nvSpPr>
        <p:spPr bwMode="gray">
          <a:xfrm>
            <a:off x="5107165" y="2921177"/>
            <a:ext cx="1972906" cy="939854"/>
          </a:xfrm>
          <a:prstGeom prst="rect">
            <a:avLst/>
          </a:prstGeom>
          <a:solidFill>
            <a:schemeClr val="tx1"/>
          </a:solidFill>
          <a:ln w="6350">
            <a:noFill/>
            <a:miter lim="800000"/>
            <a:headEnd/>
            <a:tailEnd/>
          </a:ln>
        </p:spPr>
        <p:txBody>
          <a:bodyPr wrap="none" anchor="ctr"/>
          <a:lstStyle/>
          <a:p>
            <a:pPr algn="ctr">
              <a:lnSpc>
                <a:spcPts val="1600"/>
              </a:lnSpc>
              <a:spcBef>
                <a:spcPct val="0"/>
              </a:spcBef>
              <a:spcAft>
                <a:spcPct val="0"/>
              </a:spcAft>
            </a:pPr>
            <a:r>
              <a:rPr lang="en-GB" altLang="en-US" sz="1600" dirty="0">
                <a:solidFill>
                  <a:srgbClr val="FFFFFF"/>
                </a:solidFill>
                <a:latin typeface="+mj-lt"/>
              </a:rPr>
              <a:t>Process</a:t>
            </a:r>
          </a:p>
        </p:txBody>
      </p:sp>
      <p:sp>
        <p:nvSpPr>
          <p:cNvPr id="46086" name="Rectangle 6"/>
          <p:cNvSpPr>
            <a:spLocks noChangeArrowheads="1"/>
          </p:cNvSpPr>
          <p:nvPr/>
        </p:nvSpPr>
        <p:spPr bwMode="gray">
          <a:xfrm>
            <a:off x="7437808" y="2921177"/>
            <a:ext cx="1975049" cy="939854"/>
          </a:xfrm>
          <a:prstGeom prst="rect">
            <a:avLst/>
          </a:prstGeom>
          <a:solidFill>
            <a:schemeClr val="tx2"/>
          </a:solidFill>
          <a:ln w="6350">
            <a:noFill/>
            <a:miter lim="800000"/>
            <a:headEnd/>
            <a:tailEnd/>
          </a:ln>
        </p:spPr>
        <p:txBody>
          <a:bodyPr wrap="none" anchor="ctr"/>
          <a:lstStyle/>
          <a:p>
            <a:pPr algn="ctr">
              <a:lnSpc>
                <a:spcPts val="1600"/>
              </a:lnSpc>
              <a:spcBef>
                <a:spcPct val="0"/>
              </a:spcBef>
              <a:spcAft>
                <a:spcPct val="0"/>
              </a:spcAft>
            </a:pPr>
            <a:r>
              <a:rPr lang="en-GB" altLang="en-US" sz="1600">
                <a:solidFill>
                  <a:srgbClr val="FFFFFF"/>
                </a:solidFill>
                <a:latin typeface="+mj-lt"/>
              </a:rPr>
              <a:t>Process</a:t>
            </a:r>
          </a:p>
        </p:txBody>
      </p:sp>
      <p:sp>
        <p:nvSpPr>
          <p:cNvPr id="46087" name="Rectangle 7"/>
          <p:cNvSpPr>
            <a:spLocks noChangeArrowheads="1"/>
          </p:cNvSpPr>
          <p:nvPr/>
        </p:nvSpPr>
        <p:spPr bwMode="gray">
          <a:xfrm>
            <a:off x="9704189" y="2921177"/>
            <a:ext cx="1975049" cy="939854"/>
          </a:xfrm>
          <a:prstGeom prst="rect">
            <a:avLst/>
          </a:prstGeom>
          <a:solidFill>
            <a:schemeClr val="tx2"/>
          </a:solidFill>
          <a:ln w="6350">
            <a:noFill/>
            <a:miter lim="800000"/>
            <a:headEnd/>
            <a:tailEnd/>
          </a:ln>
        </p:spPr>
        <p:txBody>
          <a:bodyPr wrap="none" anchor="ctr"/>
          <a:lstStyle/>
          <a:p>
            <a:pPr algn="ctr">
              <a:lnSpc>
                <a:spcPts val="1600"/>
              </a:lnSpc>
              <a:spcBef>
                <a:spcPct val="0"/>
              </a:spcBef>
              <a:spcAft>
                <a:spcPct val="0"/>
              </a:spcAft>
            </a:pPr>
            <a:r>
              <a:rPr lang="en-GB" altLang="en-US" sz="1600" dirty="0">
                <a:solidFill>
                  <a:srgbClr val="FFFFFF"/>
                </a:solidFill>
                <a:latin typeface="+mj-lt"/>
              </a:rPr>
              <a:t>Process</a:t>
            </a:r>
          </a:p>
        </p:txBody>
      </p:sp>
      <p:sp>
        <p:nvSpPr>
          <p:cNvPr id="46088" name="Rectangle 8"/>
          <p:cNvSpPr>
            <a:spLocks noChangeArrowheads="1"/>
          </p:cNvSpPr>
          <p:nvPr/>
        </p:nvSpPr>
        <p:spPr bwMode="gray">
          <a:xfrm>
            <a:off x="508000" y="4161668"/>
            <a:ext cx="1975049" cy="939854"/>
          </a:xfrm>
          <a:prstGeom prst="rect">
            <a:avLst/>
          </a:prstGeom>
          <a:solidFill>
            <a:schemeClr val="accent1"/>
          </a:solidFill>
          <a:ln w="6350">
            <a:noFill/>
            <a:miter lim="800000"/>
            <a:headEnd/>
            <a:tailEnd/>
          </a:ln>
        </p:spPr>
        <p:txBody>
          <a:bodyPr wrap="none" anchor="ctr"/>
          <a:lstStyle/>
          <a:p>
            <a:pPr algn="ctr">
              <a:lnSpc>
                <a:spcPts val="1600"/>
              </a:lnSpc>
              <a:spcBef>
                <a:spcPct val="0"/>
              </a:spcBef>
              <a:spcAft>
                <a:spcPct val="0"/>
              </a:spcAft>
            </a:pPr>
            <a:r>
              <a:rPr lang="en-GB" altLang="en-US" sz="1600">
                <a:latin typeface="+mj-lt"/>
              </a:rPr>
              <a:t>Production</a:t>
            </a:r>
          </a:p>
        </p:txBody>
      </p:sp>
      <p:sp>
        <p:nvSpPr>
          <p:cNvPr id="46089" name="Rectangle 9"/>
          <p:cNvSpPr>
            <a:spLocks noChangeArrowheads="1"/>
          </p:cNvSpPr>
          <p:nvPr/>
        </p:nvSpPr>
        <p:spPr bwMode="gray">
          <a:xfrm>
            <a:off x="2871490" y="4161668"/>
            <a:ext cx="1970765" cy="939854"/>
          </a:xfrm>
          <a:prstGeom prst="rect">
            <a:avLst/>
          </a:prstGeom>
          <a:solidFill>
            <a:schemeClr val="bg2"/>
          </a:solidFill>
          <a:ln w="6350">
            <a:noFill/>
            <a:miter lim="800000"/>
            <a:headEnd/>
            <a:tailEnd/>
          </a:ln>
        </p:spPr>
        <p:txBody>
          <a:bodyPr wrap="none" anchor="ctr"/>
          <a:lstStyle/>
          <a:p>
            <a:pPr algn="ctr">
              <a:lnSpc>
                <a:spcPts val="1600"/>
              </a:lnSpc>
              <a:spcBef>
                <a:spcPct val="0"/>
              </a:spcBef>
              <a:spcAft>
                <a:spcPct val="0"/>
              </a:spcAft>
            </a:pPr>
            <a:r>
              <a:rPr lang="en-GB" altLang="en-US" sz="1600" dirty="0">
                <a:latin typeface="+mj-lt"/>
              </a:rPr>
              <a:t>Process</a:t>
            </a:r>
          </a:p>
        </p:txBody>
      </p:sp>
      <p:sp>
        <p:nvSpPr>
          <p:cNvPr id="46090" name="Rectangle 10"/>
          <p:cNvSpPr>
            <a:spLocks noChangeArrowheads="1"/>
          </p:cNvSpPr>
          <p:nvPr/>
        </p:nvSpPr>
        <p:spPr bwMode="gray">
          <a:xfrm>
            <a:off x="5107165" y="4161668"/>
            <a:ext cx="1972906" cy="939854"/>
          </a:xfrm>
          <a:prstGeom prst="rect">
            <a:avLst/>
          </a:prstGeom>
          <a:solidFill>
            <a:schemeClr val="tx1"/>
          </a:solidFill>
          <a:ln w="6350">
            <a:noFill/>
            <a:miter lim="800000"/>
            <a:headEnd/>
            <a:tailEnd/>
          </a:ln>
        </p:spPr>
        <p:txBody>
          <a:bodyPr wrap="none" anchor="ctr"/>
          <a:lstStyle/>
          <a:p>
            <a:pPr algn="ctr">
              <a:lnSpc>
                <a:spcPts val="1600"/>
              </a:lnSpc>
              <a:spcBef>
                <a:spcPct val="0"/>
              </a:spcBef>
              <a:spcAft>
                <a:spcPct val="0"/>
              </a:spcAft>
            </a:pPr>
            <a:r>
              <a:rPr lang="en-GB" altLang="en-US" sz="1600">
                <a:solidFill>
                  <a:srgbClr val="FFFFFF"/>
                </a:solidFill>
                <a:latin typeface="+mj-lt"/>
              </a:rPr>
              <a:t>Process</a:t>
            </a:r>
          </a:p>
        </p:txBody>
      </p:sp>
      <p:sp>
        <p:nvSpPr>
          <p:cNvPr id="46091" name="Rectangle 11"/>
          <p:cNvSpPr>
            <a:spLocks noChangeArrowheads="1"/>
          </p:cNvSpPr>
          <p:nvPr/>
        </p:nvSpPr>
        <p:spPr bwMode="gray">
          <a:xfrm>
            <a:off x="7437808" y="4161668"/>
            <a:ext cx="1975049" cy="939854"/>
          </a:xfrm>
          <a:prstGeom prst="rect">
            <a:avLst/>
          </a:prstGeom>
          <a:solidFill>
            <a:schemeClr val="tx2"/>
          </a:solidFill>
          <a:ln w="6350">
            <a:noFill/>
            <a:miter lim="800000"/>
            <a:headEnd/>
            <a:tailEnd/>
          </a:ln>
        </p:spPr>
        <p:txBody>
          <a:bodyPr wrap="none" anchor="ctr"/>
          <a:lstStyle/>
          <a:p>
            <a:pPr algn="ctr">
              <a:lnSpc>
                <a:spcPts val="1600"/>
              </a:lnSpc>
              <a:spcBef>
                <a:spcPct val="0"/>
              </a:spcBef>
              <a:spcAft>
                <a:spcPct val="0"/>
              </a:spcAft>
            </a:pPr>
            <a:r>
              <a:rPr lang="en-GB" altLang="en-US" sz="1600">
                <a:solidFill>
                  <a:srgbClr val="FFFFFF"/>
                </a:solidFill>
                <a:latin typeface="+mj-lt"/>
              </a:rPr>
              <a:t>Process</a:t>
            </a:r>
          </a:p>
        </p:txBody>
      </p:sp>
      <p:sp>
        <p:nvSpPr>
          <p:cNvPr id="46092" name="Rectangle 12"/>
          <p:cNvSpPr>
            <a:spLocks noChangeArrowheads="1"/>
          </p:cNvSpPr>
          <p:nvPr/>
        </p:nvSpPr>
        <p:spPr bwMode="gray">
          <a:xfrm>
            <a:off x="9704189" y="4161668"/>
            <a:ext cx="1975049" cy="939854"/>
          </a:xfrm>
          <a:prstGeom prst="rect">
            <a:avLst/>
          </a:prstGeom>
          <a:solidFill>
            <a:schemeClr val="tx2"/>
          </a:solidFill>
          <a:ln w="6350">
            <a:noFill/>
            <a:miter lim="800000"/>
            <a:headEnd/>
            <a:tailEnd/>
          </a:ln>
        </p:spPr>
        <p:txBody>
          <a:bodyPr wrap="none" anchor="ctr"/>
          <a:lstStyle/>
          <a:p>
            <a:pPr algn="ctr">
              <a:lnSpc>
                <a:spcPts val="1600"/>
              </a:lnSpc>
              <a:spcBef>
                <a:spcPct val="0"/>
              </a:spcBef>
              <a:spcAft>
                <a:spcPct val="0"/>
              </a:spcAft>
            </a:pPr>
            <a:r>
              <a:rPr lang="en-GB" altLang="en-US" sz="1600">
                <a:solidFill>
                  <a:srgbClr val="FFFFFF"/>
                </a:solidFill>
                <a:latin typeface="+mj-lt"/>
              </a:rPr>
              <a:t>Process</a:t>
            </a:r>
          </a:p>
        </p:txBody>
      </p:sp>
      <p:sp>
        <p:nvSpPr>
          <p:cNvPr id="46093" name="Rectangle 13"/>
          <p:cNvSpPr>
            <a:spLocks noChangeArrowheads="1"/>
          </p:cNvSpPr>
          <p:nvPr/>
        </p:nvSpPr>
        <p:spPr bwMode="gray">
          <a:xfrm>
            <a:off x="508000" y="5419671"/>
            <a:ext cx="1975049" cy="939854"/>
          </a:xfrm>
          <a:prstGeom prst="rect">
            <a:avLst/>
          </a:prstGeom>
          <a:solidFill>
            <a:schemeClr val="accent1"/>
          </a:solidFill>
          <a:ln w="6350">
            <a:noFill/>
            <a:miter lim="800000"/>
            <a:headEnd/>
            <a:tailEnd/>
          </a:ln>
        </p:spPr>
        <p:txBody>
          <a:bodyPr wrap="none" anchor="ctr"/>
          <a:lstStyle/>
          <a:p>
            <a:pPr algn="ctr">
              <a:lnSpc>
                <a:spcPts val="1600"/>
              </a:lnSpc>
              <a:spcBef>
                <a:spcPct val="0"/>
              </a:spcBef>
              <a:spcAft>
                <a:spcPct val="0"/>
              </a:spcAft>
            </a:pPr>
            <a:r>
              <a:rPr lang="en-GB" altLang="en-US" sz="1600">
                <a:latin typeface="+mj-lt"/>
              </a:rPr>
              <a:t>Etc</a:t>
            </a:r>
          </a:p>
        </p:txBody>
      </p:sp>
      <p:sp>
        <p:nvSpPr>
          <p:cNvPr id="46094" name="Rectangle 14"/>
          <p:cNvSpPr>
            <a:spLocks noChangeArrowheads="1"/>
          </p:cNvSpPr>
          <p:nvPr/>
        </p:nvSpPr>
        <p:spPr bwMode="gray">
          <a:xfrm>
            <a:off x="2871490" y="5419671"/>
            <a:ext cx="1970765" cy="939854"/>
          </a:xfrm>
          <a:prstGeom prst="rect">
            <a:avLst/>
          </a:prstGeom>
          <a:solidFill>
            <a:schemeClr val="bg2"/>
          </a:solidFill>
          <a:ln w="6350">
            <a:noFill/>
            <a:miter lim="800000"/>
            <a:headEnd/>
            <a:tailEnd/>
          </a:ln>
        </p:spPr>
        <p:txBody>
          <a:bodyPr wrap="none" anchor="ctr"/>
          <a:lstStyle/>
          <a:p>
            <a:pPr algn="ctr">
              <a:lnSpc>
                <a:spcPts val="1600"/>
              </a:lnSpc>
              <a:spcBef>
                <a:spcPct val="0"/>
              </a:spcBef>
              <a:spcAft>
                <a:spcPct val="0"/>
              </a:spcAft>
            </a:pPr>
            <a:r>
              <a:rPr lang="en-GB" altLang="en-US" sz="1600">
                <a:latin typeface="+mj-lt"/>
              </a:rPr>
              <a:t>Process</a:t>
            </a:r>
          </a:p>
        </p:txBody>
      </p:sp>
      <p:sp>
        <p:nvSpPr>
          <p:cNvPr id="46095" name="Rectangle 15"/>
          <p:cNvSpPr>
            <a:spLocks noChangeArrowheads="1"/>
          </p:cNvSpPr>
          <p:nvPr/>
        </p:nvSpPr>
        <p:spPr bwMode="gray">
          <a:xfrm>
            <a:off x="5107165" y="5419671"/>
            <a:ext cx="1972906" cy="939854"/>
          </a:xfrm>
          <a:prstGeom prst="rect">
            <a:avLst/>
          </a:prstGeom>
          <a:solidFill>
            <a:schemeClr val="tx1"/>
          </a:solidFill>
          <a:ln w="6350">
            <a:noFill/>
            <a:miter lim="800000"/>
            <a:headEnd/>
            <a:tailEnd/>
          </a:ln>
        </p:spPr>
        <p:txBody>
          <a:bodyPr wrap="none" anchor="ctr"/>
          <a:lstStyle/>
          <a:p>
            <a:pPr algn="ctr">
              <a:lnSpc>
                <a:spcPts val="1600"/>
              </a:lnSpc>
              <a:spcBef>
                <a:spcPct val="0"/>
              </a:spcBef>
              <a:spcAft>
                <a:spcPct val="0"/>
              </a:spcAft>
            </a:pPr>
            <a:r>
              <a:rPr lang="en-GB" altLang="en-US" sz="1600">
                <a:solidFill>
                  <a:srgbClr val="FFFFFF"/>
                </a:solidFill>
                <a:latin typeface="+mj-lt"/>
              </a:rPr>
              <a:t>Process</a:t>
            </a:r>
          </a:p>
        </p:txBody>
      </p:sp>
      <p:sp>
        <p:nvSpPr>
          <p:cNvPr id="46096" name="Rectangle 16"/>
          <p:cNvSpPr>
            <a:spLocks noChangeArrowheads="1"/>
          </p:cNvSpPr>
          <p:nvPr/>
        </p:nvSpPr>
        <p:spPr bwMode="gray">
          <a:xfrm>
            <a:off x="9704189" y="5419671"/>
            <a:ext cx="1975049" cy="939854"/>
          </a:xfrm>
          <a:prstGeom prst="rect">
            <a:avLst/>
          </a:prstGeom>
          <a:solidFill>
            <a:schemeClr val="tx2"/>
          </a:solidFill>
          <a:ln w="6350">
            <a:noFill/>
            <a:miter lim="800000"/>
            <a:headEnd/>
            <a:tailEnd/>
          </a:ln>
        </p:spPr>
        <p:txBody>
          <a:bodyPr wrap="none" anchor="ctr"/>
          <a:lstStyle/>
          <a:p>
            <a:pPr algn="ctr">
              <a:lnSpc>
                <a:spcPts val="1600"/>
              </a:lnSpc>
              <a:spcBef>
                <a:spcPct val="0"/>
              </a:spcBef>
              <a:spcAft>
                <a:spcPct val="0"/>
              </a:spcAft>
            </a:pPr>
            <a:r>
              <a:rPr lang="en-GB" altLang="en-US" sz="1600">
                <a:solidFill>
                  <a:srgbClr val="FFFFFF"/>
                </a:solidFill>
                <a:latin typeface="+mj-lt"/>
              </a:rPr>
              <a:t>Process</a:t>
            </a:r>
          </a:p>
        </p:txBody>
      </p:sp>
      <p:sp>
        <p:nvSpPr>
          <p:cNvPr id="46097" name="AutoShape 17"/>
          <p:cNvSpPr>
            <a:spLocks noChangeArrowheads="1"/>
          </p:cNvSpPr>
          <p:nvPr/>
        </p:nvSpPr>
        <p:spPr bwMode="gray">
          <a:xfrm rot="5400000">
            <a:off x="6935786" y="3275052"/>
            <a:ext cx="537059" cy="197076"/>
          </a:xfrm>
          <a:prstGeom prst="triangle">
            <a:avLst>
              <a:gd name="adj" fmla="val 50000"/>
            </a:avLst>
          </a:prstGeom>
          <a:solidFill>
            <a:schemeClr val="tx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a:solidFill>
                <a:schemeClr val="bg1"/>
              </a:solidFill>
              <a:latin typeface="+mj-lt"/>
            </a:endParaRPr>
          </a:p>
        </p:txBody>
      </p:sp>
      <p:sp>
        <p:nvSpPr>
          <p:cNvPr id="46098" name="AutoShape 18"/>
          <p:cNvSpPr>
            <a:spLocks noChangeArrowheads="1"/>
          </p:cNvSpPr>
          <p:nvPr/>
        </p:nvSpPr>
        <p:spPr bwMode="gray">
          <a:xfrm rot="5400000">
            <a:off x="6935786" y="4533056"/>
            <a:ext cx="537059" cy="197076"/>
          </a:xfrm>
          <a:prstGeom prst="triangle">
            <a:avLst>
              <a:gd name="adj" fmla="val 50000"/>
            </a:avLst>
          </a:prstGeom>
          <a:solidFill>
            <a:schemeClr val="tx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a:solidFill>
                <a:schemeClr val="bg1"/>
              </a:solidFill>
              <a:latin typeface="+mj-lt"/>
            </a:endParaRPr>
          </a:p>
        </p:txBody>
      </p:sp>
      <p:sp>
        <p:nvSpPr>
          <p:cNvPr id="46099" name="AutoShape 19"/>
          <p:cNvSpPr>
            <a:spLocks noChangeArrowheads="1"/>
          </p:cNvSpPr>
          <p:nvPr/>
        </p:nvSpPr>
        <p:spPr bwMode="gray">
          <a:xfrm rot="5400000">
            <a:off x="6935786" y="5791061"/>
            <a:ext cx="537059" cy="197076"/>
          </a:xfrm>
          <a:prstGeom prst="triangle">
            <a:avLst>
              <a:gd name="adj" fmla="val 50000"/>
            </a:avLst>
          </a:prstGeom>
          <a:solidFill>
            <a:schemeClr val="tx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a:solidFill>
                <a:schemeClr val="bg1"/>
              </a:solidFill>
              <a:latin typeface="+mj-lt"/>
            </a:endParaRPr>
          </a:p>
        </p:txBody>
      </p:sp>
      <p:sp>
        <p:nvSpPr>
          <p:cNvPr id="46100" name="AutoShape 20"/>
          <p:cNvSpPr>
            <a:spLocks noChangeArrowheads="1"/>
          </p:cNvSpPr>
          <p:nvPr/>
        </p:nvSpPr>
        <p:spPr bwMode="gray">
          <a:xfrm rot="5400000">
            <a:off x="4645843" y="4533056"/>
            <a:ext cx="537059" cy="197076"/>
          </a:xfrm>
          <a:prstGeom prst="triangle">
            <a:avLst>
              <a:gd name="adj" fmla="val 50000"/>
            </a:avLst>
          </a:prstGeom>
          <a:solidFill>
            <a:schemeClr val="bg2"/>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a:latin typeface="+mj-lt"/>
            </a:endParaRPr>
          </a:p>
        </p:txBody>
      </p:sp>
      <p:sp>
        <p:nvSpPr>
          <p:cNvPr id="46101" name="AutoShape 21"/>
          <p:cNvSpPr>
            <a:spLocks noChangeArrowheads="1"/>
          </p:cNvSpPr>
          <p:nvPr/>
        </p:nvSpPr>
        <p:spPr bwMode="gray">
          <a:xfrm rot="5400000">
            <a:off x="4645843" y="5791061"/>
            <a:ext cx="537059" cy="197076"/>
          </a:xfrm>
          <a:prstGeom prst="triangle">
            <a:avLst>
              <a:gd name="adj" fmla="val 50000"/>
            </a:avLst>
          </a:prstGeom>
          <a:solidFill>
            <a:schemeClr val="bg2"/>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a:latin typeface="+mj-lt"/>
            </a:endParaRPr>
          </a:p>
        </p:txBody>
      </p:sp>
      <p:sp>
        <p:nvSpPr>
          <p:cNvPr id="46102" name="AutoShape 22"/>
          <p:cNvSpPr>
            <a:spLocks noChangeArrowheads="1"/>
          </p:cNvSpPr>
          <p:nvPr/>
        </p:nvSpPr>
        <p:spPr bwMode="gray">
          <a:xfrm rot="5400000">
            <a:off x="9266430" y="3275052"/>
            <a:ext cx="537059" cy="197076"/>
          </a:xfrm>
          <a:prstGeom prst="triangle">
            <a:avLst>
              <a:gd name="adj" fmla="val 50000"/>
            </a:avLst>
          </a:prstGeom>
          <a:solidFill>
            <a:schemeClr val="tx2"/>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a:solidFill>
                <a:schemeClr val="bg1"/>
              </a:solidFill>
              <a:latin typeface="+mj-lt"/>
            </a:endParaRPr>
          </a:p>
        </p:txBody>
      </p:sp>
      <p:sp>
        <p:nvSpPr>
          <p:cNvPr id="46103" name="AutoShape 23"/>
          <p:cNvSpPr>
            <a:spLocks noChangeArrowheads="1"/>
          </p:cNvSpPr>
          <p:nvPr/>
        </p:nvSpPr>
        <p:spPr bwMode="gray">
          <a:xfrm rot="5400000">
            <a:off x="9266430" y="4533056"/>
            <a:ext cx="537059" cy="197076"/>
          </a:xfrm>
          <a:prstGeom prst="triangle">
            <a:avLst>
              <a:gd name="adj" fmla="val 50000"/>
            </a:avLst>
          </a:prstGeom>
          <a:solidFill>
            <a:schemeClr val="tx2"/>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a:solidFill>
                <a:schemeClr val="bg1"/>
              </a:solidFill>
              <a:latin typeface="+mj-lt"/>
            </a:endParaRPr>
          </a:p>
        </p:txBody>
      </p:sp>
    </p:spTree>
    <p:extLst>
      <p:ext uri="{BB962C8B-B14F-4D97-AF65-F5344CB8AC3E}">
        <p14:creationId xmlns:p14="http://schemas.microsoft.com/office/powerpoint/2010/main" val="3591881998"/>
      </p:ext>
    </p:extLst>
  </p:cSld>
  <p:clrMapOvr>
    <a:masterClrMapping/>
  </p:clrMapOvr>
  <p:transition>
    <p:cut/>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3" name="Rectangle 3"/>
          <p:cNvSpPr>
            <a:spLocks noGrp="1" noChangeArrowheads="1"/>
          </p:cNvSpPr>
          <p:nvPr>
            <p:ph type="title"/>
          </p:nvPr>
        </p:nvSpPr>
        <p:spPr/>
        <p:txBody>
          <a:bodyPr/>
          <a:lstStyle/>
          <a:p>
            <a:r>
              <a:rPr lang="en-GB"/>
              <a:t>Process</a:t>
            </a:r>
          </a:p>
        </p:txBody>
      </p:sp>
      <p:sp>
        <p:nvSpPr>
          <p:cNvPr id="61442" name="Rectangle 2"/>
          <p:cNvSpPr>
            <a:spLocks noGrp="1"/>
          </p:cNvSpPr>
          <p:nvPr>
            <p:ph idx="11"/>
          </p:nvPr>
        </p:nvSpPr>
        <p:spPr>
          <a:xfrm>
            <a:off x="508000" y="1528763"/>
            <a:ext cx="11171238" cy="4830762"/>
          </a:xfrm>
        </p:spPr>
        <p:txBody>
          <a:bodyPr/>
          <a:lstStyle/>
          <a:p>
            <a:r>
              <a:rPr lang="en-GB"/>
              <a:t>Sub headline (optional):</a:t>
            </a:r>
          </a:p>
          <a:p>
            <a:pPr lvl="0"/>
            <a:r>
              <a:rPr lang="en-GB"/>
              <a:t>Sub headline second line written in sentence case. </a:t>
            </a:r>
            <a:endParaRPr lang="en-AU" dirty="0"/>
          </a:p>
        </p:txBody>
      </p:sp>
      <p:grpSp>
        <p:nvGrpSpPr>
          <p:cNvPr id="61447" name="Group 7"/>
          <p:cNvGrpSpPr>
            <a:grpSpLocks/>
          </p:cNvGrpSpPr>
          <p:nvPr/>
        </p:nvGrpSpPr>
        <p:grpSpPr bwMode="auto">
          <a:xfrm>
            <a:off x="508000" y="2547457"/>
            <a:ext cx="11171238" cy="2308843"/>
            <a:chOff x="301869" y="1968500"/>
            <a:chExt cx="8521212" cy="1415047"/>
          </a:xfrm>
        </p:grpSpPr>
        <p:sp>
          <p:nvSpPr>
            <p:cNvPr id="61449" name="Rectangle 9"/>
            <p:cNvSpPr>
              <a:spLocks noChangeArrowheads="1"/>
            </p:cNvSpPr>
            <p:nvPr/>
          </p:nvSpPr>
          <p:spPr bwMode="gray">
            <a:xfrm>
              <a:off x="301869" y="2534709"/>
              <a:ext cx="1976804" cy="848838"/>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a:t>
              </a:r>
              <a:br>
                <a:rPr lang="en-GB" sz="1200" dirty="0"/>
              </a:br>
              <a:r>
                <a:rPr lang="en-GB" sz="1200" dirty="0"/>
                <a:t>of the text used in this location. </a:t>
              </a:r>
            </a:p>
            <a:p>
              <a:pPr lvl="0" fontAlgn="base">
                <a:spcBef>
                  <a:spcPct val="50000"/>
                </a:spcBef>
                <a:spcAft>
                  <a:spcPct val="0"/>
                </a:spcAft>
              </a:pPr>
              <a:r>
                <a:rPr lang="en-GB" sz="1200" dirty="0"/>
                <a:t>To ensure that you have the correct size, </a:t>
              </a:r>
              <a:r>
                <a:rPr lang="en-GB" sz="1200" dirty="0" err="1"/>
                <a:t>color</a:t>
              </a:r>
              <a:r>
                <a:rPr lang="en-GB" sz="1200" dirty="0"/>
                <a:t> and location of the text, it is recommended that you simply select and over-type this placeholder text.</a:t>
              </a:r>
            </a:p>
          </p:txBody>
        </p:sp>
        <p:sp>
          <p:nvSpPr>
            <p:cNvPr id="800773" name="AutoShape 10"/>
            <p:cNvSpPr>
              <a:spLocks noChangeArrowheads="1"/>
            </p:cNvSpPr>
            <p:nvPr/>
          </p:nvSpPr>
          <p:spPr bwMode="auto">
            <a:xfrm>
              <a:off x="301869" y="1968500"/>
              <a:ext cx="1989137" cy="396970"/>
            </a:xfrm>
            <a:prstGeom prst="chevron">
              <a:avLst>
                <a:gd name="adj" fmla="val 28271"/>
              </a:avLst>
            </a:prstGeom>
            <a:solidFill>
              <a:schemeClr val="tx1"/>
            </a:solidFill>
            <a:ln w="9525" algn="ctr">
              <a:noFill/>
              <a:miter lim="800000"/>
              <a:headEnd/>
              <a:tailEnd/>
            </a:ln>
            <a:effectLst/>
          </p:spPr>
          <p:txBody>
            <a:bodyPr wrap="none" lIns="81043" tIns="40522" rIns="81043" bIns="40522" anchor="ctr"/>
            <a:lstStyle/>
            <a:p>
              <a:pPr lvl="0" algn="ctr">
                <a:defRPr/>
              </a:pPr>
              <a:r>
                <a:rPr lang="en-US" sz="1200">
                  <a:solidFill>
                    <a:srgbClr val="FFFFFF"/>
                  </a:solidFill>
                  <a:latin typeface="+mj-lt"/>
                </a:rPr>
                <a:t>Phase 1</a:t>
              </a:r>
              <a:endParaRPr lang="en-US" sz="1200" dirty="0">
                <a:solidFill>
                  <a:srgbClr val="FFFFFF"/>
                </a:solidFill>
                <a:latin typeface="+mj-lt"/>
              </a:endParaRPr>
            </a:p>
          </p:txBody>
        </p:sp>
        <p:sp>
          <p:nvSpPr>
            <p:cNvPr id="800774" name="AutoShape 11"/>
            <p:cNvSpPr>
              <a:spLocks noChangeArrowheads="1"/>
            </p:cNvSpPr>
            <p:nvPr/>
          </p:nvSpPr>
          <p:spPr bwMode="auto">
            <a:xfrm>
              <a:off x="2488317" y="1968500"/>
              <a:ext cx="1987535" cy="396970"/>
            </a:xfrm>
            <a:prstGeom prst="chevron">
              <a:avLst>
                <a:gd name="adj" fmla="val 28250"/>
              </a:avLst>
            </a:prstGeom>
            <a:solidFill>
              <a:schemeClr val="accent1"/>
            </a:solidFill>
            <a:ln w="9525" algn="ctr">
              <a:noFill/>
              <a:miter lim="800000"/>
              <a:headEnd/>
              <a:tailEnd/>
            </a:ln>
            <a:effectLst/>
          </p:spPr>
          <p:txBody>
            <a:bodyPr wrap="none" lIns="81043" tIns="40522" rIns="81043" bIns="40522" anchor="ctr"/>
            <a:lstStyle/>
            <a:p>
              <a:pPr lvl="0" algn="ctr">
                <a:defRPr/>
              </a:pPr>
              <a:r>
                <a:rPr lang="en-US" sz="1200" dirty="0">
                  <a:latin typeface="+mj-lt"/>
                </a:rPr>
                <a:t>Phase 2</a:t>
              </a:r>
            </a:p>
          </p:txBody>
        </p:sp>
        <p:sp>
          <p:nvSpPr>
            <p:cNvPr id="800775" name="AutoShape 12"/>
            <p:cNvSpPr>
              <a:spLocks noChangeArrowheads="1"/>
            </p:cNvSpPr>
            <p:nvPr/>
          </p:nvSpPr>
          <p:spPr bwMode="auto">
            <a:xfrm>
              <a:off x="4657119" y="1968500"/>
              <a:ext cx="1987535" cy="396970"/>
            </a:xfrm>
            <a:prstGeom prst="chevron">
              <a:avLst>
                <a:gd name="adj" fmla="val 28250"/>
              </a:avLst>
            </a:prstGeom>
            <a:solidFill>
              <a:schemeClr val="bg2"/>
            </a:solidFill>
            <a:ln w="9525" algn="ctr">
              <a:noFill/>
              <a:miter lim="800000"/>
              <a:headEnd/>
              <a:tailEnd/>
            </a:ln>
            <a:effectLst/>
          </p:spPr>
          <p:txBody>
            <a:bodyPr wrap="none" lIns="81043" tIns="40522" rIns="81043" bIns="40522" anchor="ctr"/>
            <a:lstStyle/>
            <a:p>
              <a:pPr lvl="0" algn="ctr">
                <a:defRPr/>
              </a:pPr>
              <a:r>
                <a:rPr lang="en-US" sz="1200" dirty="0">
                  <a:latin typeface="+mj-lt"/>
                </a:rPr>
                <a:t>Phase 3</a:t>
              </a:r>
            </a:p>
          </p:txBody>
        </p:sp>
        <p:sp>
          <p:nvSpPr>
            <p:cNvPr id="61453" name="AutoShape 13"/>
            <p:cNvSpPr>
              <a:spLocks noChangeArrowheads="1"/>
            </p:cNvSpPr>
            <p:nvPr/>
          </p:nvSpPr>
          <p:spPr bwMode="gray">
            <a:xfrm>
              <a:off x="6836019" y="1968500"/>
              <a:ext cx="1987062" cy="396875"/>
            </a:xfrm>
            <a:prstGeom prst="chevron">
              <a:avLst>
                <a:gd name="adj" fmla="val 28256"/>
              </a:avLst>
            </a:prstGeom>
            <a:solidFill>
              <a:schemeClr val="bg2"/>
            </a:solidFill>
            <a:ln w="6350">
              <a:noFill/>
              <a:miter lim="800000"/>
              <a:headEnd/>
              <a:tailEnd/>
            </a:ln>
          </p:spPr>
          <p:txBody>
            <a:bodyPr lIns="191441" tIns="31907" rIns="95720" bIns="63814" anchor="ctr"/>
            <a:lstStyle/>
            <a:p>
              <a:pPr lvl="0" algn="ctr" eaLnBrk="0" fontAlgn="base" hangingPunct="0">
                <a:spcBef>
                  <a:spcPct val="0"/>
                </a:spcBef>
                <a:spcAft>
                  <a:spcPct val="0"/>
                </a:spcAft>
              </a:pPr>
              <a:r>
                <a:rPr lang="en-GB" sz="1200" dirty="0">
                  <a:latin typeface="+mj-lt"/>
                </a:rPr>
                <a:t>Phase 4</a:t>
              </a:r>
            </a:p>
          </p:txBody>
        </p:sp>
        <p:sp>
          <p:nvSpPr>
            <p:cNvPr id="61454" name="Rectangle 14"/>
            <p:cNvSpPr>
              <a:spLocks noChangeArrowheads="1"/>
            </p:cNvSpPr>
            <p:nvPr/>
          </p:nvSpPr>
          <p:spPr bwMode="gray">
            <a:xfrm>
              <a:off x="2488223" y="2534709"/>
              <a:ext cx="1975338" cy="848838"/>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a:t>
              </a:r>
              <a:br>
                <a:rPr lang="en-GB" sz="1200" dirty="0"/>
              </a:br>
              <a:r>
                <a:rPr lang="en-GB" sz="1200" dirty="0"/>
                <a:t>of the text used in this location. </a:t>
              </a:r>
            </a:p>
            <a:p>
              <a:pPr lvl="0" fontAlgn="base">
                <a:spcBef>
                  <a:spcPct val="50000"/>
                </a:spcBef>
                <a:spcAft>
                  <a:spcPct val="0"/>
                </a:spcAft>
              </a:pPr>
              <a:r>
                <a:rPr lang="en-GB" sz="1200" dirty="0"/>
                <a:t>To ensure that you have the correct size, </a:t>
              </a:r>
              <a:r>
                <a:rPr lang="en-GB" sz="1200" dirty="0" err="1"/>
                <a:t>color</a:t>
              </a:r>
              <a:r>
                <a:rPr lang="en-GB" sz="1200" dirty="0"/>
                <a:t> and location of the text, it is recommended that you simply select and over-type this placeholder text.</a:t>
              </a:r>
            </a:p>
          </p:txBody>
        </p:sp>
        <p:sp>
          <p:nvSpPr>
            <p:cNvPr id="61455" name="Rectangle 15"/>
            <p:cNvSpPr>
              <a:spLocks noChangeArrowheads="1"/>
            </p:cNvSpPr>
            <p:nvPr/>
          </p:nvSpPr>
          <p:spPr bwMode="gray">
            <a:xfrm>
              <a:off x="4656993" y="2534709"/>
              <a:ext cx="1975338" cy="848838"/>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a:t>This placeholder text is intended to show the correct position and size </a:t>
              </a:r>
              <a:br>
                <a:rPr lang="en-GB" sz="1200"/>
              </a:br>
              <a:r>
                <a:rPr lang="en-GB" sz="1200"/>
                <a:t>of the text used in this location. </a:t>
              </a:r>
            </a:p>
            <a:p>
              <a:pPr lvl="0" fontAlgn="base">
                <a:spcBef>
                  <a:spcPct val="50000"/>
                </a:spcBef>
                <a:spcAft>
                  <a:spcPct val="0"/>
                </a:spcAft>
              </a:pPr>
              <a:r>
                <a:rPr lang="en-GB" sz="1200"/>
                <a:t>To ensure that you have the correct size, color and location of the text, it is recommended that you simply select and over-type this placeholder text.</a:t>
              </a:r>
            </a:p>
          </p:txBody>
        </p:sp>
        <p:sp>
          <p:nvSpPr>
            <p:cNvPr id="61456" name="Rectangle 16"/>
            <p:cNvSpPr>
              <a:spLocks noChangeArrowheads="1"/>
            </p:cNvSpPr>
            <p:nvPr/>
          </p:nvSpPr>
          <p:spPr bwMode="gray">
            <a:xfrm>
              <a:off x="6836021" y="2534709"/>
              <a:ext cx="1973873" cy="848838"/>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a:t>
              </a:r>
              <a:br>
                <a:rPr lang="en-GB" sz="1200" dirty="0"/>
              </a:br>
              <a:r>
                <a:rPr lang="en-GB" sz="1200" dirty="0"/>
                <a:t>of the text used in this location. </a:t>
              </a:r>
            </a:p>
            <a:p>
              <a:pPr lvl="0" fontAlgn="base">
                <a:spcBef>
                  <a:spcPct val="50000"/>
                </a:spcBef>
                <a:spcAft>
                  <a:spcPct val="0"/>
                </a:spcAft>
              </a:pPr>
              <a:r>
                <a:rPr lang="en-GB" sz="1200" dirty="0"/>
                <a:t>To ensure that you have the correct size, </a:t>
              </a:r>
              <a:r>
                <a:rPr lang="en-GB" sz="1200" dirty="0" err="1"/>
                <a:t>color</a:t>
              </a:r>
              <a:r>
                <a:rPr lang="en-GB" sz="1200" dirty="0"/>
                <a:t> and location of the text, it is recommended that you simply select and over-type this placeholder text.</a:t>
              </a:r>
            </a:p>
          </p:txBody>
        </p:sp>
      </p:grpSp>
      <p:sp>
        <p:nvSpPr>
          <p:cNvPr id="61448" name="Rectangle 8"/>
          <p:cNvSpPr>
            <a:spLocks noChangeArrowheads="1"/>
          </p:cNvSpPr>
          <p:nvPr/>
        </p:nvSpPr>
        <p:spPr bwMode="auto">
          <a:xfrm>
            <a:off x="3370263" y="2011681"/>
            <a:ext cx="982662" cy="826770"/>
          </a:xfrm>
          <a:prstGeom prst="rect">
            <a:avLst/>
          </a:prstGeom>
          <a:noFill/>
          <a:ln w="6350">
            <a:noFill/>
            <a:miter lim="800000"/>
            <a:headEnd/>
            <a:tailEnd/>
          </a:ln>
        </p:spPr>
        <p:txBody>
          <a:bodyPr wrap="none" lIns="0" tIns="0" rIns="0" bIns="0" anchor="ctr"/>
          <a:lstStyle/>
          <a:p>
            <a:pPr fontAlgn="base">
              <a:spcBef>
                <a:spcPct val="0"/>
              </a:spcBef>
              <a:spcAft>
                <a:spcPct val="0"/>
              </a:spcAft>
            </a:pPr>
            <a:endParaRPr lang="en-GB" dirty="0">
              <a:latin typeface="Futura Medium" panose="00000400000000000000" pitchFamily="2" charset="0"/>
            </a:endParaRPr>
          </a:p>
        </p:txBody>
      </p:sp>
    </p:spTree>
    <p:extLst>
      <p:ext uri="{BB962C8B-B14F-4D97-AF65-F5344CB8AC3E}">
        <p14:creationId xmlns:p14="http://schemas.microsoft.com/office/powerpoint/2010/main" val="330578487"/>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3"/>
          <p:cNvSpPr>
            <a:spLocks noGrp="1" noChangeArrowheads="1"/>
          </p:cNvSpPr>
          <p:nvPr>
            <p:ph type="title"/>
          </p:nvPr>
        </p:nvSpPr>
        <p:spPr/>
        <p:txBody>
          <a:bodyPr/>
          <a:lstStyle/>
          <a:p>
            <a:r>
              <a:rPr lang="en-GB"/>
              <a:t>Process</a:t>
            </a:r>
          </a:p>
        </p:txBody>
      </p:sp>
      <p:sp>
        <p:nvSpPr>
          <p:cNvPr id="62466" name="Rectangle 2"/>
          <p:cNvSpPr>
            <a:spLocks noGrp="1"/>
          </p:cNvSpPr>
          <p:nvPr>
            <p:ph idx="11"/>
          </p:nvPr>
        </p:nvSpPr>
        <p:spPr>
          <a:xfrm>
            <a:off x="508000" y="1528763"/>
            <a:ext cx="11171238" cy="4830762"/>
          </a:xfrm>
        </p:spPr>
        <p:txBody>
          <a:bodyPr/>
          <a:lstStyle/>
          <a:p>
            <a:r>
              <a:rPr lang="en-GB"/>
              <a:t>Sub headline (optional):</a:t>
            </a:r>
          </a:p>
          <a:p>
            <a:pPr lvl="0"/>
            <a:r>
              <a:rPr lang="en-GB"/>
              <a:t>Sub headline second line written in sentence case. </a:t>
            </a:r>
            <a:endParaRPr lang="en-AU" dirty="0"/>
          </a:p>
        </p:txBody>
      </p:sp>
      <p:sp>
        <p:nvSpPr>
          <p:cNvPr id="62471" name="Rectangle 7"/>
          <p:cNvSpPr>
            <a:spLocks noChangeArrowheads="1"/>
          </p:cNvSpPr>
          <p:nvPr/>
        </p:nvSpPr>
        <p:spPr bwMode="auto">
          <a:xfrm>
            <a:off x="3370263" y="2011681"/>
            <a:ext cx="982662" cy="826770"/>
          </a:xfrm>
          <a:prstGeom prst="rect">
            <a:avLst/>
          </a:prstGeom>
          <a:noFill/>
          <a:ln w="6350">
            <a:noFill/>
            <a:miter lim="800000"/>
            <a:headEnd/>
            <a:tailEnd/>
          </a:ln>
        </p:spPr>
        <p:txBody>
          <a:bodyPr wrap="none" lIns="0" tIns="0" rIns="0" bIns="0" anchor="ctr"/>
          <a:lstStyle/>
          <a:p>
            <a:pPr fontAlgn="base">
              <a:spcBef>
                <a:spcPct val="0"/>
              </a:spcBef>
              <a:spcAft>
                <a:spcPct val="0"/>
              </a:spcAft>
            </a:pPr>
            <a:endParaRPr lang="en-GB" dirty="0">
              <a:latin typeface="Futura Medium" panose="00000400000000000000" pitchFamily="2" charset="0"/>
            </a:endParaRPr>
          </a:p>
        </p:txBody>
      </p:sp>
      <p:grpSp>
        <p:nvGrpSpPr>
          <p:cNvPr id="62472" name="Group 8"/>
          <p:cNvGrpSpPr>
            <a:grpSpLocks/>
          </p:cNvGrpSpPr>
          <p:nvPr/>
        </p:nvGrpSpPr>
        <p:grpSpPr bwMode="auto">
          <a:xfrm>
            <a:off x="508000" y="2565890"/>
            <a:ext cx="11171237" cy="2985827"/>
            <a:chOff x="301869" y="1968500"/>
            <a:chExt cx="8521212" cy="1520473"/>
          </a:xfrm>
        </p:grpSpPr>
        <p:sp>
          <p:nvSpPr>
            <p:cNvPr id="839684" name="AutoShape 9"/>
            <p:cNvSpPr>
              <a:spLocks noChangeArrowheads="1"/>
            </p:cNvSpPr>
            <p:nvPr/>
          </p:nvSpPr>
          <p:spPr bwMode="auto">
            <a:xfrm>
              <a:off x="301869" y="1968500"/>
              <a:ext cx="1988933" cy="396446"/>
            </a:xfrm>
            <a:prstGeom prst="chevron">
              <a:avLst>
                <a:gd name="adj" fmla="val 28271"/>
              </a:avLst>
            </a:prstGeom>
            <a:solidFill>
              <a:schemeClr val="tx1"/>
            </a:solidFill>
            <a:ln w="9525" algn="ctr">
              <a:noFill/>
              <a:miter lim="800000"/>
              <a:headEnd/>
              <a:tailEnd/>
            </a:ln>
            <a:effectLst/>
          </p:spPr>
          <p:txBody>
            <a:bodyPr wrap="none" lIns="81043" tIns="40522" rIns="81043" bIns="40522" anchor="ctr"/>
            <a:lstStyle/>
            <a:p>
              <a:pPr lvl="0" algn="ctr">
                <a:defRPr/>
              </a:pPr>
              <a:r>
                <a:rPr lang="en-US" sz="1200" dirty="0">
                  <a:solidFill>
                    <a:schemeClr val="bg1"/>
                  </a:solidFill>
                  <a:latin typeface="+mj-lt"/>
                </a:rPr>
                <a:t>Phase 1</a:t>
              </a:r>
            </a:p>
          </p:txBody>
        </p:sp>
        <p:sp>
          <p:nvSpPr>
            <p:cNvPr id="839685" name="AutoShape 10"/>
            <p:cNvSpPr>
              <a:spLocks noChangeArrowheads="1"/>
            </p:cNvSpPr>
            <p:nvPr/>
          </p:nvSpPr>
          <p:spPr bwMode="auto">
            <a:xfrm>
              <a:off x="2487421" y="1968500"/>
              <a:ext cx="1987307" cy="396446"/>
            </a:xfrm>
            <a:prstGeom prst="chevron">
              <a:avLst>
                <a:gd name="adj" fmla="val 28250"/>
              </a:avLst>
            </a:prstGeom>
            <a:solidFill>
              <a:schemeClr val="tx1"/>
            </a:solidFill>
            <a:ln w="9525" algn="ctr">
              <a:noFill/>
              <a:miter lim="800000"/>
              <a:headEnd/>
              <a:tailEnd/>
            </a:ln>
            <a:effectLst/>
          </p:spPr>
          <p:txBody>
            <a:bodyPr wrap="none" lIns="81043" tIns="40522" rIns="81043" bIns="40522" anchor="ctr"/>
            <a:lstStyle/>
            <a:p>
              <a:pPr lvl="0" algn="ctr">
                <a:defRPr/>
              </a:pPr>
              <a:r>
                <a:rPr lang="en-US" sz="1200">
                  <a:solidFill>
                    <a:schemeClr val="bg1"/>
                  </a:solidFill>
                  <a:latin typeface="+mj-lt"/>
                </a:rPr>
                <a:t>Phase 2</a:t>
              </a:r>
            </a:p>
          </p:txBody>
        </p:sp>
        <p:sp>
          <p:nvSpPr>
            <p:cNvPr id="839686" name="AutoShape 11"/>
            <p:cNvSpPr>
              <a:spLocks noChangeArrowheads="1"/>
            </p:cNvSpPr>
            <p:nvPr/>
          </p:nvSpPr>
          <p:spPr bwMode="auto">
            <a:xfrm>
              <a:off x="4656721" y="1968500"/>
              <a:ext cx="1987309" cy="396446"/>
            </a:xfrm>
            <a:prstGeom prst="chevron">
              <a:avLst>
                <a:gd name="adj" fmla="val 28250"/>
              </a:avLst>
            </a:prstGeom>
            <a:solidFill>
              <a:schemeClr val="accent1"/>
            </a:solidFill>
            <a:ln w="9525" algn="ctr">
              <a:noFill/>
              <a:miter lim="800000"/>
              <a:headEnd/>
              <a:tailEnd/>
            </a:ln>
            <a:effectLst/>
          </p:spPr>
          <p:txBody>
            <a:bodyPr wrap="none" lIns="81043" tIns="40522" rIns="81043" bIns="40522" anchor="ctr"/>
            <a:lstStyle/>
            <a:p>
              <a:pPr lvl="0" algn="ctr">
                <a:defRPr/>
              </a:pPr>
              <a:r>
                <a:rPr lang="en-US" sz="1200">
                  <a:latin typeface="+mj-lt"/>
                </a:rPr>
                <a:t>Phase 3</a:t>
              </a:r>
            </a:p>
          </p:txBody>
        </p:sp>
        <p:sp>
          <p:nvSpPr>
            <p:cNvPr id="62476" name="AutoShape 12"/>
            <p:cNvSpPr>
              <a:spLocks noChangeArrowheads="1"/>
            </p:cNvSpPr>
            <p:nvPr/>
          </p:nvSpPr>
          <p:spPr bwMode="gray">
            <a:xfrm>
              <a:off x="6836019" y="1968500"/>
              <a:ext cx="1987062" cy="396875"/>
            </a:xfrm>
            <a:prstGeom prst="chevron">
              <a:avLst>
                <a:gd name="adj" fmla="val 28256"/>
              </a:avLst>
            </a:prstGeom>
            <a:solidFill>
              <a:schemeClr val="bg2"/>
            </a:solidFill>
            <a:ln w="6350">
              <a:noFill/>
              <a:miter lim="800000"/>
              <a:headEnd/>
              <a:tailEnd/>
            </a:ln>
          </p:spPr>
          <p:txBody>
            <a:bodyPr lIns="191441" tIns="31907" rIns="95720" bIns="63814" anchor="ctr"/>
            <a:lstStyle/>
            <a:p>
              <a:pPr lvl="0" algn="ctr" eaLnBrk="0" fontAlgn="base" hangingPunct="0">
                <a:spcBef>
                  <a:spcPct val="0"/>
                </a:spcBef>
                <a:spcAft>
                  <a:spcPct val="0"/>
                </a:spcAft>
              </a:pPr>
              <a:r>
                <a:rPr lang="en-GB" sz="1200" dirty="0">
                  <a:latin typeface="+mj-lt"/>
                </a:rPr>
                <a:t>Phase 4</a:t>
              </a:r>
            </a:p>
          </p:txBody>
        </p:sp>
        <p:sp>
          <p:nvSpPr>
            <p:cNvPr id="62477" name="Rectangle 13"/>
            <p:cNvSpPr>
              <a:spLocks noChangeArrowheads="1"/>
            </p:cNvSpPr>
            <p:nvPr/>
          </p:nvSpPr>
          <p:spPr bwMode="gray">
            <a:xfrm>
              <a:off x="301870" y="3112823"/>
              <a:ext cx="1610458" cy="376150"/>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dirty="0"/>
                <a:t>This placeholder text is intended to show the correct position and size of the text used in this location. </a:t>
              </a:r>
            </a:p>
          </p:txBody>
        </p:sp>
        <p:sp>
          <p:nvSpPr>
            <p:cNvPr id="62478" name="Rectangle 14"/>
            <p:cNvSpPr>
              <a:spLocks noChangeArrowheads="1"/>
            </p:cNvSpPr>
            <p:nvPr/>
          </p:nvSpPr>
          <p:spPr bwMode="gray">
            <a:xfrm>
              <a:off x="2028092" y="3112823"/>
              <a:ext cx="1611923" cy="376150"/>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a:t>This placeholder text is intended to show the correct position and size of the text used in this location. </a:t>
              </a:r>
            </a:p>
          </p:txBody>
        </p:sp>
        <p:sp>
          <p:nvSpPr>
            <p:cNvPr id="62479" name="Rectangle 15"/>
            <p:cNvSpPr>
              <a:spLocks noChangeArrowheads="1"/>
            </p:cNvSpPr>
            <p:nvPr/>
          </p:nvSpPr>
          <p:spPr bwMode="gray">
            <a:xfrm>
              <a:off x="5486401" y="3112823"/>
              <a:ext cx="1608992" cy="376150"/>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a:t>This placeholder text is intended to show the correct position and size of the text used in this location. </a:t>
              </a:r>
            </a:p>
          </p:txBody>
        </p:sp>
        <p:sp>
          <p:nvSpPr>
            <p:cNvPr id="62480" name="Rectangle 16"/>
            <p:cNvSpPr>
              <a:spLocks noChangeArrowheads="1"/>
            </p:cNvSpPr>
            <p:nvPr/>
          </p:nvSpPr>
          <p:spPr bwMode="gray">
            <a:xfrm>
              <a:off x="7211158" y="3112823"/>
              <a:ext cx="1603131" cy="376150"/>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a:t>This placeholder text is intended to show the correct position and size of the text used in this location. </a:t>
              </a:r>
            </a:p>
          </p:txBody>
        </p:sp>
        <p:sp>
          <p:nvSpPr>
            <p:cNvPr id="62481" name="Rectangle 17"/>
            <p:cNvSpPr>
              <a:spLocks noChangeArrowheads="1"/>
            </p:cNvSpPr>
            <p:nvPr/>
          </p:nvSpPr>
          <p:spPr bwMode="gray">
            <a:xfrm>
              <a:off x="301870" y="2562490"/>
              <a:ext cx="1610458" cy="392906"/>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200"/>
                <a:t>Phase 3.1</a:t>
              </a:r>
            </a:p>
          </p:txBody>
        </p:sp>
        <p:sp>
          <p:nvSpPr>
            <p:cNvPr id="62482" name="Rectangle 18"/>
            <p:cNvSpPr>
              <a:spLocks noChangeArrowheads="1"/>
            </p:cNvSpPr>
            <p:nvPr/>
          </p:nvSpPr>
          <p:spPr bwMode="gray">
            <a:xfrm>
              <a:off x="2029558" y="2562490"/>
              <a:ext cx="1611923" cy="392906"/>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200"/>
                <a:t>Phase 3.2</a:t>
              </a:r>
            </a:p>
          </p:txBody>
        </p:sp>
        <p:sp>
          <p:nvSpPr>
            <p:cNvPr id="62483" name="Rectangle 19"/>
            <p:cNvSpPr>
              <a:spLocks noChangeArrowheads="1"/>
            </p:cNvSpPr>
            <p:nvPr/>
          </p:nvSpPr>
          <p:spPr bwMode="gray">
            <a:xfrm>
              <a:off x="3760178" y="2562490"/>
              <a:ext cx="1606062" cy="392906"/>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200"/>
                <a:t>Phase 3.3</a:t>
              </a:r>
            </a:p>
          </p:txBody>
        </p:sp>
        <p:sp>
          <p:nvSpPr>
            <p:cNvPr id="62484" name="Rectangle 20"/>
            <p:cNvSpPr>
              <a:spLocks noChangeArrowheads="1"/>
            </p:cNvSpPr>
            <p:nvPr/>
          </p:nvSpPr>
          <p:spPr bwMode="gray">
            <a:xfrm>
              <a:off x="5483470" y="2562490"/>
              <a:ext cx="1608992" cy="392906"/>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200"/>
                <a:t>Phase 3.4</a:t>
              </a:r>
            </a:p>
          </p:txBody>
        </p:sp>
        <p:sp>
          <p:nvSpPr>
            <p:cNvPr id="62485" name="Rectangle 21"/>
            <p:cNvSpPr>
              <a:spLocks noChangeArrowheads="1"/>
            </p:cNvSpPr>
            <p:nvPr/>
          </p:nvSpPr>
          <p:spPr bwMode="gray">
            <a:xfrm>
              <a:off x="7211158" y="2562490"/>
              <a:ext cx="1611923" cy="392906"/>
            </a:xfrm>
            <a:prstGeom prst="rect">
              <a:avLst/>
            </a:prstGeom>
            <a:solidFill>
              <a:schemeClr val="accent1"/>
            </a:solidFill>
            <a:ln w="6350">
              <a:noFill/>
              <a:miter lim="800000"/>
              <a:headEnd/>
              <a:tailEnd/>
            </a:ln>
          </p:spPr>
          <p:txBody>
            <a:bodyPr lIns="63814" tIns="63814" rIns="63814" bIns="63814" anchor="ctr"/>
            <a:lstStyle/>
            <a:p>
              <a:pPr lvl="0" algn="ctr" eaLnBrk="0" fontAlgn="base" hangingPunct="0">
                <a:spcBef>
                  <a:spcPct val="0"/>
                </a:spcBef>
                <a:spcAft>
                  <a:spcPct val="0"/>
                </a:spcAft>
              </a:pPr>
              <a:r>
                <a:rPr lang="en-GB" sz="1200"/>
                <a:t>Phase 3.5</a:t>
              </a:r>
            </a:p>
          </p:txBody>
        </p:sp>
        <p:sp>
          <p:nvSpPr>
            <p:cNvPr id="62486" name="Rectangle 22"/>
            <p:cNvSpPr>
              <a:spLocks noChangeArrowheads="1"/>
            </p:cNvSpPr>
            <p:nvPr/>
          </p:nvSpPr>
          <p:spPr bwMode="gray">
            <a:xfrm>
              <a:off x="3758713" y="3112823"/>
              <a:ext cx="1607526" cy="376150"/>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1200"/>
                <a:t>This placeholder text is intended to show the correct position and size of the text used in this location. </a:t>
              </a:r>
            </a:p>
          </p:txBody>
        </p:sp>
      </p:grpSp>
    </p:spTree>
    <p:extLst>
      <p:ext uri="{BB962C8B-B14F-4D97-AF65-F5344CB8AC3E}">
        <p14:creationId xmlns:p14="http://schemas.microsoft.com/office/powerpoint/2010/main" val="104958965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8</a:t>
            </a:fld>
            <a:endParaRPr lang="en-GB" dirty="0"/>
          </a:p>
        </p:txBody>
      </p:sp>
      <p:grpSp>
        <p:nvGrpSpPr>
          <p:cNvPr id="4" name="Group 3"/>
          <p:cNvGrpSpPr/>
          <p:nvPr/>
        </p:nvGrpSpPr>
        <p:grpSpPr>
          <a:xfrm>
            <a:off x="508000" y="1522495"/>
            <a:ext cx="11171238" cy="4837029"/>
            <a:chOff x="2032000" y="1204996"/>
            <a:chExt cx="8128000" cy="4378496"/>
          </a:xfrm>
        </p:grpSpPr>
        <p:sp>
          <p:nvSpPr>
            <p:cNvPr id="5" name="TextBox 4"/>
            <p:cNvSpPr txBox="1"/>
            <p:nvPr/>
          </p:nvSpPr>
          <p:spPr>
            <a:xfrm>
              <a:off x="2032000" y="1204996"/>
              <a:ext cx="2540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6" name="TextBox 5"/>
            <p:cNvSpPr txBox="1"/>
            <p:nvPr/>
          </p:nvSpPr>
          <p:spPr>
            <a:xfrm>
              <a:off x="2032000" y="1522496"/>
              <a:ext cx="2540000" cy="40609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p:txBody>
        </p:sp>
        <p:sp>
          <p:nvSpPr>
            <p:cNvPr id="25" name="TextBox 24"/>
            <p:cNvSpPr txBox="1"/>
            <p:nvPr/>
          </p:nvSpPr>
          <p:spPr>
            <a:xfrm>
              <a:off x="4826001" y="1204996"/>
              <a:ext cx="2540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6" name="TextBox 25"/>
            <p:cNvSpPr txBox="1"/>
            <p:nvPr/>
          </p:nvSpPr>
          <p:spPr>
            <a:xfrm>
              <a:off x="4826001" y="1522496"/>
              <a:ext cx="2540000" cy="40609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p:txBody>
        </p:sp>
        <p:sp>
          <p:nvSpPr>
            <p:cNvPr id="27" name="TextBox 26"/>
            <p:cNvSpPr txBox="1"/>
            <p:nvPr/>
          </p:nvSpPr>
          <p:spPr>
            <a:xfrm>
              <a:off x="7620000" y="1204996"/>
              <a:ext cx="2540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8" name="TextBox 27"/>
            <p:cNvSpPr txBox="1"/>
            <p:nvPr/>
          </p:nvSpPr>
          <p:spPr>
            <a:xfrm>
              <a:off x="7620000" y="1522496"/>
              <a:ext cx="2540000" cy="40609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br>
                <a:rPr lang="en-US" sz="1400" dirty="0"/>
              </a:b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r>
                <a:rPr lang="en-US" sz="1400" dirty="0"/>
                <a:t>, </a:t>
              </a:r>
              <a:r>
                <a:rPr lang="en-US" sz="1400" dirty="0" err="1"/>
                <a:t>eu</a:t>
              </a:r>
              <a:r>
                <a:rPr lang="en-US" sz="1400" dirty="0"/>
                <a:t> integer</a:t>
              </a:r>
            </a:p>
          </p:txBody>
        </p:sp>
      </p:grpSp>
    </p:spTree>
    <p:extLst>
      <p:ext uri="{BB962C8B-B14F-4D97-AF65-F5344CB8AC3E}">
        <p14:creationId xmlns:p14="http://schemas.microsoft.com/office/powerpoint/2010/main" val="509089693"/>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pPr lvl="0"/>
            <a:r>
              <a:rPr lang="en-GB"/>
              <a:t>Sample flow chart</a:t>
            </a:r>
          </a:p>
        </p:txBody>
      </p:sp>
      <p:grpSp>
        <p:nvGrpSpPr>
          <p:cNvPr id="2" name="Group 1"/>
          <p:cNvGrpSpPr/>
          <p:nvPr/>
        </p:nvGrpSpPr>
        <p:grpSpPr>
          <a:xfrm>
            <a:off x="508000" y="1528763"/>
            <a:ext cx="11171238" cy="4830762"/>
            <a:chOff x="1962151" y="1446213"/>
            <a:chExt cx="8278812" cy="4256087"/>
          </a:xfrm>
        </p:grpSpPr>
        <p:sp>
          <p:nvSpPr>
            <p:cNvPr id="44035" name="Rectangle 3"/>
            <p:cNvSpPr>
              <a:spLocks noChangeArrowheads="1"/>
            </p:cNvSpPr>
            <p:nvPr/>
          </p:nvSpPr>
          <p:spPr bwMode="gray">
            <a:xfrm>
              <a:off x="1962151" y="2325376"/>
              <a:ext cx="1916113" cy="717459"/>
            </a:xfrm>
            <a:prstGeom prst="rect">
              <a:avLst/>
            </a:prstGeom>
            <a:solidFill>
              <a:schemeClr val="accent1"/>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one</a:t>
              </a:r>
            </a:p>
          </p:txBody>
        </p:sp>
        <p:sp>
          <p:nvSpPr>
            <p:cNvPr id="44036" name="Rectangle 4"/>
            <p:cNvSpPr>
              <a:spLocks noChangeArrowheads="1"/>
            </p:cNvSpPr>
            <p:nvPr/>
          </p:nvSpPr>
          <p:spPr bwMode="gray">
            <a:xfrm>
              <a:off x="1962151" y="1454063"/>
              <a:ext cx="4041775" cy="692340"/>
            </a:xfrm>
            <a:prstGeom prst="rect">
              <a:avLst/>
            </a:prstGeom>
            <a:solidFill>
              <a:schemeClr val="accent1"/>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dirty="0"/>
                <a:t>Option one</a:t>
              </a:r>
            </a:p>
          </p:txBody>
        </p:sp>
        <p:sp>
          <p:nvSpPr>
            <p:cNvPr id="44037" name="Rectangle 5"/>
            <p:cNvSpPr>
              <a:spLocks noChangeArrowheads="1"/>
            </p:cNvSpPr>
            <p:nvPr/>
          </p:nvSpPr>
          <p:spPr bwMode="gray">
            <a:xfrm>
              <a:off x="1962151" y="3218667"/>
              <a:ext cx="1916113" cy="714319"/>
            </a:xfrm>
            <a:prstGeom prst="rect">
              <a:avLst/>
            </a:prstGeom>
            <a:solidFill>
              <a:schemeClr val="accent1"/>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three</a:t>
              </a:r>
            </a:p>
          </p:txBody>
        </p:sp>
        <p:sp>
          <p:nvSpPr>
            <p:cNvPr id="44038" name="Rectangle 6"/>
            <p:cNvSpPr>
              <a:spLocks noChangeArrowheads="1"/>
            </p:cNvSpPr>
            <p:nvPr/>
          </p:nvSpPr>
          <p:spPr bwMode="gray">
            <a:xfrm>
              <a:off x="1962151" y="4107250"/>
              <a:ext cx="1916113" cy="717459"/>
            </a:xfrm>
            <a:prstGeom prst="rect">
              <a:avLst/>
            </a:prstGeom>
            <a:solidFill>
              <a:schemeClr val="accent1"/>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five</a:t>
              </a:r>
            </a:p>
          </p:txBody>
        </p:sp>
        <p:sp>
          <p:nvSpPr>
            <p:cNvPr id="44039" name="Rectangle 7"/>
            <p:cNvSpPr>
              <a:spLocks noChangeArrowheads="1"/>
            </p:cNvSpPr>
            <p:nvPr/>
          </p:nvSpPr>
          <p:spPr bwMode="gray">
            <a:xfrm>
              <a:off x="1962151" y="4984841"/>
              <a:ext cx="4041775" cy="717459"/>
            </a:xfrm>
            <a:prstGeom prst="rect">
              <a:avLst/>
            </a:prstGeom>
            <a:solidFill>
              <a:schemeClr val="accent1"/>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outcome</a:t>
              </a:r>
            </a:p>
          </p:txBody>
        </p:sp>
        <p:sp>
          <p:nvSpPr>
            <p:cNvPr id="44040" name="Rectangle 8"/>
            <p:cNvSpPr>
              <a:spLocks noChangeArrowheads="1"/>
            </p:cNvSpPr>
            <p:nvPr/>
          </p:nvSpPr>
          <p:spPr bwMode="gray">
            <a:xfrm>
              <a:off x="6199188" y="4984841"/>
              <a:ext cx="4041775" cy="717459"/>
            </a:xfrm>
            <a:prstGeom prst="rect">
              <a:avLst/>
            </a:prstGeom>
            <a:solidFill>
              <a:schemeClr val="bg2"/>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outcome</a:t>
              </a:r>
            </a:p>
          </p:txBody>
        </p:sp>
        <p:sp>
          <p:nvSpPr>
            <p:cNvPr id="44041" name="Rectangle 9"/>
            <p:cNvSpPr>
              <a:spLocks noChangeArrowheads="1"/>
            </p:cNvSpPr>
            <p:nvPr/>
          </p:nvSpPr>
          <p:spPr bwMode="gray">
            <a:xfrm>
              <a:off x="6197599" y="1446213"/>
              <a:ext cx="4043363" cy="701759"/>
            </a:xfrm>
            <a:prstGeom prst="rect">
              <a:avLst/>
            </a:prstGeom>
            <a:solidFill>
              <a:schemeClr val="bg2"/>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one</a:t>
              </a:r>
            </a:p>
          </p:txBody>
        </p:sp>
        <p:sp>
          <p:nvSpPr>
            <p:cNvPr id="44042" name="Rectangle 10"/>
            <p:cNvSpPr>
              <a:spLocks noChangeArrowheads="1"/>
            </p:cNvSpPr>
            <p:nvPr/>
          </p:nvSpPr>
          <p:spPr bwMode="gray">
            <a:xfrm>
              <a:off x="8310564" y="2325376"/>
              <a:ext cx="1930399" cy="717459"/>
            </a:xfrm>
            <a:prstGeom prst="rect">
              <a:avLst/>
            </a:prstGeom>
            <a:solidFill>
              <a:schemeClr val="bg2"/>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two</a:t>
              </a:r>
            </a:p>
          </p:txBody>
        </p:sp>
        <p:sp>
          <p:nvSpPr>
            <p:cNvPr id="44043" name="Rectangle 11"/>
            <p:cNvSpPr>
              <a:spLocks noChangeArrowheads="1"/>
            </p:cNvSpPr>
            <p:nvPr/>
          </p:nvSpPr>
          <p:spPr bwMode="gray">
            <a:xfrm>
              <a:off x="8310564" y="3218667"/>
              <a:ext cx="1930399" cy="714319"/>
            </a:xfrm>
            <a:prstGeom prst="rect">
              <a:avLst/>
            </a:prstGeom>
            <a:solidFill>
              <a:schemeClr val="bg2"/>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four</a:t>
              </a:r>
            </a:p>
          </p:txBody>
        </p:sp>
        <p:sp>
          <p:nvSpPr>
            <p:cNvPr id="44044" name="Rectangle 12"/>
            <p:cNvSpPr>
              <a:spLocks noChangeArrowheads="1"/>
            </p:cNvSpPr>
            <p:nvPr/>
          </p:nvSpPr>
          <p:spPr bwMode="gray">
            <a:xfrm>
              <a:off x="8310564" y="4107250"/>
              <a:ext cx="1930399" cy="717459"/>
            </a:xfrm>
            <a:prstGeom prst="rect">
              <a:avLst/>
            </a:prstGeom>
            <a:solidFill>
              <a:schemeClr val="bg2"/>
            </a:solidFill>
            <a:ln w="12700">
              <a:noFill/>
              <a:miter lim="800000"/>
              <a:headEnd/>
              <a:tailEnd/>
            </a:ln>
          </p:spPr>
          <p:txBody>
            <a:bodyPr wrap="none" lIns="84308" tIns="42154" rIns="84308" bIns="42154"/>
            <a:lstStyle/>
            <a:p>
              <a:pPr defTabSz="842963">
                <a:lnSpc>
                  <a:spcPts val="2100"/>
                </a:lnSpc>
                <a:spcBef>
                  <a:spcPct val="0"/>
                </a:spcBef>
                <a:spcAft>
                  <a:spcPct val="0"/>
                </a:spcAft>
              </a:pPr>
              <a:r>
                <a:rPr lang="en-GB" altLang="en-GB" sz="1600"/>
                <a:t>Option six</a:t>
              </a:r>
            </a:p>
          </p:txBody>
        </p:sp>
        <p:sp>
          <p:nvSpPr>
            <p:cNvPr id="44045" name="Line 13"/>
            <p:cNvSpPr>
              <a:spLocks noChangeShapeType="1"/>
            </p:cNvSpPr>
            <p:nvPr/>
          </p:nvSpPr>
          <p:spPr bwMode="gray">
            <a:xfrm>
              <a:off x="3879851" y="3600161"/>
              <a:ext cx="531813" cy="0"/>
            </a:xfrm>
            <a:prstGeom prst="line">
              <a:avLst/>
            </a:prstGeom>
            <a:noFill/>
            <a:ln w="9525">
              <a:solidFill>
                <a:schemeClr val="tx1"/>
              </a:solidFill>
              <a:round/>
              <a:headEnd/>
              <a:tailEnd/>
            </a:ln>
          </p:spPr>
          <p:txBody>
            <a:bodyPr wrap="none" anchor="ctr"/>
            <a:lstStyle/>
            <a:p>
              <a:endParaRPr lang="en-US"/>
            </a:p>
          </p:txBody>
        </p:sp>
        <p:sp>
          <p:nvSpPr>
            <p:cNvPr id="44046" name="Line 14"/>
            <p:cNvSpPr>
              <a:spLocks noChangeShapeType="1"/>
            </p:cNvSpPr>
            <p:nvPr/>
          </p:nvSpPr>
          <p:spPr bwMode="gray">
            <a:xfrm>
              <a:off x="7807326" y="3600161"/>
              <a:ext cx="498475" cy="0"/>
            </a:xfrm>
            <a:prstGeom prst="line">
              <a:avLst/>
            </a:prstGeom>
            <a:noFill/>
            <a:ln w="9525">
              <a:solidFill>
                <a:schemeClr val="tx1"/>
              </a:solidFill>
              <a:round/>
              <a:headEnd/>
              <a:tailEnd/>
            </a:ln>
          </p:spPr>
          <p:txBody>
            <a:bodyPr wrap="none" anchor="ctr"/>
            <a:lstStyle/>
            <a:p>
              <a:endParaRPr lang="en-US"/>
            </a:p>
          </p:txBody>
        </p:sp>
        <p:sp>
          <p:nvSpPr>
            <p:cNvPr id="44047" name="Line 15"/>
            <p:cNvSpPr>
              <a:spLocks noChangeShapeType="1"/>
            </p:cNvSpPr>
            <p:nvPr/>
          </p:nvSpPr>
          <p:spPr bwMode="gray">
            <a:xfrm>
              <a:off x="5730875" y="2152683"/>
              <a:ext cx="0" cy="444290"/>
            </a:xfrm>
            <a:prstGeom prst="line">
              <a:avLst/>
            </a:prstGeom>
            <a:noFill/>
            <a:ln w="9525">
              <a:solidFill>
                <a:schemeClr val="tx1"/>
              </a:solidFill>
              <a:round/>
              <a:headEnd/>
              <a:tailEnd/>
            </a:ln>
          </p:spPr>
          <p:txBody>
            <a:bodyPr wrap="none" anchor="ctr"/>
            <a:lstStyle/>
            <a:p>
              <a:endParaRPr lang="en-US"/>
            </a:p>
          </p:txBody>
        </p:sp>
        <p:sp>
          <p:nvSpPr>
            <p:cNvPr id="44048" name="Line 16"/>
            <p:cNvSpPr>
              <a:spLocks noChangeShapeType="1"/>
            </p:cNvSpPr>
            <p:nvPr/>
          </p:nvSpPr>
          <p:spPr bwMode="gray">
            <a:xfrm>
              <a:off x="6540500" y="2152683"/>
              <a:ext cx="0" cy="444290"/>
            </a:xfrm>
            <a:prstGeom prst="line">
              <a:avLst/>
            </a:prstGeom>
            <a:noFill/>
            <a:ln w="9525">
              <a:solidFill>
                <a:schemeClr val="tx1"/>
              </a:solidFill>
              <a:round/>
              <a:headEnd/>
              <a:tailEnd/>
            </a:ln>
          </p:spPr>
          <p:txBody>
            <a:bodyPr wrap="none" anchor="ctr"/>
            <a:lstStyle/>
            <a:p>
              <a:endParaRPr lang="en-US"/>
            </a:p>
          </p:txBody>
        </p:sp>
        <p:sp>
          <p:nvSpPr>
            <p:cNvPr id="44049" name="Line 17"/>
            <p:cNvSpPr>
              <a:spLocks noChangeShapeType="1"/>
            </p:cNvSpPr>
            <p:nvPr/>
          </p:nvSpPr>
          <p:spPr bwMode="gray">
            <a:xfrm>
              <a:off x="5730875" y="4557820"/>
              <a:ext cx="0" cy="420742"/>
            </a:xfrm>
            <a:prstGeom prst="line">
              <a:avLst/>
            </a:prstGeom>
            <a:noFill/>
            <a:ln w="9525">
              <a:solidFill>
                <a:schemeClr val="tx1"/>
              </a:solidFill>
              <a:round/>
              <a:headEnd/>
              <a:tailEnd/>
            </a:ln>
          </p:spPr>
          <p:txBody>
            <a:bodyPr wrap="none" anchor="ctr"/>
            <a:lstStyle/>
            <a:p>
              <a:endParaRPr lang="en-US"/>
            </a:p>
          </p:txBody>
        </p:sp>
        <p:sp>
          <p:nvSpPr>
            <p:cNvPr id="44050" name="Line 18"/>
            <p:cNvSpPr>
              <a:spLocks noChangeShapeType="1"/>
            </p:cNvSpPr>
            <p:nvPr/>
          </p:nvSpPr>
          <p:spPr bwMode="gray">
            <a:xfrm>
              <a:off x="6540500" y="4557820"/>
              <a:ext cx="0" cy="427022"/>
            </a:xfrm>
            <a:prstGeom prst="line">
              <a:avLst/>
            </a:prstGeom>
            <a:noFill/>
            <a:ln w="9525">
              <a:solidFill>
                <a:schemeClr val="tx1"/>
              </a:solidFill>
              <a:round/>
              <a:headEnd/>
              <a:tailEnd/>
            </a:ln>
          </p:spPr>
          <p:txBody>
            <a:bodyPr wrap="none" anchor="ctr"/>
            <a:lstStyle/>
            <a:p>
              <a:endParaRPr lang="en-US"/>
            </a:p>
          </p:txBody>
        </p:sp>
        <p:sp>
          <p:nvSpPr>
            <p:cNvPr id="44051" name="Rectangle 19"/>
            <p:cNvSpPr>
              <a:spLocks noChangeArrowheads="1"/>
            </p:cNvSpPr>
            <p:nvPr/>
          </p:nvSpPr>
          <p:spPr bwMode="gray">
            <a:xfrm>
              <a:off x="4410075" y="2592264"/>
              <a:ext cx="3397250" cy="1959276"/>
            </a:xfrm>
            <a:prstGeom prst="rect">
              <a:avLst/>
            </a:prstGeom>
            <a:solidFill>
              <a:schemeClr val="tx2"/>
            </a:solidFill>
            <a:ln w="12700">
              <a:noFill/>
              <a:miter lim="800000"/>
              <a:headEnd/>
              <a:tailEnd/>
            </a:ln>
          </p:spPr>
          <p:txBody>
            <a:bodyPr wrap="none" lIns="84308" tIns="42154" rIns="84308" bIns="42154" anchor="ctr"/>
            <a:lstStyle/>
            <a:p>
              <a:pPr algn="ctr" defTabSz="842963">
                <a:spcBef>
                  <a:spcPct val="0"/>
                </a:spcBef>
                <a:spcAft>
                  <a:spcPct val="0"/>
                </a:spcAft>
              </a:pPr>
              <a:r>
                <a:rPr lang="en-GB" altLang="en-GB" sz="1600" dirty="0">
                  <a:solidFill>
                    <a:srgbClr val="FFFFFF"/>
                  </a:solidFill>
                  <a:latin typeface="+mj-lt"/>
                </a:rPr>
                <a:t>Key statement</a:t>
              </a:r>
              <a:br>
                <a:rPr lang="en-GB" altLang="en-GB" sz="1600" dirty="0">
                  <a:solidFill>
                    <a:srgbClr val="FFFFFF"/>
                  </a:solidFill>
                  <a:latin typeface="+mj-lt"/>
                </a:rPr>
              </a:br>
              <a:r>
                <a:rPr lang="en-GB" altLang="en-GB" sz="1600" dirty="0">
                  <a:solidFill>
                    <a:srgbClr val="FFFFFF"/>
                  </a:solidFill>
                  <a:latin typeface="+mj-lt"/>
                </a:rPr>
                <a:t>would go here</a:t>
              </a:r>
            </a:p>
          </p:txBody>
        </p:sp>
        <p:sp>
          <p:nvSpPr>
            <p:cNvPr id="44052" name="Line 20"/>
            <p:cNvSpPr>
              <a:spLocks noChangeShapeType="1"/>
            </p:cNvSpPr>
            <p:nvPr/>
          </p:nvSpPr>
          <p:spPr bwMode="gray">
            <a:xfrm>
              <a:off x="3879851" y="2680180"/>
              <a:ext cx="531813" cy="0"/>
            </a:xfrm>
            <a:prstGeom prst="line">
              <a:avLst/>
            </a:prstGeom>
            <a:noFill/>
            <a:ln w="9525">
              <a:solidFill>
                <a:schemeClr val="tx1"/>
              </a:solidFill>
              <a:round/>
              <a:headEnd/>
              <a:tailEnd/>
            </a:ln>
          </p:spPr>
          <p:txBody>
            <a:bodyPr wrap="none" anchor="ctr"/>
            <a:lstStyle/>
            <a:p>
              <a:endParaRPr lang="en-US"/>
            </a:p>
          </p:txBody>
        </p:sp>
        <p:sp>
          <p:nvSpPr>
            <p:cNvPr id="44053" name="Line 21"/>
            <p:cNvSpPr>
              <a:spLocks noChangeShapeType="1"/>
            </p:cNvSpPr>
            <p:nvPr/>
          </p:nvSpPr>
          <p:spPr bwMode="gray">
            <a:xfrm>
              <a:off x="7807326" y="2680180"/>
              <a:ext cx="498475" cy="0"/>
            </a:xfrm>
            <a:prstGeom prst="line">
              <a:avLst/>
            </a:prstGeom>
            <a:noFill/>
            <a:ln w="9525">
              <a:solidFill>
                <a:schemeClr val="tx1"/>
              </a:solidFill>
              <a:round/>
              <a:headEnd/>
              <a:tailEnd/>
            </a:ln>
          </p:spPr>
          <p:txBody>
            <a:bodyPr wrap="none" anchor="ctr"/>
            <a:lstStyle/>
            <a:p>
              <a:endParaRPr lang="en-US"/>
            </a:p>
          </p:txBody>
        </p:sp>
        <p:sp>
          <p:nvSpPr>
            <p:cNvPr id="44054" name="Line 22"/>
            <p:cNvSpPr>
              <a:spLocks noChangeShapeType="1"/>
            </p:cNvSpPr>
            <p:nvPr/>
          </p:nvSpPr>
          <p:spPr bwMode="gray">
            <a:xfrm>
              <a:off x="3879851" y="4466763"/>
              <a:ext cx="531813" cy="0"/>
            </a:xfrm>
            <a:prstGeom prst="line">
              <a:avLst/>
            </a:prstGeom>
            <a:noFill/>
            <a:ln w="9525">
              <a:solidFill>
                <a:schemeClr val="tx1"/>
              </a:solidFill>
              <a:round/>
              <a:headEnd/>
              <a:tailEnd/>
            </a:ln>
          </p:spPr>
          <p:txBody>
            <a:bodyPr wrap="none" anchor="ctr"/>
            <a:lstStyle/>
            <a:p>
              <a:endParaRPr lang="en-US"/>
            </a:p>
          </p:txBody>
        </p:sp>
        <p:sp>
          <p:nvSpPr>
            <p:cNvPr id="44055" name="Line 23"/>
            <p:cNvSpPr>
              <a:spLocks noChangeShapeType="1"/>
            </p:cNvSpPr>
            <p:nvPr/>
          </p:nvSpPr>
          <p:spPr bwMode="gray">
            <a:xfrm>
              <a:off x="7807326" y="4466763"/>
              <a:ext cx="498475" cy="0"/>
            </a:xfrm>
            <a:prstGeom prst="line">
              <a:avLst/>
            </a:prstGeom>
            <a:noFill/>
            <a:ln w="9525">
              <a:solidFill>
                <a:schemeClr val="tx1"/>
              </a:solidFill>
              <a:round/>
              <a:headEnd/>
              <a:tailEnd/>
            </a:ln>
          </p:spPr>
          <p:txBody>
            <a:bodyPr wrap="none" anchor="ctr"/>
            <a:lstStyle/>
            <a:p>
              <a:endParaRPr lang="en-US"/>
            </a:p>
          </p:txBody>
        </p:sp>
      </p:grpSp>
    </p:spTree>
    <p:extLst>
      <p:ext uri="{BB962C8B-B14F-4D97-AF65-F5344CB8AC3E}">
        <p14:creationId xmlns:p14="http://schemas.microsoft.com/office/powerpoint/2010/main" val="1660105173"/>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p:cNvSpPr>
          <p:nvPr>
            <p:ph type="title"/>
          </p:nvPr>
        </p:nvSpPr>
        <p:spPr/>
        <p:txBody>
          <a:bodyPr/>
          <a:lstStyle/>
          <a:p>
            <a:r>
              <a:rPr lang="en-GB"/>
              <a:t>Responsibilities</a:t>
            </a:r>
          </a:p>
        </p:txBody>
      </p:sp>
      <p:grpSp>
        <p:nvGrpSpPr>
          <p:cNvPr id="2" name="Group 1"/>
          <p:cNvGrpSpPr/>
          <p:nvPr/>
        </p:nvGrpSpPr>
        <p:grpSpPr>
          <a:xfrm>
            <a:off x="508000" y="1537597"/>
            <a:ext cx="11171238" cy="4821928"/>
            <a:chOff x="1936750" y="1444626"/>
            <a:chExt cx="8318500" cy="4289202"/>
          </a:xfrm>
        </p:grpSpPr>
        <p:sp>
          <p:nvSpPr>
            <p:cNvPr id="29702" name="Text Box 6"/>
            <p:cNvSpPr txBox="1">
              <a:spLocks noChangeArrowheads="1"/>
            </p:cNvSpPr>
            <p:nvPr/>
          </p:nvSpPr>
          <p:spPr bwMode="gray">
            <a:xfrm>
              <a:off x="1936750" y="1444626"/>
              <a:ext cx="1103585" cy="438038"/>
            </a:xfrm>
            <a:prstGeom prst="rect">
              <a:avLst/>
            </a:prstGeom>
            <a:noFill/>
            <a:ln w="9525">
              <a:noFill/>
              <a:miter lim="800000"/>
              <a:headEnd/>
              <a:tailEnd/>
            </a:ln>
          </p:spPr>
          <p:txBody>
            <a:bodyPr lIns="63500" tIns="0" rIns="64800" bIns="0">
              <a:spAutoFit/>
            </a:bodyPr>
            <a:lstStyle/>
            <a:p>
              <a:pPr lvl="0" fontAlgn="base">
                <a:spcBef>
                  <a:spcPct val="0"/>
                </a:spcBef>
                <a:spcAft>
                  <a:spcPct val="0"/>
                </a:spcAft>
              </a:pPr>
              <a:r>
                <a:rPr lang="en-GB" sz="1600" dirty="0">
                  <a:solidFill>
                    <a:schemeClr val="tx2"/>
                  </a:solidFill>
                  <a:latin typeface="+mj-lt"/>
                  <a:cs typeface="Arial" charset="0"/>
                </a:rPr>
                <a:t>Name</a:t>
              </a:r>
            </a:p>
            <a:p>
              <a:pPr lvl="0" fontAlgn="base">
                <a:spcBef>
                  <a:spcPct val="0"/>
                </a:spcBef>
                <a:spcAft>
                  <a:spcPct val="0"/>
                </a:spcAft>
              </a:pPr>
              <a:r>
                <a:rPr lang="en-GB" sz="1600" dirty="0">
                  <a:solidFill>
                    <a:schemeClr val="tx2"/>
                  </a:solidFill>
                  <a:latin typeface="+mj-lt"/>
                  <a:cs typeface="Arial" charset="0"/>
                </a:rPr>
                <a:t>Function</a:t>
              </a:r>
            </a:p>
          </p:txBody>
        </p:sp>
        <p:sp>
          <p:nvSpPr>
            <p:cNvPr id="29703" name="Text Box 7"/>
            <p:cNvSpPr txBox="1">
              <a:spLocks noChangeArrowheads="1"/>
            </p:cNvSpPr>
            <p:nvPr/>
          </p:nvSpPr>
          <p:spPr bwMode="gray">
            <a:xfrm>
              <a:off x="1936750" y="2944418"/>
              <a:ext cx="1103585" cy="438038"/>
            </a:xfrm>
            <a:prstGeom prst="rect">
              <a:avLst/>
            </a:prstGeom>
            <a:noFill/>
            <a:ln w="9525">
              <a:noFill/>
              <a:miter lim="800000"/>
              <a:headEnd/>
              <a:tailEnd/>
            </a:ln>
          </p:spPr>
          <p:txBody>
            <a:bodyPr lIns="63500" tIns="0" rIns="64800" bIns="0">
              <a:spAutoFit/>
            </a:bodyPr>
            <a:lstStyle/>
            <a:p>
              <a:pPr lvl="0" fontAlgn="base">
                <a:spcBef>
                  <a:spcPct val="0"/>
                </a:spcBef>
                <a:spcAft>
                  <a:spcPct val="0"/>
                </a:spcAft>
              </a:pPr>
              <a:r>
                <a:rPr lang="en-GB" sz="1600" dirty="0">
                  <a:solidFill>
                    <a:schemeClr val="tx2"/>
                  </a:solidFill>
                  <a:latin typeface="+mj-lt"/>
                  <a:cs typeface="Arial" charset="0"/>
                </a:rPr>
                <a:t>Name</a:t>
              </a:r>
            </a:p>
            <a:p>
              <a:pPr lvl="0" fontAlgn="base">
                <a:spcBef>
                  <a:spcPct val="0"/>
                </a:spcBef>
                <a:spcAft>
                  <a:spcPct val="0"/>
                </a:spcAft>
              </a:pPr>
              <a:r>
                <a:rPr lang="en-GB" sz="1600" dirty="0">
                  <a:solidFill>
                    <a:schemeClr val="tx2"/>
                  </a:solidFill>
                  <a:latin typeface="+mj-lt"/>
                  <a:cs typeface="Arial" charset="0"/>
                </a:rPr>
                <a:t>Function</a:t>
              </a:r>
            </a:p>
          </p:txBody>
        </p:sp>
        <p:sp>
          <p:nvSpPr>
            <p:cNvPr id="29704" name="Text Box 8"/>
            <p:cNvSpPr txBox="1">
              <a:spLocks noChangeArrowheads="1"/>
            </p:cNvSpPr>
            <p:nvPr/>
          </p:nvSpPr>
          <p:spPr bwMode="gray">
            <a:xfrm>
              <a:off x="1936750" y="4449483"/>
              <a:ext cx="1103585" cy="438038"/>
            </a:xfrm>
            <a:prstGeom prst="rect">
              <a:avLst/>
            </a:prstGeom>
            <a:noFill/>
            <a:ln w="9525">
              <a:noFill/>
              <a:miter lim="800000"/>
              <a:headEnd/>
              <a:tailEnd/>
            </a:ln>
          </p:spPr>
          <p:txBody>
            <a:bodyPr lIns="63500" tIns="0" rIns="64800" bIns="0">
              <a:spAutoFit/>
            </a:bodyPr>
            <a:lstStyle/>
            <a:p>
              <a:pPr lvl="0" fontAlgn="base">
                <a:spcBef>
                  <a:spcPct val="0"/>
                </a:spcBef>
                <a:spcAft>
                  <a:spcPct val="0"/>
                </a:spcAft>
              </a:pPr>
              <a:r>
                <a:rPr lang="en-GB" sz="1600" dirty="0">
                  <a:solidFill>
                    <a:schemeClr val="tx2"/>
                  </a:solidFill>
                  <a:latin typeface="+mj-lt"/>
                  <a:cs typeface="Arial" charset="0"/>
                </a:rPr>
                <a:t>Name</a:t>
              </a:r>
            </a:p>
            <a:p>
              <a:pPr lvl="0" fontAlgn="base">
                <a:spcBef>
                  <a:spcPct val="0"/>
                </a:spcBef>
                <a:spcAft>
                  <a:spcPct val="0"/>
                </a:spcAft>
              </a:pPr>
              <a:r>
                <a:rPr lang="en-GB" sz="1600" dirty="0">
                  <a:solidFill>
                    <a:schemeClr val="tx2"/>
                  </a:solidFill>
                  <a:latin typeface="+mj-lt"/>
                  <a:cs typeface="Arial" charset="0"/>
                </a:rPr>
                <a:t>Function</a:t>
              </a:r>
            </a:p>
          </p:txBody>
        </p:sp>
        <p:sp>
          <p:nvSpPr>
            <p:cNvPr id="165890" name="Line 9"/>
            <p:cNvSpPr>
              <a:spLocks noChangeShapeType="1"/>
            </p:cNvSpPr>
            <p:nvPr/>
          </p:nvSpPr>
          <p:spPr bwMode="gray">
            <a:xfrm rot="16200000">
              <a:off x="3979098" y="3236597"/>
              <a:ext cx="0" cy="765981"/>
            </a:xfrm>
            <a:prstGeom prst="line">
              <a:avLst/>
            </a:prstGeom>
            <a:noFill/>
            <a:ln w="12700">
              <a:solidFill>
                <a:schemeClr val="accent3"/>
              </a:solidFill>
              <a:round/>
              <a:headEnd/>
              <a:tailEnd/>
            </a:ln>
          </p:spPr>
          <p:txBody>
            <a:bodyPr/>
            <a:lstStyle/>
            <a:p>
              <a:endParaRPr lang="en-US" sz="1400">
                <a:solidFill>
                  <a:schemeClr val="tx2"/>
                </a:solidFill>
              </a:endParaRPr>
            </a:p>
          </p:txBody>
        </p:sp>
        <p:sp>
          <p:nvSpPr>
            <p:cNvPr id="165891" name="Line 10"/>
            <p:cNvSpPr>
              <a:spLocks noChangeShapeType="1"/>
            </p:cNvSpPr>
            <p:nvPr/>
          </p:nvSpPr>
          <p:spPr bwMode="gray">
            <a:xfrm rot="16200000">
              <a:off x="7612329" y="3388582"/>
              <a:ext cx="0" cy="4016220"/>
            </a:xfrm>
            <a:prstGeom prst="line">
              <a:avLst/>
            </a:prstGeom>
            <a:noFill/>
            <a:ln w="12700">
              <a:solidFill>
                <a:schemeClr val="accent3"/>
              </a:solidFill>
              <a:round/>
              <a:headEnd/>
              <a:tailEnd/>
            </a:ln>
          </p:spPr>
          <p:txBody>
            <a:bodyPr/>
            <a:lstStyle/>
            <a:p>
              <a:endParaRPr lang="en-US" sz="1400">
                <a:solidFill>
                  <a:schemeClr val="tx2"/>
                </a:solidFill>
              </a:endParaRPr>
            </a:p>
          </p:txBody>
        </p:sp>
        <p:sp>
          <p:nvSpPr>
            <p:cNvPr id="165892" name="Line 11"/>
            <p:cNvSpPr>
              <a:spLocks noChangeShapeType="1"/>
            </p:cNvSpPr>
            <p:nvPr/>
          </p:nvSpPr>
          <p:spPr bwMode="gray">
            <a:xfrm rot="16200000">
              <a:off x="7612330" y="2665898"/>
              <a:ext cx="0" cy="4016220"/>
            </a:xfrm>
            <a:prstGeom prst="line">
              <a:avLst/>
            </a:prstGeom>
            <a:noFill/>
            <a:ln w="12700">
              <a:solidFill>
                <a:schemeClr val="accent3"/>
              </a:solidFill>
              <a:round/>
              <a:headEnd/>
              <a:tailEnd/>
            </a:ln>
          </p:spPr>
          <p:txBody>
            <a:bodyPr/>
            <a:lstStyle/>
            <a:p>
              <a:endParaRPr lang="en-US" sz="1400">
                <a:solidFill>
                  <a:schemeClr val="tx2"/>
                </a:solidFill>
              </a:endParaRPr>
            </a:p>
          </p:txBody>
        </p:sp>
        <p:sp>
          <p:nvSpPr>
            <p:cNvPr id="165893" name="Line 12"/>
            <p:cNvSpPr>
              <a:spLocks noChangeShapeType="1"/>
            </p:cNvSpPr>
            <p:nvPr/>
          </p:nvSpPr>
          <p:spPr bwMode="gray">
            <a:xfrm rot="16200000">
              <a:off x="7612328" y="1892796"/>
              <a:ext cx="0" cy="4016220"/>
            </a:xfrm>
            <a:prstGeom prst="line">
              <a:avLst/>
            </a:prstGeom>
            <a:noFill/>
            <a:ln w="12700">
              <a:solidFill>
                <a:schemeClr val="accent3"/>
              </a:solidFill>
              <a:round/>
              <a:headEnd/>
              <a:tailEnd/>
            </a:ln>
          </p:spPr>
          <p:txBody>
            <a:bodyPr/>
            <a:lstStyle/>
            <a:p>
              <a:endParaRPr lang="en-US" sz="1400">
                <a:solidFill>
                  <a:schemeClr val="bg1"/>
                </a:solidFill>
              </a:endParaRPr>
            </a:p>
          </p:txBody>
        </p:sp>
        <p:sp>
          <p:nvSpPr>
            <p:cNvPr id="165894" name="Line 13"/>
            <p:cNvSpPr>
              <a:spLocks noChangeShapeType="1"/>
            </p:cNvSpPr>
            <p:nvPr/>
          </p:nvSpPr>
          <p:spPr bwMode="gray">
            <a:xfrm rot="16200000">
              <a:off x="7612328" y="1242242"/>
              <a:ext cx="0" cy="4016220"/>
            </a:xfrm>
            <a:prstGeom prst="line">
              <a:avLst/>
            </a:prstGeom>
            <a:noFill/>
            <a:ln w="12700">
              <a:solidFill>
                <a:schemeClr val="accent3"/>
              </a:solidFill>
              <a:round/>
              <a:headEnd/>
              <a:tailEnd/>
            </a:ln>
          </p:spPr>
          <p:txBody>
            <a:bodyPr/>
            <a:lstStyle/>
            <a:p>
              <a:endParaRPr lang="en-US" sz="1400">
                <a:solidFill>
                  <a:schemeClr val="bg1"/>
                </a:solidFill>
              </a:endParaRPr>
            </a:p>
          </p:txBody>
        </p:sp>
        <p:sp>
          <p:nvSpPr>
            <p:cNvPr id="165895" name="Line 14"/>
            <p:cNvSpPr>
              <a:spLocks noChangeShapeType="1"/>
            </p:cNvSpPr>
            <p:nvPr/>
          </p:nvSpPr>
          <p:spPr bwMode="gray">
            <a:xfrm rot="16200000">
              <a:off x="7612328" y="463334"/>
              <a:ext cx="0" cy="4016220"/>
            </a:xfrm>
            <a:prstGeom prst="line">
              <a:avLst/>
            </a:prstGeom>
            <a:noFill/>
            <a:ln w="12700">
              <a:solidFill>
                <a:schemeClr val="accent3"/>
              </a:solidFill>
              <a:round/>
              <a:headEnd/>
              <a:tailEnd/>
            </a:ln>
          </p:spPr>
          <p:txBody>
            <a:bodyPr/>
            <a:lstStyle/>
            <a:p>
              <a:endParaRPr lang="en-US" sz="1400">
                <a:solidFill>
                  <a:schemeClr val="tx2"/>
                </a:solidFill>
              </a:endParaRPr>
            </a:p>
          </p:txBody>
        </p:sp>
        <p:sp>
          <p:nvSpPr>
            <p:cNvPr id="165896" name="Line 15"/>
            <p:cNvSpPr>
              <a:spLocks noChangeShapeType="1"/>
            </p:cNvSpPr>
            <p:nvPr/>
          </p:nvSpPr>
          <p:spPr bwMode="gray">
            <a:xfrm rot="16200000">
              <a:off x="3979098" y="1742081"/>
              <a:ext cx="0" cy="765981"/>
            </a:xfrm>
            <a:prstGeom prst="line">
              <a:avLst/>
            </a:prstGeom>
            <a:noFill/>
            <a:ln w="12700">
              <a:solidFill>
                <a:schemeClr val="accent3"/>
              </a:solidFill>
              <a:round/>
              <a:headEnd/>
              <a:tailEnd/>
            </a:ln>
          </p:spPr>
          <p:txBody>
            <a:bodyPr/>
            <a:lstStyle/>
            <a:p>
              <a:endParaRPr lang="en-US" sz="1400">
                <a:solidFill>
                  <a:schemeClr val="tx2"/>
                </a:solidFill>
              </a:endParaRPr>
            </a:p>
          </p:txBody>
        </p:sp>
        <p:sp>
          <p:nvSpPr>
            <p:cNvPr id="165897" name="Line 16"/>
            <p:cNvSpPr>
              <a:spLocks noChangeShapeType="1"/>
            </p:cNvSpPr>
            <p:nvPr/>
          </p:nvSpPr>
          <p:spPr bwMode="gray">
            <a:xfrm rot="16200000">
              <a:off x="7612328" y="-238208"/>
              <a:ext cx="0" cy="4016220"/>
            </a:xfrm>
            <a:prstGeom prst="line">
              <a:avLst/>
            </a:prstGeom>
            <a:noFill/>
            <a:ln w="12700">
              <a:solidFill>
                <a:schemeClr val="accent3"/>
              </a:solidFill>
              <a:round/>
              <a:headEnd/>
              <a:tailEnd/>
            </a:ln>
          </p:spPr>
          <p:txBody>
            <a:bodyPr/>
            <a:lstStyle/>
            <a:p>
              <a:endParaRPr lang="en-US" sz="1400">
                <a:solidFill>
                  <a:schemeClr val="tx2"/>
                </a:solidFill>
              </a:endParaRPr>
            </a:p>
          </p:txBody>
        </p:sp>
        <p:sp>
          <p:nvSpPr>
            <p:cNvPr id="165898" name="Line 17"/>
            <p:cNvSpPr>
              <a:spLocks noChangeShapeType="1"/>
            </p:cNvSpPr>
            <p:nvPr/>
          </p:nvSpPr>
          <p:spPr bwMode="gray">
            <a:xfrm rot="16200000">
              <a:off x="3979098" y="4736387"/>
              <a:ext cx="0" cy="765981"/>
            </a:xfrm>
            <a:prstGeom prst="line">
              <a:avLst/>
            </a:prstGeom>
            <a:noFill/>
            <a:ln w="12700">
              <a:solidFill>
                <a:schemeClr val="accent3"/>
              </a:solidFill>
              <a:round/>
              <a:headEnd/>
              <a:tailEnd/>
            </a:ln>
          </p:spPr>
          <p:txBody>
            <a:bodyPr/>
            <a:lstStyle/>
            <a:p>
              <a:endParaRPr lang="en-US" sz="1400">
                <a:solidFill>
                  <a:schemeClr val="tx2"/>
                </a:solidFill>
              </a:endParaRPr>
            </a:p>
          </p:txBody>
        </p:sp>
        <p:sp>
          <p:nvSpPr>
            <p:cNvPr id="29714" name="Line 18"/>
            <p:cNvSpPr>
              <a:spLocks noChangeShapeType="1"/>
            </p:cNvSpPr>
            <p:nvPr/>
          </p:nvSpPr>
          <p:spPr bwMode="gray">
            <a:xfrm>
              <a:off x="3596108" y="1887707"/>
              <a:ext cx="0" cy="3231671"/>
            </a:xfrm>
            <a:prstGeom prst="line">
              <a:avLst/>
            </a:prstGeom>
            <a:noFill/>
            <a:ln w="12700">
              <a:solidFill>
                <a:schemeClr val="accent3"/>
              </a:solidFill>
              <a:round/>
              <a:headEnd/>
              <a:tailEnd/>
            </a:ln>
          </p:spPr>
          <p:txBody>
            <a:bodyPr wrap="none"/>
            <a:lstStyle/>
            <a:p>
              <a:endParaRPr lang="en-US" sz="1400">
                <a:solidFill>
                  <a:schemeClr val="tx2"/>
                </a:solidFill>
              </a:endParaRPr>
            </a:p>
          </p:txBody>
        </p:sp>
        <p:sp>
          <p:nvSpPr>
            <p:cNvPr id="29715" name="Rectangle 19"/>
            <p:cNvSpPr>
              <a:spLocks noChangeArrowheads="1"/>
            </p:cNvSpPr>
            <p:nvPr/>
          </p:nvSpPr>
          <p:spPr bwMode="gray">
            <a:xfrm>
              <a:off x="4159845" y="1444626"/>
              <a:ext cx="1826568" cy="1350339"/>
            </a:xfrm>
            <a:prstGeom prst="rect">
              <a:avLst/>
            </a:prstGeom>
            <a:solidFill>
              <a:schemeClr val="bg2"/>
            </a:solidFill>
            <a:ln w="9525">
              <a:noFill/>
              <a:miter lim="800000"/>
              <a:headEnd/>
              <a:tailEnd/>
            </a:ln>
          </p:spPr>
          <p:txBody>
            <a:bodyPr lIns="63500" tIns="0" rIns="64800" bIns="0"/>
            <a:lstStyle/>
            <a:p>
              <a:pPr lvl="0" fontAlgn="base">
                <a:spcBef>
                  <a:spcPct val="0"/>
                </a:spcBef>
                <a:spcAft>
                  <a:spcPct val="0"/>
                </a:spcAft>
              </a:pPr>
              <a:r>
                <a:rPr lang="en-GB" sz="1400" dirty="0">
                  <a:cs typeface="Arial" charset="0"/>
                </a:rPr>
                <a:t>Text </a:t>
              </a:r>
            </a:p>
            <a:p>
              <a:pPr lvl="0" fontAlgn="base">
                <a:spcBef>
                  <a:spcPct val="0"/>
                </a:spcBef>
                <a:spcAft>
                  <a:spcPct val="0"/>
                </a:spcAft>
              </a:pPr>
              <a:r>
                <a:rPr lang="en-GB" sz="1400" dirty="0">
                  <a:cs typeface="Arial" charset="0"/>
                </a:rPr>
                <a:t>Text</a:t>
              </a:r>
            </a:p>
          </p:txBody>
        </p:sp>
        <p:sp>
          <p:nvSpPr>
            <p:cNvPr id="165905" name="Rectangle 20"/>
            <p:cNvSpPr>
              <a:spLocks noChangeArrowheads="1"/>
            </p:cNvSpPr>
            <p:nvPr/>
          </p:nvSpPr>
          <p:spPr bwMode="gray">
            <a:xfrm>
              <a:off x="4159845" y="2932109"/>
              <a:ext cx="1826568" cy="1348581"/>
            </a:xfrm>
            <a:prstGeom prst="rect">
              <a:avLst/>
            </a:prstGeom>
            <a:solidFill>
              <a:schemeClr val="bg2"/>
            </a:solidFill>
            <a:ln w="9525">
              <a:noFill/>
              <a:miter lim="800000"/>
              <a:headEnd/>
              <a:tailEnd/>
            </a:ln>
            <a:effectLst/>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165906" name="Rectangle 21"/>
            <p:cNvSpPr>
              <a:spLocks noChangeArrowheads="1"/>
            </p:cNvSpPr>
            <p:nvPr/>
          </p:nvSpPr>
          <p:spPr bwMode="gray">
            <a:xfrm>
              <a:off x="4159845" y="4383489"/>
              <a:ext cx="1826568" cy="1350339"/>
            </a:xfrm>
            <a:prstGeom prst="rect">
              <a:avLst/>
            </a:prstGeom>
            <a:solidFill>
              <a:schemeClr val="bg2"/>
            </a:solidFill>
            <a:ln w="9525">
              <a:noFill/>
              <a:miter lim="800000"/>
              <a:headEnd/>
              <a:tailEnd/>
            </a:ln>
            <a:effectLst/>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a:p>
              <a:pPr lvl="0" fontAlgn="base">
                <a:spcBef>
                  <a:spcPct val="0"/>
                </a:spcBef>
                <a:spcAft>
                  <a:spcPct val="0"/>
                </a:spcAft>
              </a:pPr>
              <a:endParaRPr lang="en-GB" sz="1400" dirty="0">
                <a:cs typeface="Arial" charset="0"/>
              </a:endParaRPr>
            </a:p>
          </p:txBody>
        </p:sp>
        <p:sp>
          <p:nvSpPr>
            <p:cNvPr id="165907" name="Rectangle 22"/>
            <p:cNvSpPr>
              <a:spLocks noChangeArrowheads="1"/>
            </p:cNvSpPr>
            <p:nvPr/>
          </p:nvSpPr>
          <p:spPr bwMode="gray">
            <a:xfrm>
              <a:off x="6118587" y="4383489"/>
              <a:ext cx="1953966" cy="631213"/>
            </a:xfrm>
            <a:prstGeom prst="rect">
              <a:avLst/>
            </a:prstGeom>
            <a:solidFill>
              <a:schemeClr val="bg2"/>
            </a:solidFill>
            <a:ln w="9525">
              <a:noFill/>
              <a:miter lim="800000"/>
              <a:headEnd/>
              <a:tailEnd/>
            </a:ln>
            <a:effectLst/>
          </p:spPr>
          <p:txBody>
            <a:bodyPr lIns="63500" tIns="0" rIns="64800" bIns="0"/>
            <a:lstStyle/>
            <a:p>
              <a:pPr lvl="0" fontAlgn="base">
                <a:spcBef>
                  <a:spcPct val="0"/>
                </a:spcBef>
                <a:spcAft>
                  <a:spcPct val="0"/>
                </a:spcAft>
              </a:pPr>
              <a:r>
                <a:rPr lang="en-GB" sz="1400" dirty="0">
                  <a:cs typeface="Arial" charset="0"/>
                </a:rPr>
                <a:t>Text </a:t>
              </a:r>
            </a:p>
            <a:p>
              <a:pPr lvl="0" fontAlgn="base">
                <a:spcBef>
                  <a:spcPct val="0"/>
                </a:spcBef>
                <a:spcAft>
                  <a:spcPct val="0"/>
                </a:spcAft>
              </a:pPr>
              <a:r>
                <a:rPr lang="en-GB" sz="1400" dirty="0">
                  <a:cs typeface="Arial" charset="0"/>
                </a:rPr>
                <a:t>Text</a:t>
              </a:r>
            </a:p>
          </p:txBody>
        </p:sp>
        <p:sp>
          <p:nvSpPr>
            <p:cNvPr id="165908" name="Rectangle 23"/>
            <p:cNvSpPr>
              <a:spLocks noChangeArrowheads="1"/>
            </p:cNvSpPr>
            <p:nvPr/>
          </p:nvSpPr>
          <p:spPr bwMode="gray">
            <a:xfrm>
              <a:off x="6118587" y="5102613"/>
              <a:ext cx="1953966" cy="631215"/>
            </a:xfrm>
            <a:prstGeom prst="rect">
              <a:avLst/>
            </a:prstGeom>
            <a:solidFill>
              <a:schemeClr val="bg2"/>
            </a:solidFill>
            <a:ln w="9525">
              <a:noFill/>
              <a:miter lim="800000"/>
              <a:headEnd/>
              <a:tailEnd/>
            </a:ln>
            <a:effectLst/>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165909" name="Rectangle 24"/>
            <p:cNvSpPr>
              <a:spLocks noChangeArrowheads="1"/>
            </p:cNvSpPr>
            <p:nvPr/>
          </p:nvSpPr>
          <p:spPr bwMode="gray">
            <a:xfrm>
              <a:off x="6118587" y="2932110"/>
              <a:ext cx="1953966" cy="629455"/>
            </a:xfrm>
            <a:prstGeom prst="rect">
              <a:avLst/>
            </a:prstGeom>
            <a:solidFill>
              <a:schemeClr val="bg2"/>
            </a:solidFill>
            <a:ln w="9525">
              <a:noFill/>
              <a:miter lim="800000"/>
              <a:headEnd/>
              <a:tailEnd/>
            </a:ln>
            <a:effectLst/>
          </p:spPr>
          <p:txBody>
            <a:bodyPr lIns="63500" tIns="0" rIns="64800" bIns="0"/>
            <a:lstStyle/>
            <a:p>
              <a:pPr lvl="0" fontAlgn="base">
                <a:spcBef>
                  <a:spcPct val="0"/>
                </a:spcBef>
                <a:spcAft>
                  <a:spcPct val="0"/>
                </a:spcAft>
              </a:pPr>
              <a:r>
                <a:rPr lang="en-GB" sz="1400" dirty="0">
                  <a:cs typeface="Arial" charset="0"/>
                </a:rPr>
                <a:t>Text </a:t>
              </a:r>
            </a:p>
            <a:p>
              <a:pPr lvl="0" fontAlgn="base">
                <a:spcBef>
                  <a:spcPct val="0"/>
                </a:spcBef>
                <a:spcAft>
                  <a:spcPct val="0"/>
                </a:spcAft>
              </a:pPr>
              <a:r>
                <a:rPr lang="en-GB" sz="1400" dirty="0">
                  <a:cs typeface="Arial" charset="0"/>
                </a:rPr>
                <a:t>Text</a:t>
              </a:r>
            </a:p>
          </p:txBody>
        </p:sp>
        <p:sp>
          <p:nvSpPr>
            <p:cNvPr id="165910" name="Rectangle 25"/>
            <p:cNvSpPr>
              <a:spLocks noChangeArrowheads="1"/>
            </p:cNvSpPr>
            <p:nvPr/>
          </p:nvSpPr>
          <p:spPr bwMode="gray">
            <a:xfrm>
              <a:off x="6118587" y="3651236"/>
              <a:ext cx="1953966" cy="629455"/>
            </a:xfrm>
            <a:prstGeom prst="rect">
              <a:avLst/>
            </a:prstGeom>
            <a:solidFill>
              <a:schemeClr val="bg2"/>
            </a:solidFill>
            <a:ln w="9525">
              <a:noFill/>
              <a:miter lim="800000"/>
              <a:headEnd/>
              <a:tailEnd/>
            </a:ln>
            <a:effectLst/>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165911" name="Rectangle 26"/>
            <p:cNvSpPr>
              <a:spLocks noChangeArrowheads="1"/>
            </p:cNvSpPr>
            <p:nvPr/>
          </p:nvSpPr>
          <p:spPr bwMode="gray">
            <a:xfrm>
              <a:off x="6118587" y="1444626"/>
              <a:ext cx="1953966" cy="631215"/>
            </a:xfrm>
            <a:prstGeom prst="rect">
              <a:avLst/>
            </a:prstGeom>
            <a:solidFill>
              <a:schemeClr val="bg2"/>
            </a:solidFill>
            <a:ln w="9525">
              <a:noFill/>
              <a:miter lim="800000"/>
              <a:headEnd/>
              <a:tailEnd/>
            </a:ln>
            <a:effectLst/>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165912" name="Rectangle 27"/>
            <p:cNvSpPr>
              <a:spLocks noChangeArrowheads="1"/>
            </p:cNvSpPr>
            <p:nvPr/>
          </p:nvSpPr>
          <p:spPr bwMode="gray">
            <a:xfrm>
              <a:off x="6118587" y="2161994"/>
              <a:ext cx="1953966" cy="631215"/>
            </a:xfrm>
            <a:prstGeom prst="rect">
              <a:avLst/>
            </a:prstGeom>
            <a:solidFill>
              <a:schemeClr val="bg2"/>
            </a:solidFill>
            <a:ln w="9525">
              <a:noFill/>
              <a:miter lim="800000"/>
              <a:headEnd/>
              <a:tailEnd/>
            </a:ln>
            <a:effectLst/>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29724" name="Rectangle 28"/>
            <p:cNvSpPr>
              <a:spLocks noChangeArrowheads="1"/>
            </p:cNvSpPr>
            <p:nvPr/>
          </p:nvSpPr>
          <p:spPr bwMode="gray">
            <a:xfrm>
              <a:off x="8301284" y="1444626"/>
              <a:ext cx="1953966" cy="631215"/>
            </a:xfrm>
            <a:prstGeom prst="rect">
              <a:avLst/>
            </a:prstGeom>
            <a:solidFill>
              <a:schemeClr val="bg2"/>
            </a:solidFill>
            <a:ln w="9525">
              <a:noFill/>
              <a:miter lim="800000"/>
              <a:headEnd/>
              <a:tailEnd/>
            </a:ln>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29725" name="Rectangle 29"/>
            <p:cNvSpPr>
              <a:spLocks noChangeArrowheads="1"/>
            </p:cNvSpPr>
            <p:nvPr/>
          </p:nvSpPr>
          <p:spPr bwMode="gray">
            <a:xfrm>
              <a:off x="8301284" y="2161994"/>
              <a:ext cx="1953966" cy="631215"/>
            </a:xfrm>
            <a:prstGeom prst="rect">
              <a:avLst/>
            </a:prstGeom>
            <a:solidFill>
              <a:schemeClr val="bg2"/>
            </a:solidFill>
            <a:ln w="9525">
              <a:noFill/>
              <a:miter lim="800000"/>
              <a:headEnd/>
              <a:tailEnd/>
            </a:ln>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29726" name="Rectangle 30"/>
            <p:cNvSpPr>
              <a:spLocks noChangeArrowheads="1"/>
            </p:cNvSpPr>
            <p:nvPr/>
          </p:nvSpPr>
          <p:spPr bwMode="gray">
            <a:xfrm>
              <a:off x="8301284" y="2932110"/>
              <a:ext cx="1953966" cy="629455"/>
            </a:xfrm>
            <a:prstGeom prst="rect">
              <a:avLst/>
            </a:prstGeom>
            <a:solidFill>
              <a:schemeClr val="bg2"/>
            </a:solidFill>
            <a:ln w="9525">
              <a:noFill/>
              <a:miter lim="800000"/>
              <a:headEnd/>
              <a:tailEnd/>
            </a:ln>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29727" name="Rectangle 31"/>
            <p:cNvSpPr>
              <a:spLocks noChangeArrowheads="1"/>
            </p:cNvSpPr>
            <p:nvPr/>
          </p:nvSpPr>
          <p:spPr bwMode="gray">
            <a:xfrm>
              <a:off x="8301284" y="3663543"/>
              <a:ext cx="1953966" cy="629455"/>
            </a:xfrm>
            <a:prstGeom prst="rect">
              <a:avLst/>
            </a:prstGeom>
            <a:solidFill>
              <a:schemeClr val="bg2"/>
            </a:solidFill>
            <a:ln w="9525">
              <a:noFill/>
              <a:miter lim="800000"/>
              <a:headEnd/>
              <a:tailEnd/>
            </a:ln>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29728" name="Rectangle 32"/>
            <p:cNvSpPr>
              <a:spLocks noChangeArrowheads="1"/>
            </p:cNvSpPr>
            <p:nvPr/>
          </p:nvSpPr>
          <p:spPr bwMode="gray">
            <a:xfrm>
              <a:off x="8301284" y="4383489"/>
              <a:ext cx="1953966" cy="631213"/>
            </a:xfrm>
            <a:prstGeom prst="rect">
              <a:avLst/>
            </a:prstGeom>
            <a:solidFill>
              <a:schemeClr val="bg2"/>
            </a:solidFill>
            <a:ln w="9525">
              <a:noFill/>
              <a:miter lim="800000"/>
              <a:headEnd/>
              <a:tailEnd/>
            </a:ln>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p:txBody>
        </p:sp>
        <p:sp>
          <p:nvSpPr>
            <p:cNvPr id="29729" name="Rectangle 33"/>
            <p:cNvSpPr>
              <a:spLocks noChangeArrowheads="1"/>
            </p:cNvSpPr>
            <p:nvPr/>
          </p:nvSpPr>
          <p:spPr bwMode="gray">
            <a:xfrm>
              <a:off x="8301284" y="5102613"/>
              <a:ext cx="1953966" cy="631215"/>
            </a:xfrm>
            <a:prstGeom prst="rect">
              <a:avLst/>
            </a:prstGeom>
            <a:solidFill>
              <a:schemeClr val="bg2"/>
            </a:solidFill>
            <a:ln w="9525">
              <a:noFill/>
              <a:miter lim="800000"/>
              <a:headEnd/>
              <a:tailEnd/>
            </a:ln>
          </p:spPr>
          <p:txBody>
            <a:bodyPr lIns="63500" tIns="0" rIns="64800" bIns="0"/>
            <a:lstStyle/>
            <a:p>
              <a:pPr lvl="0" fontAlgn="base">
                <a:spcBef>
                  <a:spcPct val="0"/>
                </a:spcBef>
                <a:spcAft>
                  <a:spcPct val="0"/>
                </a:spcAft>
              </a:pPr>
              <a:r>
                <a:rPr lang="en-GB" sz="1400" dirty="0">
                  <a:cs typeface="Arial" charset="0"/>
                </a:rPr>
                <a:t>Text</a:t>
              </a:r>
            </a:p>
            <a:p>
              <a:pPr lvl="0" fontAlgn="base">
                <a:spcBef>
                  <a:spcPct val="0"/>
                </a:spcBef>
                <a:spcAft>
                  <a:spcPct val="0"/>
                </a:spcAft>
              </a:pPr>
              <a:r>
                <a:rPr lang="en-GB" sz="1400" dirty="0">
                  <a:cs typeface="Arial" charset="0"/>
                </a:rPr>
                <a:t>Text</a:t>
              </a:r>
            </a:p>
            <a:p>
              <a:pPr lvl="0" fontAlgn="base">
                <a:spcBef>
                  <a:spcPct val="0"/>
                </a:spcBef>
                <a:spcAft>
                  <a:spcPct val="0"/>
                </a:spcAft>
              </a:pPr>
              <a:endParaRPr lang="en-GB" sz="1400" dirty="0">
                <a:cs typeface="Arial" charset="0"/>
              </a:endParaRPr>
            </a:p>
          </p:txBody>
        </p:sp>
        <p:sp>
          <p:nvSpPr>
            <p:cNvPr id="29730" name="Rectangle 34"/>
            <p:cNvSpPr>
              <a:spLocks noChangeArrowheads="1"/>
            </p:cNvSpPr>
            <p:nvPr/>
          </p:nvSpPr>
          <p:spPr bwMode="gray">
            <a:xfrm>
              <a:off x="3113589" y="1444626"/>
              <a:ext cx="893378" cy="1350339"/>
            </a:xfrm>
            <a:prstGeom prst="rect">
              <a:avLst/>
            </a:prstGeom>
            <a:solidFill>
              <a:schemeClr val="tx2"/>
            </a:solidFill>
            <a:ln w="12700">
              <a:solidFill>
                <a:schemeClr val="tx2"/>
              </a:solidFill>
              <a:miter lim="800000"/>
              <a:headEnd/>
              <a:tailEnd/>
            </a:ln>
          </p:spPr>
          <p:txBody>
            <a:bodyPr lIns="63500" tIns="0" rIns="64800" bIns="0"/>
            <a:lstStyle/>
            <a:p>
              <a:pPr lvl="0" fontAlgn="base">
                <a:spcBef>
                  <a:spcPct val="0"/>
                </a:spcBef>
                <a:spcAft>
                  <a:spcPct val="0"/>
                </a:spcAft>
              </a:pPr>
              <a:r>
                <a:rPr lang="en-GB" sz="1400" dirty="0">
                  <a:solidFill>
                    <a:schemeClr val="bg1"/>
                  </a:solidFill>
                  <a:cs typeface="Arial" charset="0"/>
                </a:rPr>
                <a:t>Place portrait here</a:t>
              </a:r>
            </a:p>
          </p:txBody>
        </p:sp>
        <p:sp>
          <p:nvSpPr>
            <p:cNvPr id="29731" name="Rectangle 35"/>
            <p:cNvSpPr>
              <a:spLocks noChangeArrowheads="1"/>
            </p:cNvSpPr>
            <p:nvPr/>
          </p:nvSpPr>
          <p:spPr bwMode="gray">
            <a:xfrm>
              <a:off x="3113589" y="2944417"/>
              <a:ext cx="893378" cy="1348580"/>
            </a:xfrm>
            <a:prstGeom prst="rect">
              <a:avLst/>
            </a:prstGeom>
            <a:solidFill>
              <a:schemeClr val="tx2"/>
            </a:solidFill>
            <a:ln w="12700">
              <a:solidFill>
                <a:schemeClr val="tx2"/>
              </a:solidFill>
              <a:miter lim="800000"/>
              <a:headEnd/>
              <a:tailEnd/>
            </a:ln>
          </p:spPr>
          <p:txBody>
            <a:bodyPr lIns="63500" tIns="0" rIns="64800" bIns="0"/>
            <a:lstStyle/>
            <a:p>
              <a:pPr lvl="0" fontAlgn="base">
                <a:spcBef>
                  <a:spcPct val="0"/>
                </a:spcBef>
                <a:spcAft>
                  <a:spcPct val="0"/>
                </a:spcAft>
              </a:pPr>
              <a:r>
                <a:rPr lang="en-GB" sz="1400" dirty="0">
                  <a:solidFill>
                    <a:schemeClr val="bg1"/>
                  </a:solidFill>
                  <a:cs typeface="Arial" charset="0"/>
                </a:rPr>
                <a:t>Place portrait here</a:t>
              </a:r>
            </a:p>
          </p:txBody>
        </p:sp>
        <p:sp>
          <p:nvSpPr>
            <p:cNvPr id="29732" name="Rectangle 36"/>
            <p:cNvSpPr>
              <a:spLocks noChangeArrowheads="1"/>
            </p:cNvSpPr>
            <p:nvPr/>
          </p:nvSpPr>
          <p:spPr bwMode="gray">
            <a:xfrm>
              <a:off x="3113589" y="4383489"/>
              <a:ext cx="893378" cy="1348581"/>
            </a:xfrm>
            <a:prstGeom prst="rect">
              <a:avLst/>
            </a:prstGeom>
            <a:solidFill>
              <a:schemeClr val="tx2"/>
            </a:solidFill>
            <a:ln w="12700">
              <a:solidFill>
                <a:schemeClr val="tx2"/>
              </a:solidFill>
              <a:miter lim="800000"/>
              <a:headEnd/>
              <a:tailEnd/>
            </a:ln>
          </p:spPr>
          <p:txBody>
            <a:bodyPr lIns="63500" tIns="0" rIns="64800" bIns="0"/>
            <a:lstStyle/>
            <a:p>
              <a:pPr lvl="0" fontAlgn="base">
                <a:spcBef>
                  <a:spcPct val="0"/>
                </a:spcBef>
                <a:spcAft>
                  <a:spcPct val="0"/>
                </a:spcAft>
              </a:pPr>
              <a:r>
                <a:rPr lang="en-GB" sz="1400" dirty="0">
                  <a:solidFill>
                    <a:schemeClr val="bg1"/>
                  </a:solidFill>
                  <a:cs typeface="Arial" charset="0"/>
                </a:rPr>
                <a:t>Place portrait here</a:t>
              </a:r>
            </a:p>
          </p:txBody>
        </p:sp>
      </p:grpSp>
    </p:spTree>
    <p:extLst>
      <p:ext uri="{BB962C8B-B14F-4D97-AF65-F5344CB8AC3E}">
        <p14:creationId xmlns:p14="http://schemas.microsoft.com/office/powerpoint/2010/main" val="634963370"/>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pPr lvl="0"/>
            <a:r>
              <a:rPr lang="en-GB"/>
              <a:t>Sample flow chart</a:t>
            </a:r>
          </a:p>
        </p:txBody>
      </p:sp>
      <p:grpSp>
        <p:nvGrpSpPr>
          <p:cNvPr id="2" name="Group 1"/>
          <p:cNvGrpSpPr/>
          <p:nvPr/>
        </p:nvGrpSpPr>
        <p:grpSpPr>
          <a:xfrm>
            <a:off x="508000" y="1528763"/>
            <a:ext cx="11171238" cy="4800029"/>
            <a:chOff x="1954829" y="1444626"/>
            <a:chExt cx="8318591" cy="4267375"/>
          </a:xfrm>
        </p:grpSpPr>
        <p:sp>
          <p:nvSpPr>
            <p:cNvPr id="45059" name="Text Box 3"/>
            <p:cNvSpPr txBox="1">
              <a:spLocks noChangeArrowheads="1"/>
            </p:cNvSpPr>
            <p:nvPr/>
          </p:nvSpPr>
          <p:spPr bwMode="gray">
            <a:xfrm>
              <a:off x="1964532" y="5493103"/>
              <a:ext cx="7743825" cy="218898"/>
            </a:xfrm>
            <a:prstGeom prst="rect">
              <a:avLst/>
            </a:prstGeom>
            <a:noFill/>
            <a:ln w="9525">
              <a:noFill/>
              <a:miter lim="800000"/>
              <a:headEnd/>
              <a:tailEnd/>
            </a:ln>
          </p:spPr>
          <p:txBody>
            <a:bodyPr lIns="0" tIns="0" rIns="0" bIns="0">
              <a:spAutoFit/>
            </a:bodyPr>
            <a:lstStyle/>
            <a:p>
              <a:pPr lvl="0">
                <a:lnSpc>
                  <a:spcPct val="100000"/>
                </a:lnSpc>
                <a:spcBef>
                  <a:spcPct val="50000"/>
                </a:spcBef>
                <a:spcAft>
                  <a:spcPct val="0"/>
                </a:spcAft>
                <a:buClrTx/>
                <a:buNone/>
              </a:pPr>
              <a:r>
                <a:rPr lang="en-GB" sz="1600" dirty="0">
                  <a:latin typeface="Futura Medium" panose="00000400000000000000" pitchFamily="2" charset="0"/>
                </a:rPr>
                <a:t>Short description here.</a:t>
              </a:r>
            </a:p>
          </p:txBody>
        </p:sp>
        <p:sp>
          <p:nvSpPr>
            <p:cNvPr id="45060" name="Text Box 4"/>
            <p:cNvSpPr txBox="1">
              <a:spLocks noChangeArrowheads="1"/>
            </p:cNvSpPr>
            <p:nvPr/>
          </p:nvSpPr>
          <p:spPr bwMode="gray">
            <a:xfrm>
              <a:off x="1954830" y="1444626"/>
              <a:ext cx="1951126" cy="808037"/>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1" name="Text Box 5"/>
            <p:cNvSpPr txBox="1">
              <a:spLocks noChangeArrowheads="1"/>
            </p:cNvSpPr>
            <p:nvPr/>
          </p:nvSpPr>
          <p:spPr bwMode="gray">
            <a:xfrm>
              <a:off x="1954830" y="4489450"/>
              <a:ext cx="1951126" cy="809625"/>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2" name="Text Box 6"/>
            <p:cNvSpPr txBox="1">
              <a:spLocks noChangeArrowheads="1"/>
            </p:cNvSpPr>
            <p:nvPr/>
          </p:nvSpPr>
          <p:spPr bwMode="gray">
            <a:xfrm>
              <a:off x="1954829" y="3475037"/>
              <a:ext cx="1934907" cy="808037"/>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3" name="Text Box 7"/>
            <p:cNvSpPr txBox="1">
              <a:spLocks noChangeArrowheads="1"/>
            </p:cNvSpPr>
            <p:nvPr/>
          </p:nvSpPr>
          <p:spPr bwMode="gray">
            <a:xfrm>
              <a:off x="1954830" y="2468563"/>
              <a:ext cx="1951126" cy="808037"/>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4" name="Text Box 8"/>
            <p:cNvSpPr txBox="1">
              <a:spLocks noChangeArrowheads="1"/>
            </p:cNvSpPr>
            <p:nvPr/>
          </p:nvSpPr>
          <p:spPr bwMode="gray">
            <a:xfrm>
              <a:off x="8340462" y="1444626"/>
              <a:ext cx="1932958" cy="808037"/>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5" name="Text Box 9"/>
            <p:cNvSpPr txBox="1">
              <a:spLocks noChangeArrowheads="1"/>
            </p:cNvSpPr>
            <p:nvPr/>
          </p:nvSpPr>
          <p:spPr bwMode="gray">
            <a:xfrm>
              <a:off x="8322292" y="4489450"/>
              <a:ext cx="1951128" cy="809625"/>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6" name="Text Box 10"/>
            <p:cNvSpPr txBox="1">
              <a:spLocks noChangeArrowheads="1"/>
            </p:cNvSpPr>
            <p:nvPr/>
          </p:nvSpPr>
          <p:spPr bwMode="gray">
            <a:xfrm>
              <a:off x="8336889" y="3475037"/>
              <a:ext cx="1936531" cy="808037"/>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7" name="Text Box 11"/>
            <p:cNvSpPr txBox="1">
              <a:spLocks noChangeArrowheads="1"/>
            </p:cNvSpPr>
            <p:nvPr/>
          </p:nvSpPr>
          <p:spPr bwMode="gray">
            <a:xfrm>
              <a:off x="8340462" y="2468563"/>
              <a:ext cx="1932958" cy="808037"/>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8" name="Text Box 12"/>
            <p:cNvSpPr txBox="1">
              <a:spLocks noChangeArrowheads="1"/>
            </p:cNvSpPr>
            <p:nvPr/>
          </p:nvSpPr>
          <p:spPr bwMode="gray">
            <a:xfrm>
              <a:off x="5129830" y="1444626"/>
              <a:ext cx="1951126" cy="808037"/>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69" name="Text Box 13"/>
            <p:cNvSpPr txBox="1">
              <a:spLocks noChangeArrowheads="1"/>
            </p:cNvSpPr>
            <p:nvPr/>
          </p:nvSpPr>
          <p:spPr bwMode="gray">
            <a:xfrm>
              <a:off x="5129830" y="4506912"/>
              <a:ext cx="1951126" cy="808037"/>
            </a:xfrm>
            <a:prstGeom prst="rect">
              <a:avLst/>
            </a:prstGeom>
            <a:solidFill>
              <a:schemeClr val="accent1"/>
            </a:solidFill>
            <a:ln w="12700">
              <a:noFill/>
              <a:miter lim="800000"/>
              <a:headEnd/>
              <a:tailEnd/>
            </a:ln>
          </p:spPr>
          <p:txBody>
            <a:bodyPr/>
            <a:lstStyle/>
            <a:p>
              <a:pPr lvl="0">
                <a:lnSpc>
                  <a:spcPct val="100000"/>
                </a:lnSpc>
                <a:spcBef>
                  <a:spcPct val="50000"/>
                </a:spcBef>
                <a:spcAft>
                  <a:spcPct val="0"/>
                </a:spcAft>
                <a:buClrTx/>
                <a:buNone/>
              </a:pPr>
              <a:r>
                <a:rPr lang="en-GB" sz="1600"/>
                <a:t>Text box</a:t>
              </a:r>
            </a:p>
          </p:txBody>
        </p:sp>
        <p:sp>
          <p:nvSpPr>
            <p:cNvPr id="45070" name="AutoShape 14"/>
            <p:cNvSpPr>
              <a:spLocks noChangeArrowheads="1"/>
            </p:cNvSpPr>
            <p:nvPr/>
          </p:nvSpPr>
          <p:spPr bwMode="gray">
            <a:xfrm rot="5400000">
              <a:off x="4340224" y="1750218"/>
              <a:ext cx="287338" cy="146050"/>
            </a:xfrm>
            <a:prstGeom prst="triangle">
              <a:avLst>
                <a:gd name="adj" fmla="val 50000"/>
              </a:avLst>
            </a:prstGeom>
            <a:solidFill>
              <a:schemeClr val="tx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dirty="0">
                <a:solidFill>
                  <a:schemeClr val="bg1"/>
                </a:solidFill>
                <a:latin typeface="Futura Medium" panose="00000400000000000000" pitchFamily="2" charset="0"/>
              </a:endParaRPr>
            </a:p>
          </p:txBody>
        </p:sp>
        <p:sp>
          <p:nvSpPr>
            <p:cNvPr id="45071" name="AutoShape 15"/>
            <p:cNvSpPr>
              <a:spLocks noChangeArrowheads="1"/>
            </p:cNvSpPr>
            <p:nvPr/>
          </p:nvSpPr>
          <p:spPr bwMode="gray">
            <a:xfrm rot="5400000">
              <a:off x="7547768" y="1751011"/>
              <a:ext cx="287338" cy="144462"/>
            </a:xfrm>
            <a:prstGeom prst="triangle">
              <a:avLst>
                <a:gd name="adj" fmla="val 50000"/>
              </a:avLst>
            </a:prstGeom>
            <a:solidFill>
              <a:schemeClr val="tx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dirty="0">
                <a:solidFill>
                  <a:schemeClr val="bg1"/>
                </a:solidFill>
                <a:latin typeface="Futura Medium" panose="00000400000000000000" pitchFamily="2" charset="0"/>
              </a:endParaRPr>
            </a:p>
          </p:txBody>
        </p:sp>
        <p:sp>
          <p:nvSpPr>
            <p:cNvPr id="45072" name="AutoShape 16"/>
            <p:cNvSpPr>
              <a:spLocks noChangeArrowheads="1"/>
            </p:cNvSpPr>
            <p:nvPr/>
          </p:nvSpPr>
          <p:spPr bwMode="gray">
            <a:xfrm rot="16200000" flipH="1">
              <a:off x="4356099" y="4841081"/>
              <a:ext cx="285750" cy="144462"/>
            </a:xfrm>
            <a:prstGeom prst="triangle">
              <a:avLst>
                <a:gd name="adj" fmla="val 50000"/>
              </a:avLst>
            </a:prstGeom>
            <a:solidFill>
              <a:schemeClr val="tx1"/>
            </a:solidFill>
            <a:ln w="9525">
              <a:noFill/>
              <a:miter lim="800000"/>
              <a:headEnd/>
              <a:tailEnd/>
            </a:ln>
          </p:spPr>
          <p:txBody>
            <a:bodyPr vert="eaVert" wrap="none" lIns="0" tIns="0" rIns="0" bIns="0" anchor="ctr"/>
            <a:lstStyle/>
            <a:p>
              <a:pPr algn="ctr">
                <a:lnSpc>
                  <a:spcPct val="100000"/>
                </a:lnSpc>
                <a:spcBef>
                  <a:spcPct val="0"/>
                </a:spcBef>
                <a:spcAft>
                  <a:spcPct val="0"/>
                </a:spcAft>
                <a:buClrTx/>
                <a:buFontTx/>
                <a:buNone/>
              </a:pPr>
              <a:endParaRPr lang="en-US" b="1" dirty="0">
                <a:solidFill>
                  <a:schemeClr val="bg1"/>
                </a:solidFill>
                <a:latin typeface="Futura Medium" panose="00000400000000000000" pitchFamily="2" charset="0"/>
              </a:endParaRPr>
            </a:p>
          </p:txBody>
        </p:sp>
        <p:sp>
          <p:nvSpPr>
            <p:cNvPr id="45073" name="AutoShape 17"/>
            <p:cNvSpPr>
              <a:spLocks noChangeArrowheads="1"/>
            </p:cNvSpPr>
            <p:nvPr/>
          </p:nvSpPr>
          <p:spPr bwMode="gray">
            <a:xfrm rot="16200000" flipH="1">
              <a:off x="7562850" y="4841081"/>
              <a:ext cx="285750" cy="144462"/>
            </a:xfrm>
            <a:prstGeom prst="triangle">
              <a:avLst>
                <a:gd name="adj" fmla="val 50000"/>
              </a:avLst>
            </a:prstGeom>
            <a:solidFill>
              <a:schemeClr val="tx1"/>
            </a:solidFill>
            <a:ln w="9525">
              <a:noFill/>
              <a:miter lim="800000"/>
              <a:headEnd/>
              <a:tailEnd/>
            </a:ln>
          </p:spPr>
          <p:txBody>
            <a:bodyPr vert="eaVert" wrap="none" lIns="0" tIns="0" rIns="0" bIns="0" anchor="ctr"/>
            <a:lstStyle/>
            <a:p>
              <a:pPr algn="ctr">
                <a:lnSpc>
                  <a:spcPct val="100000"/>
                </a:lnSpc>
                <a:spcBef>
                  <a:spcPct val="0"/>
                </a:spcBef>
                <a:spcAft>
                  <a:spcPct val="0"/>
                </a:spcAft>
                <a:buClrTx/>
                <a:buFontTx/>
                <a:buNone/>
              </a:pPr>
              <a:endParaRPr lang="en-US" b="1" dirty="0">
                <a:solidFill>
                  <a:schemeClr val="bg1"/>
                </a:solidFill>
                <a:latin typeface="Futura Medium" panose="00000400000000000000" pitchFamily="2" charset="0"/>
              </a:endParaRPr>
            </a:p>
          </p:txBody>
        </p:sp>
      </p:grpSp>
    </p:spTree>
    <p:extLst>
      <p:ext uri="{BB962C8B-B14F-4D97-AF65-F5344CB8AC3E}">
        <p14:creationId xmlns:p14="http://schemas.microsoft.com/office/powerpoint/2010/main" val="2854301193"/>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pPr lvl="0"/>
            <a:r>
              <a:rPr lang="en-GB"/>
              <a:t>Sample flow chart</a:t>
            </a:r>
          </a:p>
        </p:txBody>
      </p:sp>
      <p:grpSp>
        <p:nvGrpSpPr>
          <p:cNvPr id="2" name="Group 1"/>
          <p:cNvGrpSpPr/>
          <p:nvPr/>
        </p:nvGrpSpPr>
        <p:grpSpPr>
          <a:xfrm>
            <a:off x="508000" y="1528763"/>
            <a:ext cx="11171238" cy="4800029"/>
            <a:chOff x="1954829" y="1444626"/>
            <a:chExt cx="8318591" cy="4267375"/>
          </a:xfrm>
        </p:grpSpPr>
        <p:sp>
          <p:nvSpPr>
            <p:cNvPr id="45059" name="Text Box 3"/>
            <p:cNvSpPr txBox="1">
              <a:spLocks noChangeArrowheads="1"/>
            </p:cNvSpPr>
            <p:nvPr/>
          </p:nvSpPr>
          <p:spPr bwMode="gray">
            <a:xfrm>
              <a:off x="1964532" y="5493103"/>
              <a:ext cx="7743825" cy="218898"/>
            </a:xfrm>
            <a:prstGeom prst="rect">
              <a:avLst/>
            </a:prstGeom>
            <a:noFill/>
            <a:ln w="9525">
              <a:noFill/>
              <a:miter lim="800000"/>
              <a:headEnd/>
              <a:tailEnd/>
            </a:ln>
          </p:spPr>
          <p:txBody>
            <a:bodyPr lIns="0" tIns="0" rIns="0" bIns="0">
              <a:spAutoFit/>
            </a:bodyPr>
            <a:lstStyle/>
            <a:p>
              <a:pPr lvl="0">
                <a:lnSpc>
                  <a:spcPct val="100000"/>
                </a:lnSpc>
                <a:spcBef>
                  <a:spcPct val="50000"/>
                </a:spcBef>
                <a:spcAft>
                  <a:spcPct val="0"/>
                </a:spcAft>
                <a:buClrTx/>
                <a:buNone/>
              </a:pPr>
              <a:r>
                <a:rPr lang="en-GB" sz="1600" dirty="0">
                  <a:latin typeface="Futura Medium" panose="00000400000000000000" pitchFamily="2" charset="0"/>
                </a:rPr>
                <a:t>Short description here.</a:t>
              </a:r>
            </a:p>
          </p:txBody>
        </p:sp>
        <p:sp>
          <p:nvSpPr>
            <p:cNvPr id="45060" name="Text Box 4"/>
            <p:cNvSpPr txBox="1">
              <a:spLocks noChangeArrowheads="1"/>
            </p:cNvSpPr>
            <p:nvPr/>
          </p:nvSpPr>
          <p:spPr bwMode="gray">
            <a:xfrm>
              <a:off x="1954830" y="1444626"/>
              <a:ext cx="1951126" cy="808037"/>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1" name="Text Box 5"/>
            <p:cNvSpPr txBox="1">
              <a:spLocks noChangeArrowheads="1"/>
            </p:cNvSpPr>
            <p:nvPr/>
          </p:nvSpPr>
          <p:spPr bwMode="gray">
            <a:xfrm>
              <a:off x="1954830" y="4489450"/>
              <a:ext cx="1951126" cy="809625"/>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2" name="Text Box 6"/>
            <p:cNvSpPr txBox="1">
              <a:spLocks noChangeArrowheads="1"/>
            </p:cNvSpPr>
            <p:nvPr/>
          </p:nvSpPr>
          <p:spPr bwMode="gray">
            <a:xfrm>
              <a:off x="1954829" y="3475037"/>
              <a:ext cx="1934907" cy="808037"/>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3" name="Text Box 7"/>
            <p:cNvSpPr txBox="1">
              <a:spLocks noChangeArrowheads="1"/>
            </p:cNvSpPr>
            <p:nvPr/>
          </p:nvSpPr>
          <p:spPr bwMode="gray">
            <a:xfrm>
              <a:off x="1954830" y="2468563"/>
              <a:ext cx="1951126" cy="808037"/>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4" name="Text Box 8"/>
            <p:cNvSpPr txBox="1">
              <a:spLocks noChangeArrowheads="1"/>
            </p:cNvSpPr>
            <p:nvPr/>
          </p:nvSpPr>
          <p:spPr bwMode="gray">
            <a:xfrm>
              <a:off x="8340462" y="1444626"/>
              <a:ext cx="1932958" cy="808037"/>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5" name="Text Box 9"/>
            <p:cNvSpPr txBox="1">
              <a:spLocks noChangeArrowheads="1"/>
            </p:cNvSpPr>
            <p:nvPr/>
          </p:nvSpPr>
          <p:spPr bwMode="gray">
            <a:xfrm>
              <a:off x="8322292" y="4489450"/>
              <a:ext cx="1951128" cy="809625"/>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6" name="Text Box 10"/>
            <p:cNvSpPr txBox="1">
              <a:spLocks noChangeArrowheads="1"/>
            </p:cNvSpPr>
            <p:nvPr/>
          </p:nvSpPr>
          <p:spPr bwMode="gray">
            <a:xfrm>
              <a:off x="8336889" y="3475037"/>
              <a:ext cx="1936531" cy="808037"/>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7" name="Text Box 11"/>
            <p:cNvSpPr txBox="1">
              <a:spLocks noChangeArrowheads="1"/>
            </p:cNvSpPr>
            <p:nvPr/>
          </p:nvSpPr>
          <p:spPr bwMode="gray">
            <a:xfrm>
              <a:off x="8340462" y="2468563"/>
              <a:ext cx="1932958" cy="808037"/>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8" name="Text Box 12"/>
            <p:cNvSpPr txBox="1">
              <a:spLocks noChangeArrowheads="1"/>
            </p:cNvSpPr>
            <p:nvPr/>
          </p:nvSpPr>
          <p:spPr bwMode="gray">
            <a:xfrm>
              <a:off x="5129830" y="1444626"/>
              <a:ext cx="1951126" cy="808037"/>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69" name="Text Box 13"/>
            <p:cNvSpPr txBox="1">
              <a:spLocks noChangeArrowheads="1"/>
            </p:cNvSpPr>
            <p:nvPr/>
          </p:nvSpPr>
          <p:spPr bwMode="gray">
            <a:xfrm>
              <a:off x="5129830" y="4506912"/>
              <a:ext cx="1951126" cy="808037"/>
            </a:xfrm>
            <a:prstGeom prst="rect">
              <a:avLst/>
            </a:prstGeom>
            <a:solidFill>
              <a:schemeClr val="tx2"/>
            </a:solidFill>
            <a:ln w="12700">
              <a:noFill/>
              <a:miter lim="800000"/>
              <a:headEnd/>
              <a:tailEnd/>
            </a:ln>
          </p:spPr>
          <p:txBody>
            <a:bodyPr/>
            <a:lstStyle/>
            <a:p>
              <a:pPr lvl="0">
                <a:lnSpc>
                  <a:spcPct val="100000"/>
                </a:lnSpc>
                <a:spcBef>
                  <a:spcPct val="50000"/>
                </a:spcBef>
                <a:spcAft>
                  <a:spcPct val="0"/>
                </a:spcAft>
                <a:buClrTx/>
                <a:buNone/>
              </a:pPr>
              <a:r>
                <a:rPr lang="en-GB" sz="1600">
                  <a:solidFill>
                    <a:srgbClr val="FFFFFF"/>
                  </a:solidFill>
                </a:rPr>
                <a:t>Text box</a:t>
              </a:r>
            </a:p>
          </p:txBody>
        </p:sp>
        <p:sp>
          <p:nvSpPr>
            <p:cNvPr id="45070" name="AutoShape 14"/>
            <p:cNvSpPr>
              <a:spLocks noChangeArrowheads="1"/>
            </p:cNvSpPr>
            <p:nvPr/>
          </p:nvSpPr>
          <p:spPr bwMode="gray">
            <a:xfrm rot="5400000">
              <a:off x="4340224" y="1750218"/>
              <a:ext cx="287338" cy="146050"/>
            </a:xfrm>
            <a:prstGeom prst="triangle">
              <a:avLst>
                <a:gd name="adj" fmla="val 50000"/>
              </a:avLst>
            </a:prstGeom>
            <a:solidFill>
              <a:schemeClr val="tx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dirty="0">
                <a:solidFill>
                  <a:schemeClr val="bg1"/>
                </a:solidFill>
                <a:latin typeface="Futura Medium" panose="00000400000000000000" pitchFamily="2" charset="0"/>
              </a:endParaRPr>
            </a:p>
          </p:txBody>
        </p:sp>
        <p:sp>
          <p:nvSpPr>
            <p:cNvPr id="45071" name="AutoShape 15"/>
            <p:cNvSpPr>
              <a:spLocks noChangeArrowheads="1"/>
            </p:cNvSpPr>
            <p:nvPr/>
          </p:nvSpPr>
          <p:spPr bwMode="gray">
            <a:xfrm rot="5400000">
              <a:off x="7547768" y="1751011"/>
              <a:ext cx="287338" cy="144462"/>
            </a:xfrm>
            <a:prstGeom prst="triangle">
              <a:avLst>
                <a:gd name="adj" fmla="val 50000"/>
              </a:avLst>
            </a:prstGeom>
            <a:solidFill>
              <a:schemeClr val="tx1"/>
            </a:solidFill>
            <a:ln w="9525">
              <a:noFill/>
              <a:miter lim="800000"/>
              <a:headEnd/>
              <a:tailEnd/>
            </a:ln>
          </p:spPr>
          <p:txBody>
            <a:bodyPr rot="10800000" vert="eaVert" wrap="none" lIns="0" tIns="0" rIns="0" bIns="0" anchor="ctr"/>
            <a:lstStyle/>
            <a:p>
              <a:pPr algn="ctr">
                <a:lnSpc>
                  <a:spcPct val="100000"/>
                </a:lnSpc>
                <a:spcBef>
                  <a:spcPct val="0"/>
                </a:spcBef>
                <a:spcAft>
                  <a:spcPct val="0"/>
                </a:spcAft>
                <a:buClrTx/>
                <a:buFontTx/>
                <a:buNone/>
              </a:pPr>
              <a:endParaRPr lang="en-US" b="1" dirty="0">
                <a:solidFill>
                  <a:schemeClr val="bg1"/>
                </a:solidFill>
                <a:latin typeface="Futura Medium" panose="00000400000000000000" pitchFamily="2" charset="0"/>
              </a:endParaRPr>
            </a:p>
          </p:txBody>
        </p:sp>
        <p:sp>
          <p:nvSpPr>
            <p:cNvPr id="45072" name="AutoShape 16"/>
            <p:cNvSpPr>
              <a:spLocks noChangeArrowheads="1"/>
            </p:cNvSpPr>
            <p:nvPr/>
          </p:nvSpPr>
          <p:spPr bwMode="gray">
            <a:xfrm rot="16200000" flipH="1">
              <a:off x="4356099" y="4841081"/>
              <a:ext cx="285750" cy="144462"/>
            </a:xfrm>
            <a:prstGeom prst="triangle">
              <a:avLst>
                <a:gd name="adj" fmla="val 50000"/>
              </a:avLst>
            </a:prstGeom>
            <a:solidFill>
              <a:schemeClr val="tx1"/>
            </a:solidFill>
            <a:ln w="9525">
              <a:noFill/>
              <a:miter lim="800000"/>
              <a:headEnd/>
              <a:tailEnd/>
            </a:ln>
          </p:spPr>
          <p:txBody>
            <a:bodyPr vert="eaVert" wrap="none" lIns="0" tIns="0" rIns="0" bIns="0" anchor="ctr"/>
            <a:lstStyle/>
            <a:p>
              <a:pPr algn="ctr">
                <a:lnSpc>
                  <a:spcPct val="100000"/>
                </a:lnSpc>
                <a:spcBef>
                  <a:spcPct val="0"/>
                </a:spcBef>
                <a:spcAft>
                  <a:spcPct val="0"/>
                </a:spcAft>
                <a:buClrTx/>
                <a:buFontTx/>
                <a:buNone/>
              </a:pPr>
              <a:endParaRPr lang="en-US" b="1" dirty="0">
                <a:solidFill>
                  <a:schemeClr val="bg1"/>
                </a:solidFill>
                <a:latin typeface="Futura Medium" panose="00000400000000000000" pitchFamily="2" charset="0"/>
              </a:endParaRPr>
            </a:p>
          </p:txBody>
        </p:sp>
        <p:sp>
          <p:nvSpPr>
            <p:cNvPr id="45073" name="AutoShape 17"/>
            <p:cNvSpPr>
              <a:spLocks noChangeArrowheads="1"/>
            </p:cNvSpPr>
            <p:nvPr/>
          </p:nvSpPr>
          <p:spPr bwMode="gray">
            <a:xfrm rot="16200000" flipH="1">
              <a:off x="7562850" y="4841081"/>
              <a:ext cx="285750" cy="144462"/>
            </a:xfrm>
            <a:prstGeom prst="triangle">
              <a:avLst>
                <a:gd name="adj" fmla="val 50000"/>
              </a:avLst>
            </a:prstGeom>
            <a:solidFill>
              <a:schemeClr val="tx1"/>
            </a:solidFill>
            <a:ln w="9525">
              <a:noFill/>
              <a:miter lim="800000"/>
              <a:headEnd/>
              <a:tailEnd/>
            </a:ln>
          </p:spPr>
          <p:txBody>
            <a:bodyPr vert="eaVert" wrap="none" lIns="0" tIns="0" rIns="0" bIns="0" anchor="ctr"/>
            <a:lstStyle/>
            <a:p>
              <a:pPr algn="ctr">
                <a:lnSpc>
                  <a:spcPct val="100000"/>
                </a:lnSpc>
                <a:spcBef>
                  <a:spcPct val="0"/>
                </a:spcBef>
                <a:spcAft>
                  <a:spcPct val="0"/>
                </a:spcAft>
                <a:buClrTx/>
                <a:buFontTx/>
                <a:buNone/>
              </a:pPr>
              <a:endParaRPr lang="en-US" b="1" dirty="0">
                <a:solidFill>
                  <a:schemeClr val="bg1"/>
                </a:solidFill>
                <a:latin typeface="Futura Medium" panose="00000400000000000000" pitchFamily="2" charset="0"/>
              </a:endParaRPr>
            </a:p>
          </p:txBody>
        </p:sp>
      </p:grpSp>
    </p:spTree>
    <p:extLst>
      <p:ext uri="{BB962C8B-B14F-4D97-AF65-F5344CB8AC3E}">
        <p14:creationId xmlns:p14="http://schemas.microsoft.com/office/powerpoint/2010/main" val="2663510693"/>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p:txBody>
          <a:bodyPr/>
          <a:lstStyle/>
          <a:p>
            <a:pPr lvl="0"/>
            <a:r>
              <a:rPr lang="en-GB" dirty="0"/>
              <a:t>Sample organisational chart</a:t>
            </a:r>
          </a:p>
        </p:txBody>
      </p:sp>
      <p:grpSp>
        <p:nvGrpSpPr>
          <p:cNvPr id="2" name="Group 1"/>
          <p:cNvGrpSpPr/>
          <p:nvPr/>
        </p:nvGrpSpPr>
        <p:grpSpPr>
          <a:xfrm>
            <a:off x="1071916" y="1528763"/>
            <a:ext cx="9810044" cy="4830762"/>
            <a:chOff x="1838677" y="1446214"/>
            <a:chExt cx="8267349" cy="4347809"/>
          </a:xfrm>
        </p:grpSpPr>
        <p:sp>
          <p:nvSpPr>
            <p:cNvPr id="51209" name="AutoShape 10"/>
            <p:cNvSpPr>
              <a:spLocks noChangeArrowheads="1"/>
            </p:cNvSpPr>
            <p:nvPr/>
          </p:nvSpPr>
          <p:spPr bwMode="auto">
            <a:xfrm>
              <a:off x="5223758" y="1446214"/>
              <a:ext cx="1755775" cy="630237"/>
            </a:xfrm>
            <a:prstGeom prst="rect">
              <a:avLst/>
            </a:prstGeom>
            <a:solidFill>
              <a:schemeClr val="tx2"/>
            </a:solidFill>
            <a:ln w="57150">
              <a:noFill/>
              <a:miter lim="800000"/>
              <a:headEnd/>
              <a:tailEnd/>
            </a:ln>
          </p:spPr>
          <p:txBody>
            <a:bodyPr wrap="none" anchor="ctr"/>
            <a:lstStyle/>
            <a:p>
              <a:pPr algn="ctr">
                <a:spcBef>
                  <a:spcPct val="0"/>
                </a:spcBef>
                <a:spcAft>
                  <a:spcPct val="0"/>
                </a:spcAft>
              </a:pPr>
              <a:r>
                <a:rPr lang="en-GB" sz="1400" dirty="0">
                  <a:solidFill>
                    <a:schemeClr val="bg1"/>
                  </a:solidFill>
                  <a:latin typeface="+mj-lt"/>
                </a:rPr>
                <a:t>Director</a:t>
              </a:r>
            </a:p>
            <a:p>
              <a:pPr lvl="0" algn="ctr">
                <a:lnSpc>
                  <a:spcPct val="100000"/>
                </a:lnSpc>
                <a:spcBef>
                  <a:spcPct val="0"/>
                </a:spcBef>
                <a:spcAft>
                  <a:spcPct val="0"/>
                </a:spcAft>
                <a:buClrTx/>
                <a:buNone/>
              </a:pPr>
              <a:r>
                <a:rPr lang="en-GB" sz="1400" dirty="0">
                  <a:solidFill>
                    <a:schemeClr val="bg1"/>
                  </a:solidFill>
                </a:rPr>
                <a:t>Name Example</a:t>
              </a:r>
            </a:p>
          </p:txBody>
        </p:sp>
        <p:sp>
          <p:nvSpPr>
            <p:cNvPr id="51210" name="AutoShape 11"/>
            <p:cNvSpPr>
              <a:spLocks noChangeArrowheads="1"/>
            </p:cNvSpPr>
            <p:nvPr/>
          </p:nvSpPr>
          <p:spPr bwMode="auto">
            <a:xfrm>
              <a:off x="5223758" y="2917826"/>
              <a:ext cx="1755775" cy="630237"/>
            </a:xfrm>
            <a:prstGeom prst="rect">
              <a:avLst/>
            </a:prstGeom>
            <a:solidFill>
              <a:schemeClr val="tx2"/>
            </a:solidFill>
            <a:ln w="57150">
              <a:noFill/>
              <a:miter lim="800000"/>
              <a:headEnd/>
              <a:tailEnd/>
            </a:ln>
          </p:spPr>
          <p:txBody>
            <a:bodyPr wrap="none" anchor="ctr"/>
            <a:lstStyle/>
            <a:p>
              <a:pPr algn="ctr">
                <a:spcBef>
                  <a:spcPct val="0"/>
                </a:spcBef>
                <a:spcAft>
                  <a:spcPct val="0"/>
                </a:spcAft>
              </a:pPr>
              <a:r>
                <a:rPr lang="en-GB" sz="1400" dirty="0">
                  <a:solidFill>
                    <a:schemeClr val="bg1"/>
                  </a:solidFill>
                  <a:latin typeface="+mj-lt"/>
                </a:rPr>
                <a:t>Manager</a:t>
              </a:r>
            </a:p>
            <a:p>
              <a:pPr lvl="0" algn="ctr">
                <a:lnSpc>
                  <a:spcPct val="100000"/>
                </a:lnSpc>
                <a:spcBef>
                  <a:spcPct val="0"/>
                </a:spcBef>
                <a:spcAft>
                  <a:spcPct val="0"/>
                </a:spcAft>
                <a:buClrTx/>
                <a:buNone/>
              </a:pPr>
              <a:r>
                <a:rPr lang="en-GB" sz="1400" dirty="0">
                  <a:solidFill>
                    <a:schemeClr val="bg1"/>
                  </a:solidFill>
                </a:rPr>
                <a:t>Name Example</a:t>
              </a:r>
            </a:p>
          </p:txBody>
        </p:sp>
        <p:sp>
          <p:nvSpPr>
            <p:cNvPr id="51211" name="AutoShape 12"/>
            <p:cNvSpPr>
              <a:spLocks noChangeArrowheads="1"/>
            </p:cNvSpPr>
            <p:nvPr/>
          </p:nvSpPr>
          <p:spPr bwMode="auto">
            <a:xfrm>
              <a:off x="3179763" y="2917826"/>
              <a:ext cx="1757361" cy="630237"/>
            </a:xfrm>
            <a:prstGeom prst="rect">
              <a:avLst/>
            </a:prstGeom>
            <a:solidFill>
              <a:schemeClr val="tx2"/>
            </a:solidFill>
            <a:ln w="57150">
              <a:noFill/>
              <a:miter lim="800000"/>
              <a:headEnd/>
              <a:tailEnd/>
            </a:ln>
          </p:spPr>
          <p:txBody>
            <a:bodyPr wrap="none" anchor="ctr"/>
            <a:lstStyle/>
            <a:p>
              <a:pPr algn="ctr">
                <a:spcBef>
                  <a:spcPct val="0"/>
                </a:spcBef>
                <a:spcAft>
                  <a:spcPct val="0"/>
                </a:spcAft>
              </a:pPr>
              <a:r>
                <a:rPr lang="en-GB" sz="1400" dirty="0">
                  <a:solidFill>
                    <a:schemeClr val="bg1"/>
                  </a:solidFill>
                  <a:latin typeface="+mj-lt"/>
                </a:rPr>
                <a:t>Manager</a:t>
              </a:r>
            </a:p>
            <a:p>
              <a:pPr lvl="0" algn="ctr">
                <a:lnSpc>
                  <a:spcPct val="100000"/>
                </a:lnSpc>
                <a:spcBef>
                  <a:spcPct val="0"/>
                </a:spcBef>
                <a:spcAft>
                  <a:spcPct val="0"/>
                </a:spcAft>
                <a:buClrTx/>
                <a:buNone/>
              </a:pPr>
              <a:r>
                <a:rPr lang="en-GB" sz="1400" dirty="0">
                  <a:solidFill>
                    <a:schemeClr val="bg1"/>
                  </a:solidFill>
                </a:rPr>
                <a:t>Name Example</a:t>
              </a:r>
            </a:p>
          </p:txBody>
        </p:sp>
        <p:sp>
          <p:nvSpPr>
            <p:cNvPr id="51212" name="AutoShape 13"/>
            <p:cNvSpPr>
              <a:spLocks noChangeArrowheads="1"/>
            </p:cNvSpPr>
            <p:nvPr/>
          </p:nvSpPr>
          <p:spPr bwMode="auto">
            <a:xfrm>
              <a:off x="7256462" y="2917826"/>
              <a:ext cx="1755775" cy="630237"/>
            </a:xfrm>
            <a:prstGeom prst="rect">
              <a:avLst/>
            </a:prstGeom>
            <a:solidFill>
              <a:schemeClr val="tx2"/>
            </a:solidFill>
            <a:ln w="57150">
              <a:noFill/>
              <a:miter lim="800000"/>
              <a:headEnd/>
              <a:tailEnd/>
            </a:ln>
          </p:spPr>
          <p:txBody>
            <a:bodyPr wrap="none" anchor="ctr"/>
            <a:lstStyle/>
            <a:p>
              <a:pPr algn="ctr">
                <a:spcBef>
                  <a:spcPct val="0"/>
                </a:spcBef>
                <a:spcAft>
                  <a:spcPct val="0"/>
                </a:spcAft>
              </a:pPr>
              <a:r>
                <a:rPr lang="en-GB" sz="1400" dirty="0">
                  <a:solidFill>
                    <a:schemeClr val="bg1"/>
                  </a:solidFill>
                  <a:latin typeface="+mj-lt"/>
                </a:rPr>
                <a:t>Manager</a:t>
              </a:r>
            </a:p>
            <a:p>
              <a:pPr lvl="0" algn="ctr">
                <a:lnSpc>
                  <a:spcPct val="100000"/>
                </a:lnSpc>
                <a:spcBef>
                  <a:spcPct val="0"/>
                </a:spcBef>
                <a:spcAft>
                  <a:spcPct val="0"/>
                </a:spcAft>
                <a:buClrTx/>
                <a:buNone/>
              </a:pPr>
              <a:r>
                <a:rPr lang="en-GB" sz="1400" dirty="0">
                  <a:solidFill>
                    <a:schemeClr val="bg1"/>
                  </a:solidFill>
                </a:rPr>
                <a:t>Name Example</a:t>
              </a:r>
            </a:p>
          </p:txBody>
        </p:sp>
        <p:sp>
          <p:nvSpPr>
            <p:cNvPr id="51213" name="AutoShape 14"/>
            <p:cNvSpPr>
              <a:spLocks noChangeArrowheads="1"/>
            </p:cNvSpPr>
            <p:nvPr/>
          </p:nvSpPr>
          <p:spPr bwMode="auto">
            <a:xfrm>
              <a:off x="3179763" y="3829050"/>
              <a:ext cx="1757361" cy="630237"/>
            </a:xfrm>
            <a:prstGeom prst="rect">
              <a:avLst/>
            </a:prstGeom>
            <a:solidFill>
              <a:schemeClr val="tx2"/>
            </a:solidFill>
            <a:ln w="57150">
              <a:noFill/>
              <a:miter lim="800000"/>
              <a:headEnd/>
              <a:tailEnd/>
            </a:ln>
          </p:spPr>
          <p:txBody>
            <a:bodyPr wrap="none" anchor="ctr"/>
            <a:lstStyle/>
            <a:p>
              <a:pPr algn="ctr">
                <a:spcBef>
                  <a:spcPct val="0"/>
                </a:spcBef>
                <a:spcAft>
                  <a:spcPct val="0"/>
                </a:spcAft>
              </a:pPr>
              <a:r>
                <a:rPr lang="en-GB" sz="1400" dirty="0">
                  <a:solidFill>
                    <a:schemeClr val="bg1"/>
                  </a:solidFill>
                  <a:latin typeface="+mj-lt"/>
                </a:rPr>
                <a:t>Assistant Manager</a:t>
              </a:r>
            </a:p>
            <a:p>
              <a:pPr lvl="0" algn="ctr">
                <a:lnSpc>
                  <a:spcPct val="100000"/>
                </a:lnSpc>
                <a:spcBef>
                  <a:spcPct val="0"/>
                </a:spcBef>
                <a:spcAft>
                  <a:spcPct val="0"/>
                </a:spcAft>
                <a:buClrTx/>
                <a:buNone/>
              </a:pPr>
              <a:r>
                <a:rPr lang="en-GB" sz="1400" dirty="0">
                  <a:solidFill>
                    <a:schemeClr val="bg1"/>
                  </a:solidFill>
                </a:rPr>
                <a:t>Name Example</a:t>
              </a:r>
            </a:p>
          </p:txBody>
        </p:sp>
        <p:sp>
          <p:nvSpPr>
            <p:cNvPr id="51214" name="AutoShape 15"/>
            <p:cNvSpPr>
              <a:spLocks noChangeArrowheads="1"/>
            </p:cNvSpPr>
            <p:nvPr/>
          </p:nvSpPr>
          <p:spPr bwMode="auto">
            <a:xfrm>
              <a:off x="7256462" y="3829050"/>
              <a:ext cx="1755775" cy="630237"/>
            </a:xfrm>
            <a:prstGeom prst="rect">
              <a:avLst/>
            </a:prstGeom>
            <a:solidFill>
              <a:schemeClr val="tx2"/>
            </a:solidFill>
            <a:ln w="57150">
              <a:noFill/>
              <a:miter lim="800000"/>
              <a:headEnd/>
              <a:tailEnd/>
            </a:ln>
          </p:spPr>
          <p:txBody>
            <a:bodyPr wrap="none" anchor="ctr"/>
            <a:lstStyle/>
            <a:p>
              <a:pPr algn="ctr">
                <a:spcBef>
                  <a:spcPct val="0"/>
                </a:spcBef>
                <a:spcAft>
                  <a:spcPct val="0"/>
                </a:spcAft>
              </a:pPr>
              <a:r>
                <a:rPr lang="en-GB" sz="1400" dirty="0">
                  <a:solidFill>
                    <a:schemeClr val="bg1"/>
                  </a:solidFill>
                  <a:latin typeface="+mj-lt"/>
                </a:rPr>
                <a:t>Assistant Manager</a:t>
              </a:r>
            </a:p>
            <a:p>
              <a:pPr lvl="0" algn="ctr">
                <a:lnSpc>
                  <a:spcPct val="100000"/>
                </a:lnSpc>
                <a:spcBef>
                  <a:spcPct val="0"/>
                </a:spcBef>
                <a:spcAft>
                  <a:spcPct val="0"/>
                </a:spcAft>
                <a:buClrTx/>
                <a:buNone/>
              </a:pPr>
              <a:r>
                <a:rPr lang="en-GB" sz="1400" dirty="0">
                  <a:solidFill>
                    <a:schemeClr val="bg1"/>
                  </a:solidFill>
                </a:rPr>
                <a:t>Name Example</a:t>
              </a:r>
            </a:p>
          </p:txBody>
        </p:sp>
        <p:sp>
          <p:nvSpPr>
            <p:cNvPr id="51215" name="AutoShape 16"/>
            <p:cNvSpPr>
              <a:spLocks noChangeArrowheads="1"/>
            </p:cNvSpPr>
            <p:nvPr/>
          </p:nvSpPr>
          <p:spPr bwMode="auto">
            <a:xfrm>
              <a:off x="8348663" y="4883150"/>
              <a:ext cx="1757363" cy="630237"/>
            </a:xfrm>
            <a:prstGeom prst="rect">
              <a:avLst/>
            </a:prstGeom>
            <a:solidFill>
              <a:schemeClr val="tx2"/>
            </a:solidFill>
            <a:ln w="57150">
              <a:noFill/>
              <a:miter lim="800000"/>
              <a:headEnd/>
              <a:tailEnd/>
            </a:ln>
          </p:spPr>
          <p:txBody>
            <a:bodyPr wrap="none" anchor="ctr"/>
            <a:lstStyle/>
            <a:p>
              <a:pPr algn="ctr">
                <a:spcBef>
                  <a:spcPct val="0"/>
                </a:spcBef>
                <a:spcAft>
                  <a:spcPct val="0"/>
                </a:spcAft>
              </a:pPr>
              <a:r>
                <a:rPr lang="en-GB" sz="1400" dirty="0">
                  <a:solidFill>
                    <a:schemeClr val="bg1"/>
                  </a:solidFill>
                  <a:latin typeface="+mj-lt"/>
                </a:rPr>
                <a:t>Administrator</a:t>
              </a:r>
            </a:p>
            <a:p>
              <a:pPr lvl="0" algn="ctr">
                <a:lnSpc>
                  <a:spcPct val="100000"/>
                </a:lnSpc>
                <a:spcBef>
                  <a:spcPct val="0"/>
                </a:spcBef>
                <a:spcAft>
                  <a:spcPct val="0"/>
                </a:spcAft>
                <a:buClrTx/>
                <a:buNone/>
              </a:pPr>
              <a:r>
                <a:rPr lang="en-GB" sz="1400" dirty="0">
                  <a:solidFill>
                    <a:schemeClr val="bg1"/>
                  </a:solidFill>
                </a:rPr>
                <a:t>Name Example</a:t>
              </a:r>
            </a:p>
          </p:txBody>
        </p:sp>
        <p:sp>
          <p:nvSpPr>
            <p:cNvPr id="51216" name="AutoShape 17"/>
            <p:cNvSpPr>
              <a:spLocks noChangeArrowheads="1"/>
            </p:cNvSpPr>
            <p:nvPr/>
          </p:nvSpPr>
          <p:spPr bwMode="auto">
            <a:xfrm>
              <a:off x="6311900" y="4883150"/>
              <a:ext cx="1755775" cy="630237"/>
            </a:xfrm>
            <a:prstGeom prst="rect">
              <a:avLst/>
            </a:prstGeom>
            <a:solidFill>
              <a:schemeClr val="tx2"/>
            </a:solidFill>
            <a:ln w="57150">
              <a:noFill/>
              <a:miter lim="800000"/>
              <a:headEnd/>
              <a:tailEnd/>
            </a:ln>
          </p:spPr>
          <p:txBody>
            <a:bodyPr wrap="none" anchor="ctr"/>
            <a:lstStyle/>
            <a:p>
              <a:pPr algn="ctr">
                <a:spcBef>
                  <a:spcPct val="0"/>
                </a:spcBef>
                <a:spcAft>
                  <a:spcPct val="0"/>
                </a:spcAft>
              </a:pPr>
              <a:r>
                <a:rPr lang="en-GB" sz="1400" dirty="0">
                  <a:solidFill>
                    <a:schemeClr val="bg1"/>
                  </a:solidFill>
                  <a:latin typeface="+mj-lt"/>
                </a:rPr>
                <a:t>Administrator</a:t>
              </a:r>
            </a:p>
            <a:p>
              <a:pPr lvl="0" algn="ctr">
                <a:lnSpc>
                  <a:spcPct val="100000"/>
                </a:lnSpc>
                <a:spcBef>
                  <a:spcPct val="0"/>
                </a:spcBef>
                <a:spcAft>
                  <a:spcPct val="0"/>
                </a:spcAft>
                <a:buClrTx/>
                <a:buNone/>
              </a:pPr>
              <a:r>
                <a:rPr lang="en-GB" sz="1400" dirty="0">
                  <a:solidFill>
                    <a:schemeClr val="bg1"/>
                  </a:solidFill>
                </a:rPr>
                <a:t>Name Example</a:t>
              </a:r>
            </a:p>
          </p:txBody>
        </p:sp>
        <p:sp>
          <p:nvSpPr>
            <p:cNvPr id="51217" name="AutoShape 18"/>
            <p:cNvSpPr>
              <a:spLocks noChangeArrowheads="1"/>
            </p:cNvSpPr>
            <p:nvPr/>
          </p:nvSpPr>
          <p:spPr bwMode="auto">
            <a:xfrm>
              <a:off x="3179763" y="2006601"/>
              <a:ext cx="1757361" cy="630237"/>
            </a:xfrm>
            <a:prstGeom prst="rect">
              <a:avLst/>
            </a:prstGeom>
            <a:solidFill>
              <a:schemeClr val="tx2"/>
            </a:solidFill>
            <a:ln w="57150">
              <a:noFill/>
              <a:miter lim="800000"/>
              <a:headEnd/>
              <a:tailEnd/>
            </a:ln>
          </p:spPr>
          <p:txBody>
            <a:bodyPr wrap="none" anchor="ctr"/>
            <a:lstStyle/>
            <a:p>
              <a:pPr lvl="0" algn="ctr">
                <a:lnSpc>
                  <a:spcPct val="100000"/>
                </a:lnSpc>
                <a:spcBef>
                  <a:spcPct val="0"/>
                </a:spcBef>
                <a:spcAft>
                  <a:spcPct val="0"/>
                </a:spcAft>
                <a:buClrTx/>
                <a:buNone/>
              </a:pPr>
              <a:r>
                <a:rPr lang="en-GB" sz="1400" dirty="0">
                  <a:solidFill>
                    <a:schemeClr val="bg1"/>
                  </a:solidFill>
                  <a:latin typeface="+mj-lt"/>
                </a:rPr>
                <a:t>Manager</a:t>
              </a:r>
            </a:p>
            <a:p>
              <a:pPr lvl="0" algn="ctr">
                <a:lnSpc>
                  <a:spcPct val="100000"/>
                </a:lnSpc>
                <a:spcBef>
                  <a:spcPct val="0"/>
                </a:spcBef>
                <a:spcAft>
                  <a:spcPct val="0"/>
                </a:spcAft>
                <a:buClrTx/>
                <a:buNone/>
              </a:pPr>
              <a:r>
                <a:rPr lang="en-GB" sz="1400" dirty="0">
                  <a:solidFill>
                    <a:schemeClr val="bg1"/>
                  </a:solidFill>
                </a:rPr>
                <a:t>Name Example</a:t>
              </a:r>
            </a:p>
          </p:txBody>
        </p:sp>
        <p:sp>
          <p:nvSpPr>
            <p:cNvPr id="51220" name="Rectangle 37"/>
            <p:cNvSpPr>
              <a:spLocks noChangeArrowheads="1"/>
            </p:cNvSpPr>
            <p:nvPr/>
          </p:nvSpPr>
          <p:spPr bwMode="auto">
            <a:xfrm>
              <a:off x="1838677" y="5519589"/>
              <a:ext cx="3606094" cy="274434"/>
            </a:xfrm>
            <a:prstGeom prst="rect">
              <a:avLst/>
            </a:prstGeom>
            <a:noFill/>
            <a:ln w="12700">
              <a:noFill/>
              <a:miter lim="800000"/>
              <a:headEnd/>
              <a:tailEnd/>
            </a:ln>
          </p:spPr>
          <p:txBody>
            <a:bodyPr wrap="square" lIns="90488" tIns="44450" rIns="90488" bIns="44450" anchor="b">
              <a:spAutoFit/>
            </a:bodyPr>
            <a:lstStyle/>
            <a:p>
              <a:pPr defTabSz="762000" eaLnBrk="0" hangingPunct="0">
                <a:spcBef>
                  <a:spcPct val="50000"/>
                </a:spcBef>
                <a:spcAft>
                  <a:spcPct val="0"/>
                </a:spcAft>
              </a:pPr>
              <a:r>
                <a:rPr lang="en-GB" sz="1200" dirty="0">
                  <a:solidFill>
                    <a:schemeClr val="bg2"/>
                  </a:solidFill>
                </a:rPr>
                <a:t>Note: Created using standard drawing objects.</a:t>
              </a:r>
            </a:p>
          </p:txBody>
        </p:sp>
        <p:cxnSp>
          <p:nvCxnSpPr>
            <p:cNvPr id="3" name="Elbow Connector 2"/>
            <p:cNvCxnSpPr>
              <a:stCxn id="51209" idx="2"/>
              <a:endCxn id="51210" idx="0"/>
            </p:cNvCxnSpPr>
            <p:nvPr/>
          </p:nvCxnSpPr>
          <p:spPr>
            <a:xfrm rot="5400000">
              <a:off x="5680959" y="2497137"/>
              <a:ext cx="841375" cy="12700"/>
            </a:xfrm>
            <a:prstGeom prst="bentConnector3">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Elbow Connector 4"/>
            <p:cNvCxnSpPr>
              <a:stCxn id="51209" idx="2"/>
              <a:endCxn id="51212" idx="0"/>
            </p:cNvCxnSpPr>
            <p:nvPr/>
          </p:nvCxnSpPr>
          <p:spPr>
            <a:xfrm rot="16200000" flipH="1">
              <a:off x="6697311" y="1480785"/>
              <a:ext cx="841375" cy="2032704"/>
            </a:xfrm>
            <a:prstGeom prst="bentConnector3">
              <a:avLst>
                <a:gd name="adj1" fmla="val 80859"/>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Elbow Connector 6"/>
            <p:cNvCxnSpPr>
              <a:stCxn id="51209" idx="2"/>
              <a:endCxn id="51211" idx="0"/>
            </p:cNvCxnSpPr>
            <p:nvPr/>
          </p:nvCxnSpPr>
          <p:spPr>
            <a:xfrm rot="5400000">
              <a:off x="4659358" y="1475536"/>
              <a:ext cx="841375" cy="2043202"/>
            </a:xfrm>
            <a:prstGeom prst="bentConnector3">
              <a:avLst>
                <a:gd name="adj1" fmla="val 80860"/>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51209" idx="2"/>
              <a:endCxn id="51217" idx="3"/>
            </p:cNvCxnSpPr>
            <p:nvPr/>
          </p:nvCxnSpPr>
          <p:spPr>
            <a:xfrm rot="5400000">
              <a:off x="5396751" y="1616823"/>
              <a:ext cx="245269" cy="116452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51211" idx="2"/>
              <a:endCxn id="51213" idx="0"/>
            </p:cNvCxnSpPr>
            <p:nvPr/>
          </p:nvCxnSpPr>
          <p:spPr>
            <a:xfrm>
              <a:off x="4058443" y="3548063"/>
              <a:ext cx="0" cy="2809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51212" idx="2"/>
              <a:endCxn id="51214" idx="0"/>
            </p:cNvCxnSpPr>
            <p:nvPr/>
          </p:nvCxnSpPr>
          <p:spPr>
            <a:xfrm>
              <a:off x="8134349" y="3548063"/>
              <a:ext cx="0" cy="2809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51214" idx="2"/>
              <a:endCxn id="51216" idx="0"/>
            </p:cNvCxnSpPr>
            <p:nvPr/>
          </p:nvCxnSpPr>
          <p:spPr>
            <a:xfrm rot="5400000">
              <a:off x="7450138" y="4198936"/>
              <a:ext cx="423863" cy="944562"/>
            </a:xfrm>
            <a:prstGeom prst="bentConnector3">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51214" idx="2"/>
              <a:endCxn id="51215" idx="0"/>
            </p:cNvCxnSpPr>
            <p:nvPr/>
          </p:nvCxnSpPr>
          <p:spPr>
            <a:xfrm rot="16200000" flipH="1">
              <a:off x="8468916" y="4124720"/>
              <a:ext cx="423863" cy="1092995"/>
            </a:xfrm>
            <a:prstGeom prst="bentConnector3">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54197026"/>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77" name="Rectangle 2"/>
          <p:cNvSpPr>
            <a:spLocks noGrp="1" noChangeArrowheads="1"/>
          </p:cNvSpPr>
          <p:nvPr>
            <p:ph type="title"/>
          </p:nvPr>
        </p:nvSpPr>
        <p:spPr/>
        <p:txBody>
          <a:bodyPr/>
          <a:lstStyle/>
          <a:p>
            <a:pPr lvl="0"/>
            <a:r>
              <a:rPr lang="en-GB" dirty="0"/>
              <a:t>Sample organisational chart</a:t>
            </a:r>
          </a:p>
        </p:txBody>
      </p:sp>
      <p:sp>
        <p:nvSpPr>
          <p:cNvPr id="27678" name="Rectangle 72"/>
          <p:cNvSpPr>
            <a:spLocks noChangeArrowheads="1"/>
          </p:cNvSpPr>
          <p:nvPr/>
        </p:nvSpPr>
        <p:spPr bwMode="auto">
          <a:xfrm>
            <a:off x="508000" y="6085091"/>
            <a:ext cx="4260850" cy="274434"/>
          </a:xfrm>
          <a:prstGeom prst="rect">
            <a:avLst/>
          </a:prstGeom>
          <a:noFill/>
          <a:ln w="12700">
            <a:noFill/>
            <a:miter lim="800000"/>
            <a:headEnd/>
            <a:tailEnd/>
          </a:ln>
        </p:spPr>
        <p:txBody>
          <a:bodyPr wrap="square" lIns="90488" tIns="44450" rIns="90488" bIns="44450" anchor="b">
            <a:spAutoFit/>
          </a:bodyPr>
          <a:lstStyle/>
          <a:p>
            <a:pPr defTabSz="762000" eaLnBrk="0" hangingPunct="0">
              <a:spcBef>
                <a:spcPct val="50000"/>
              </a:spcBef>
              <a:spcAft>
                <a:spcPct val="0"/>
              </a:spcAft>
            </a:pPr>
            <a:r>
              <a:rPr lang="en-GB" sz="1200" dirty="0">
                <a:solidFill>
                  <a:schemeClr val="bg2"/>
                </a:solidFill>
              </a:rPr>
              <a:t>Note: Created using Organizational chart tool.</a:t>
            </a:r>
          </a:p>
        </p:txBody>
      </p:sp>
      <p:sp>
        <p:nvSpPr>
          <p:cNvPr id="4" name="Freeform 3"/>
          <p:cNvSpPr/>
          <p:nvPr/>
        </p:nvSpPr>
        <p:spPr>
          <a:xfrm>
            <a:off x="8941685" y="3233065"/>
            <a:ext cx="211365" cy="648188"/>
          </a:xfrm>
          <a:custGeom>
            <a:avLst/>
            <a:gdLst/>
            <a:ahLst/>
            <a:cxnLst/>
            <a:rect l="0" t="0" r="0" b="0"/>
            <a:pathLst>
              <a:path>
                <a:moveTo>
                  <a:pt x="0" y="0"/>
                </a:moveTo>
                <a:lnTo>
                  <a:pt x="0" y="648188"/>
                </a:lnTo>
                <a:lnTo>
                  <a:pt x="211365" y="648188"/>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5" name="Freeform 4"/>
          <p:cNvSpPr/>
          <p:nvPr/>
        </p:nvSpPr>
        <p:spPr>
          <a:xfrm>
            <a:off x="6095291" y="2232600"/>
            <a:ext cx="3410036" cy="295912"/>
          </a:xfrm>
          <a:custGeom>
            <a:avLst/>
            <a:gdLst/>
            <a:ahLst/>
            <a:cxnLst/>
            <a:rect l="0" t="0" r="0" b="0"/>
            <a:pathLst>
              <a:path>
                <a:moveTo>
                  <a:pt x="0" y="0"/>
                </a:moveTo>
                <a:lnTo>
                  <a:pt x="0" y="147956"/>
                </a:lnTo>
                <a:lnTo>
                  <a:pt x="3410036" y="147956"/>
                </a:lnTo>
                <a:lnTo>
                  <a:pt x="3410036" y="295912"/>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6" name="Freeform 5"/>
          <p:cNvSpPr/>
          <p:nvPr/>
        </p:nvSpPr>
        <p:spPr>
          <a:xfrm>
            <a:off x="6095291" y="2232600"/>
            <a:ext cx="1705018" cy="295912"/>
          </a:xfrm>
          <a:custGeom>
            <a:avLst/>
            <a:gdLst/>
            <a:ahLst/>
            <a:cxnLst/>
            <a:rect l="0" t="0" r="0" b="0"/>
            <a:pathLst>
              <a:path>
                <a:moveTo>
                  <a:pt x="0" y="0"/>
                </a:moveTo>
                <a:lnTo>
                  <a:pt x="0" y="147956"/>
                </a:lnTo>
                <a:lnTo>
                  <a:pt x="1705018" y="147956"/>
                </a:lnTo>
                <a:lnTo>
                  <a:pt x="1705018" y="295912"/>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7" name="Freeform 6"/>
          <p:cNvSpPr/>
          <p:nvPr/>
        </p:nvSpPr>
        <p:spPr>
          <a:xfrm>
            <a:off x="6384157" y="4233531"/>
            <a:ext cx="211365" cy="648188"/>
          </a:xfrm>
          <a:custGeom>
            <a:avLst/>
            <a:gdLst/>
            <a:ahLst/>
            <a:cxnLst/>
            <a:rect l="0" t="0" r="0" b="0"/>
            <a:pathLst>
              <a:path>
                <a:moveTo>
                  <a:pt x="0" y="0"/>
                </a:moveTo>
                <a:lnTo>
                  <a:pt x="0" y="648188"/>
                </a:lnTo>
                <a:lnTo>
                  <a:pt x="211365" y="648188"/>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8" name="Freeform 7"/>
          <p:cNvSpPr/>
          <p:nvPr/>
        </p:nvSpPr>
        <p:spPr>
          <a:xfrm>
            <a:off x="6095291" y="3233065"/>
            <a:ext cx="852509" cy="295912"/>
          </a:xfrm>
          <a:custGeom>
            <a:avLst/>
            <a:gdLst/>
            <a:ahLst/>
            <a:cxnLst/>
            <a:rect l="0" t="0" r="0" b="0"/>
            <a:pathLst>
              <a:path>
                <a:moveTo>
                  <a:pt x="0" y="0"/>
                </a:moveTo>
                <a:lnTo>
                  <a:pt x="0" y="147956"/>
                </a:lnTo>
                <a:lnTo>
                  <a:pt x="852509" y="147956"/>
                </a:lnTo>
                <a:lnTo>
                  <a:pt x="852509" y="295912"/>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9" name="Freeform 8"/>
          <p:cNvSpPr/>
          <p:nvPr/>
        </p:nvSpPr>
        <p:spPr>
          <a:xfrm>
            <a:off x="4679139" y="4233531"/>
            <a:ext cx="211365" cy="648188"/>
          </a:xfrm>
          <a:custGeom>
            <a:avLst/>
            <a:gdLst/>
            <a:ahLst/>
            <a:cxnLst/>
            <a:rect l="0" t="0" r="0" b="0"/>
            <a:pathLst>
              <a:path>
                <a:moveTo>
                  <a:pt x="0" y="0"/>
                </a:moveTo>
                <a:lnTo>
                  <a:pt x="0" y="648188"/>
                </a:lnTo>
                <a:lnTo>
                  <a:pt x="211365" y="648188"/>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0" name="Freeform 9"/>
          <p:cNvSpPr/>
          <p:nvPr/>
        </p:nvSpPr>
        <p:spPr>
          <a:xfrm>
            <a:off x="5242782" y="3233065"/>
            <a:ext cx="852509" cy="295912"/>
          </a:xfrm>
          <a:custGeom>
            <a:avLst/>
            <a:gdLst/>
            <a:ahLst/>
            <a:cxnLst/>
            <a:rect l="0" t="0" r="0" b="0"/>
            <a:pathLst>
              <a:path>
                <a:moveTo>
                  <a:pt x="852509" y="0"/>
                </a:moveTo>
                <a:lnTo>
                  <a:pt x="852509" y="147956"/>
                </a:lnTo>
                <a:lnTo>
                  <a:pt x="0" y="147956"/>
                </a:lnTo>
                <a:lnTo>
                  <a:pt x="0" y="295912"/>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1" name="Freeform 10"/>
          <p:cNvSpPr/>
          <p:nvPr/>
        </p:nvSpPr>
        <p:spPr>
          <a:xfrm>
            <a:off x="6049571" y="2232600"/>
            <a:ext cx="91440" cy="295912"/>
          </a:xfrm>
          <a:custGeom>
            <a:avLst/>
            <a:gdLst/>
            <a:ahLst/>
            <a:cxnLst/>
            <a:rect l="0" t="0" r="0" b="0"/>
            <a:pathLst>
              <a:path>
                <a:moveTo>
                  <a:pt x="45720" y="0"/>
                </a:moveTo>
                <a:lnTo>
                  <a:pt x="45720" y="295912"/>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2" name="Freeform 11"/>
          <p:cNvSpPr/>
          <p:nvPr/>
        </p:nvSpPr>
        <p:spPr>
          <a:xfrm>
            <a:off x="4390273" y="2232600"/>
            <a:ext cx="1705018" cy="295912"/>
          </a:xfrm>
          <a:custGeom>
            <a:avLst/>
            <a:gdLst/>
            <a:ahLst/>
            <a:cxnLst/>
            <a:rect l="0" t="0" r="0" b="0"/>
            <a:pathLst>
              <a:path>
                <a:moveTo>
                  <a:pt x="1705018" y="0"/>
                </a:moveTo>
                <a:lnTo>
                  <a:pt x="1705018" y="147956"/>
                </a:lnTo>
                <a:lnTo>
                  <a:pt x="0" y="147956"/>
                </a:lnTo>
                <a:lnTo>
                  <a:pt x="0" y="295912"/>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3" name="Freeform 12"/>
          <p:cNvSpPr/>
          <p:nvPr/>
        </p:nvSpPr>
        <p:spPr>
          <a:xfrm>
            <a:off x="2685255" y="3233065"/>
            <a:ext cx="147956" cy="648188"/>
          </a:xfrm>
          <a:custGeom>
            <a:avLst/>
            <a:gdLst/>
            <a:ahLst/>
            <a:cxnLst/>
            <a:rect l="0" t="0" r="0" b="0"/>
            <a:pathLst>
              <a:path>
                <a:moveTo>
                  <a:pt x="0" y="0"/>
                </a:moveTo>
                <a:lnTo>
                  <a:pt x="0" y="648188"/>
                </a:lnTo>
                <a:lnTo>
                  <a:pt x="147956" y="648188"/>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4" name="Freeform 13"/>
          <p:cNvSpPr/>
          <p:nvPr/>
        </p:nvSpPr>
        <p:spPr>
          <a:xfrm>
            <a:off x="2537299" y="3233065"/>
            <a:ext cx="147956" cy="648188"/>
          </a:xfrm>
          <a:custGeom>
            <a:avLst/>
            <a:gdLst/>
            <a:ahLst/>
            <a:cxnLst/>
            <a:rect l="0" t="0" r="0" b="0"/>
            <a:pathLst>
              <a:path>
                <a:moveTo>
                  <a:pt x="147956" y="0"/>
                </a:moveTo>
                <a:lnTo>
                  <a:pt x="147956" y="648188"/>
                </a:lnTo>
                <a:lnTo>
                  <a:pt x="0" y="648188"/>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5" name="Freeform 14"/>
          <p:cNvSpPr/>
          <p:nvPr/>
        </p:nvSpPr>
        <p:spPr>
          <a:xfrm>
            <a:off x="2685255" y="2232600"/>
            <a:ext cx="3410036" cy="295912"/>
          </a:xfrm>
          <a:custGeom>
            <a:avLst/>
            <a:gdLst/>
            <a:ahLst/>
            <a:cxnLst/>
            <a:rect l="0" t="0" r="0" b="0"/>
            <a:pathLst>
              <a:path>
                <a:moveTo>
                  <a:pt x="3410036" y="0"/>
                </a:moveTo>
                <a:lnTo>
                  <a:pt x="3410036" y="147956"/>
                </a:lnTo>
                <a:lnTo>
                  <a:pt x="0" y="147956"/>
                </a:lnTo>
                <a:lnTo>
                  <a:pt x="0" y="295912"/>
                </a:lnTo>
              </a:path>
            </a:pathLst>
          </a:custGeom>
          <a:noFill/>
          <a:ln>
            <a:solidFill>
              <a:schemeClr val="accent1"/>
            </a:solidFill>
          </a:ln>
        </p:spPr>
        <p:style>
          <a:lnRef idx="2">
            <a:scrgbClr r="0" g="0" b="0"/>
          </a:lnRef>
          <a:fillRef idx="0">
            <a:scrgbClr r="0" g="0" b="0"/>
          </a:fillRef>
          <a:effectRef idx="0">
            <a:schemeClr val="dk2">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6" name="Freeform 15"/>
          <p:cNvSpPr/>
          <p:nvPr/>
        </p:nvSpPr>
        <p:spPr>
          <a:xfrm>
            <a:off x="5390738" y="1528047"/>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US" altLang="en-US" sz="1400" kern="1200" dirty="0">
                <a:solidFill>
                  <a:schemeClr val="bg1"/>
                </a:solidFill>
                <a:latin typeface="+mj-lt"/>
                <a:ea typeface="+mn-ea"/>
                <a:cs typeface="+mn-cs"/>
              </a:rPr>
              <a:t>Director</a:t>
            </a:r>
          </a:p>
          <a:p>
            <a:pPr lvl="0" algn="ctr" defTabSz="622300">
              <a:lnSpc>
                <a:spcPct val="90000"/>
              </a:lnSpc>
              <a:spcBef>
                <a:spcPct val="0"/>
              </a:spcBef>
              <a:spcAft>
                <a:spcPct val="35000"/>
              </a:spcAft>
            </a:pPr>
            <a:r>
              <a:rPr lang="en-US" altLang="en-US" sz="1400" b="0" kern="1200" dirty="0">
                <a:solidFill>
                  <a:schemeClr val="bg1"/>
                </a:solidFill>
              </a:rPr>
              <a:t>Name Example</a:t>
            </a:r>
            <a:endParaRPr lang="en-GB" sz="1400" b="0" kern="1200" dirty="0"/>
          </a:p>
        </p:txBody>
      </p:sp>
      <p:sp>
        <p:nvSpPr>
          <p:cNvPr id="17" name="Freeform 16"/>
          <p:cNvSpPr/>
          <p:nvPr/>
        </p:nvSpPr>
        <p:spPr>
          <a:xfrm>
            <a:off x="1980702" y="2528512"/>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US" altLang="en-US" sz="1400" kern="1200" dirty="0">
                <a:solidFill>
                  <a:schemeClr val="bg1"/>
                </a:solidFill>
                <a:latin typeface="+mj-lt"/>
                <a:ea typeface="+mn-ea"/>
                <a:cs typeface="+mn-cs"/>
              </a:rPr>
              <a:t>Manager</a:t>
            </a:r>
          </a:p>
          <a:p>
            <a:pPr lvl="0" algn="ctr" defTabSz="622300">
              <a:lnSpc>
                <a:spcPct val="90000"/>
              </a:lnSpc>
              <a:spcBef>
                <a:spcPct val="0"/>
              </a:spcBef>
              <a:spcAft>
                <a:spcPct val="35000"/>
              </a:spcAft>
            </a:pPr>
            <a:r>
              <a:rPr lang="en-US" altLang="en-US" sz="1400" b="0" kern="1200" dirty="0">
                <a:solidFill>
                  <a:schemeClr val="bg1"/>
                </a:solidFill>
              </a:rPr>
              <a:t>Name Example</a:t>
            </a:r>
            <a:endParaRPr lang="en-GB" sz="1400" b="0" kern="1200" dirty="0"/>
          </a:p>
        </p:txBody>
      </p:sp>
      <p:sp>
        <p:nvSpPr>
          <p:cNvPr id="18" name="Freeform 17"/>
          <p:cNvSpPr/>
          <p:nvPr/>
        </p:nvSpPr>
        <p:spPr>
          <a:xfrm>
            <a:off x="1128193" y="3528978"/>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GB" sz="1400" kern="1200" dirty="0">
                <a:solidFill>
                  <a:schemeClr val="bg1"/>
                </a:solidFill>
                <a:latin typeface="+mj-lt"/>
                <a:ea typeface="+mn-ea"/>
                <a:cs typeface="+mn-cs"/>
              </a:rPr>
              <a:t>Assistant</a:t>
            </a:r>
          </a:p>
          <a:p>
            <a:pPr lvl="0" algn="ctr" defTabSz="622300">
              <a:lnSpc>
                <a:spcPct val="90000"/>
              </a:lnSpc>
              <a:spcBef>
                <a:spcPct val="0"/>
              </a:spcBef>
              <a:spcAft>
                <a:spcPct val="35000"/>
              </a:spcAft>
            </a:pPr>
            <a:r>
              <a:rPr lang="en-GB" sz="1400" kern="1200" dirty="0"/>
              <a:t>Name Example</a:t>
            </a:r>
          </a:p>
        </p:txBody>
      </p:sp>
      <p:sp>
        <p:nvSpPr>
          <p:cNvPr id="19" name="Freeform 18"/>
          <p:cNvSpPr/>
          <p:nvPr/>
        </p:nvSpPr>
        <p:spPr>
          <a:xfrm>
            <a:off x="2833211" y="3528978"/>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GB" sz="1400" kern="1200" dirty="0">
                <a:solidFill>
                  <a:schemeClr val="bg1"/>
                </a:solidFill>
                <a:latin typeface="+mj-lt"/>
                <a:ea typeface="+mn-ea"/>
                <a:cs typeface="+mn-cs"/>
              </a:rPr>
              <a:t>Assistant</a:t>
            </a:r>
          </a:p>
          <a:p>
            <a:pPr lvl="0" algn="ctr" defTabSz="622300">
              <a:lnSpc>
                <a:spcPct val="90000"/>
              </a:lnSpc>
              <a:spcBef>
                <a:spcPct val="0"/>
              </a:spcBef>
              <a:spcAft>
                <a:spcPct val="35000"/>
              </a:spcAft>
            </a:pPr>
            <a:r>
              <a:rPr lang="en-GB" sz="1400" kern="1200" dirty="0"/>
              <a:t>Name Example</a:t>
            </a:r>
          </a:p>
        </p:txBody>
      </p:sp>
      <p:sp>
        <p:nvSpPr>
          <p:cNvPr id="20" name="Freeform 19"/>
          <p:cNvSpPr/>
          <p:nvPr/>
        </p:nvSpPr>
        <p:spPr>
          <a:xfrm>
            <a:off x="3685720" y="2528512"/>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US" altLang="en-US" sz="1400" kern="1200" dirty="0">
                <a:solidFill>
                  <a:schemeClr val="bg1"/>
                </a:solidFill>
                <a:latin typeface="+mj-lt"/>
                <a:ea typeface="+mn-ea"/>
                <a:cs typeface="+mn-cs"/>
              </a:rPr>
              <a:t>Manager</a:t>
            </a:r>
          </a:p>
          <a:p>
            <a:pPr lvl="0" algn="ctr" defTabSz="622300">
              <a:lnSpc>
                <a:spcPct val="90000"/>
              </a:lnSpc>
              <a:spcBef>
                <a:spcPct val="0"/>
              </a:spcBef>
              <a:spcAft>
                <a:spcPct val="35000"/>
              </a:spcAft>
            </a:pPr>
            <a:r>
              <a:rPr lang="en-US" altLang="en-US" sz="1400" b="0" kern="1200" dirty="0">
                <a:solidFill>
                  <a:schemeClr val="bg1"/>
                </a:solidFill>
              </a:rPr>
              <a:t>Name Example</a:t>
            </a:r>
            <a:endParaRPr lang="en-GB" sz="1400" kern="1200" dirty="0"/>
          </a:p>
        </p:txBody>
      </p:sp>
      <p:sp>
        <p:nvSpPr>
          <p:cNvPr id="21" name="Freeform 20"/>
          <p:cNvSpPr/>
          <p:nvPr/>
        </p:nvSpPr>
        <p:spPr>
          <a:xfrm>
            <a:off x="5390738" y="2528512"/>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US" altLang="en-US" sz="1400" kern="1200" dirty="0">
                <a:solidFill>
                  <a:schemeClr val="bg1"/>
                </a:solidFill>
                <a:latin typeface="+mj-lt"/>
                <a:ea typeface="+mn-ea"/>
                <a:cs typeface="+mn-cs"/>
              </a:rPr>
              <a:t>Manager</a:t>
            </a:r>
          </a:p>
          <a:p>
            <a:pPr lvl="0" algn="ctr" defTabSz="622300">
              <a:lnSpc>
                <a:spcPct val="90000"/>
              </a:lnSpc>
              <a:spcBef>
                <a:spcPct val="0"/>
              </a:spcBef>
              <a:spcAft>
                <a:spcPct val="35000"/>
              </a:spcAft>
            </a:pPr>
            <a:r>
              <a:rPr lang="en-US" altLang="en-US" sz="1400" b="0" kern="1200" dirty="0">
                <a:solidFill>
                  <a:schemeClr val="bg1"/>
                </a:solidFill>
              </a:rPr>
              <a:t>Name Example</a:t>
            </a:r>
            <a:endParaRPr lang="en-GB" sz="1400" kern="1200" dirty="0"/>
          </a:p>
        </p:txBody>
      </p:sp>
      <p:sp>
        <p:nvSpPr>
          <p:cNvPr id="22" name="Freeform 21"/>
          <p:cNvSpPr/>
          <p:nvPr/>
        </p:nvSpPr>
        <p:spPr>
          <a:xfrm>
            <a:off x="4538229" y="3528978"/>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GB" sz="1400" kern="1200" dirty="0">
                <a:solidFill>
                  <a:schemeClr val="bg1"/>
                </a:solidFill>
                <a:latin typeface="+mj-lt"/>
                <a:ea typeface="+mn-ea"/>
                <a:cs typeface="+mn-cs"/>
              </a:rPr>
              <a:t>Assistant</a:t>
            </a:r>
          </a:p>
          <a:p>
            <a:pPr lvl="0" algn="ctr" defTabSz="622300">
              <a:lnSpc>
                <a:spcPct val="90000"/>
              </a:lnSpc>
              <a:spcBef>
                <a:spcPct val="0"/>
              </a:spcBef>
              <a:spcAft>
                <a:spcPct val="35000"/>
              </a:spcAft>
            </a:pPr>
            <a:r>
              <a:rPr lang="en-GB" sz="1400" kern="1200" dirty="0"/>
              <a:t>Name Example</a:t>
            </a:r>
          </a:p>
        </p:txBody>
      </p:sp>
      <p:sp>
        <p:nvSpPr>
          <p:cNvPr id="23" name="Freeform 22"/>
          <p:cNvSpPr/>
          <p:nvPr/>
        </p:nvSpPr>
        <p:spPr>
          <a:xfrm>
            <a:off x="4890505" y="4529443"/>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GB" sz="1400" kern="1200" dirty="0">
                <a:solidFill>
                  <a:schemeClr val="bg1"/>
                </a:solidFill>
                <a:latin typeface="+mj-lt"/>
                <a:ea typeface="+mn-ea"/>
                <a:cs typeface="+mn-cs"/>
              </a:rPr>
              <a:t>Assistant</a:t>
            </a:r>
          </a:p>
          <a:p>
            <a:pPr lvl="0" algn="ctr" defTabSz="622300">
              <a:lnSpc>
                <a:spcPct val="90000"/>
              </a:lnSpc>
              <a:spcBef>
                <a:spcPct val="0"/>
              </a:spcBef>
              <a:spcAft>
                <a:spcPct val="35000"/>
              </a:spcAft>
            </a:pPr>
            <a:r>
              <a:rPr lang="en-GB" sz="1400" kern="1200" dirty="0"/>
              <a:t>Name Example</a:t>
            </a:r>
          </a:p>
        </p:txBody>
      </p:sp>
      <p:sp>
        <p:nvSpPr>
          <p:cNvPr id="24" name="Freeform 23"/>
          <p:cNvSpPr/>
          <p:nvPr/>
        </p:nvSpPr>
        <p:spPr>
          <a:xfrm>
            <a:off x="6243247" y="3528978"/>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GB" sz="1400" kern="1200" dirty="0">
                <a:solidFill>
                  <a:schemeClr val="bg1"/>
                </a:solidFill>
                <a:latin typeface="+mj-lt"/>
                <a:ea typeface="+mn-ea"/>
                <a:cs typeface="+mn-cs"/>
              </a:rPr>
              <a:t>Assistant</a:t>
            </a:r>
          </a:p>
          <a:p>
            <a:pPr lvl="0" algn="ctr" defTabSz="622300">
              <a:lnSpc>
                <a:spcPct val="90000"/>
              </a:lnSpc>
              <a:spcBef>
                <a:spcPct val="0"/>
              </a:spcBef>
              <a:spcAft>
                <a:spcPct val="35000"/>
              </a:spcAft>
            </a:pPr>
            <a:r>
              <a:rPr lang="en-GB" sz="1400" kern="1200" dirty="0"/>
              <a:t>Name Example</a:t>
            </a:r>
          </a:p>
        </p:txBody>
      </p:sp>
      <p:sp>
        <p:nvSpPr>
          <p:cNvPr id="25" name="Freeform 24"/>
          <p:cNvSpPr/>
          <p:nvPr/>
        </p:nvSpPr>
        <p:spPr>
          <a:xfrm>
            <a:off x="6595523" y="4529443"/>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GB" sz="1400" kern="1200" dirty="0">
                <a:solidFill>
                  <a:schemeClr val="bg1"/>
                </a:solidFill>
                <a:latin typeface="+mj-lt"/>
                <a:ea typeface="+mn-ea"/>
                <a:cs typeface="+mn-cs"/>
              </a:rPr>
              <a:t>Assistant</a:t>
            </a:r>
          </a:p>
          <a:p>
            <a:pPr lvl="0" algn="ctr" defTabSz="622300">
              <a:lnSpc>
                <a:spcPct val="90000"/>
              </a:lnSpc>
              <a:spcBef>
                <a:spcPct val="0"/>
              </a:spcBef>
              <a:spcAft>
                <a:spcPct val="35000"/>
              </a:spcAft>
            </a:pPr>
            <a:r>
              <a:rPr lang="en-GB" sz="1400" kern="1200" dirty="0"/>
              <a:t>Name Example</a:t>
            </a:r>
          </a:p>
        </p:txBody>
      </p:sp>
      <p:sp>
        <p:nvSpPr>
          <p:cNvPr id="26" name="Freeform 25"/>
          <p:cNvSpPr/>
          <p:nvPr/>
        </p:nvSpPr>
        <p:spPr>
          <a:xfrm>
            <a:off x="7095756" y="2528512"/>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GB" sz="1400" kern="1200" dirty="0">
                <a:solidFill>
                  <a:schemeClr val="bg1"/>
                </a:solidFill>
                <a:latin typeface="+mj-lt"/>
                <a:ea typeface="+mn-ea"/>
                <a:cs typeface="+mn-cs"/>
              </a:rPr>
              <a:t>Manager</a:t>
            </a:r>
          </a:p>
          <a:p>
            <a:pPr lvl="0" algn="ctr" defTabSz="622300">
              <a:lnSpc>
                <a:spcPct val="90000"/>
              </a:lnSpc>
              <a:spcBef>
                <a:spcPct val="0"/>
              </a:spcBef>
              <a:spcAft>
                <a:spcPct val="35000"/>
              </a:spcAft>
            </a:pPr>
            <a:r>
              <a:rPr lang="en-GB" sz="1400" kern="1200" dirty="0"/>
              <a:t>Name Example</a:t>
            </a:r>
          </a:p>
        </p:txBody>
      </p:sp>
      <p:sp>
        <p:nvSpPr>
          <p:cNvPr id="27" name="Freeform 26"/>
          <p:cNvSpPr/>
          <p:nvPr/>
        </p:nvSpPr>
        <p:spPr>
          <a:xfrm>
            <a:off x="8800774" y="2528512"/>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US" altLang="en-US" sz="1400" kern="1200" dirty="0">
                <a:solidFill>
                  <a:schemeClr val="bg1"/>
                </a:solidFill>
                <a:latin typeface="+mj-lt"/>
                <a:ea typeface="+mn-ea"/>
                <a:cs typeface="+mn-cs"/>
              </a:rPr>
              <a:t>Manager</a:t>
            </a:r>
          </a:p>
          <a:p>
            <a:pPr lvl="0" algn="ctr" defTabSz="622300">
              <a:lnSpc>
                <a:spcPct val="90000"/>
              </a:lnSpc>
              <a:spcBef>
                <a:spcPct val="0"/>
              </a:spcBef>
              <a:spcAft>
                <a:spcPct val="35000"/>
              </a:spcAft>
            </a:pPr>
            <a:r>
              <a:rPr lang="en-US" altLang="en-US" sz="1400" b="0" kern="1200" dirty="0">
                <a:solidFill>
                  <a:schemeClr val="bg1"/>
                </a:solidFill>
              </a:rPr>
              <a:t>Name Example</a:t>
            </a:r>
          </a:p>
        </p:txBody>
      </p:sp>
      <p:sp>
        <p:nvSpPr>
          <p:cNvPr id="28" name="Freeform 27"/>
          <p:cNvSpPr/>
          <p:nvPr/>
        </p:nvSpPr>
        <p:spPr>
          <a:xfrm>
            <a:off x="9153050" y="3528978"/>
            <a:ext cx="1409105" cy="704552"/>
          </a:xfrm>
          <a:custGeom>
            <a:avLst/>
            <a:gdLst>
              <a:gd name="connsiteX0" fmla="*/ 0 w 1409105"/>
              <a:gd name="connsiteY0" fmla="*/ 0 h 704552"/>
              <a:gd name="connsiteX1" fmla="*/ 1409105 w 1409105"/>
              <a:gd name="connsiteY1" fmla="*/ 0 h 704552"/>
              <a:gd name="connsiteX2" fmla="*/ 1409105 w 1409105"/>
              <a:gd name="connsiteY2" fmla="*/ 704552 h 704552"/>
              <a:gd name="connsiteX3" fmla="*/ 0 w 1409105"/>
              <a:gd name="connsiteY3" fmla="*/ 704552 h 704552"/>
              <a:gd name="connsiteX4" fmla="*/ 0 w 1409105"/>
              <a:gd name="connsiteY4" fmla="*/ 0 h 704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05" h="704552">
                <a:moveTo>
                  <a:pt x="0" y="0"/>
                </a:moveTo>
                <a:lnTo>
                  <a:pt x="1409105" y="0"/>
                </a:lnTo>
                <a:lnTo>
                  <a:pt x="1409105" y="704552"/>
                </a:lnTo>
                <a:lnTo>
                  <a:pt x="0" y="704552"/>
                </a:lnTo>
                <a:lnTo>
                  <a:pt x="0" y="0"/>
                </a:lnTo>
                <a:close/>
              </a:path>
            </a:pathLst>
          </a:custGeom>
          <a:ln>
            <a:no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marL="0" lvl="0" algn="ctr" defTabSz="1219170" rtl="0" eaLnBrk="1" latinLnBrk="0" hangingPunct="1">
              <a:lnSpc>
                <a:spcPct val="100000"/>
              </a:lnSpc>
              <a:spcBef>
                <a:spcPct val="0"/>
              </a:spcBef>
              <a:spcAft>
                <a:spcPct val="0"/>
              </a:spcAft>
              <a:buClrTx/>
              <a:buNone/>
            </a:pPr>
            <a:r>
              <a:rPr lang="en-GB" sz="1400" kern="1200" dirty="0">
                <a:solidFill>
                  <a:schemeClr val="bg1"/>
                </a:solidFill>
                <a:latin typeface="+mj-lt"/>
                <a:ea typeface="+mn-ea"/>
                <a:cs typeface="+mn-cs"/>
              </a:rPr>
              <a:t>Assistant</a:t>
            </a:r>
          </a:p>
          <a:p>
            <a:pPr lvl="0" algn="ctr" defTabSz="622300">
              <a:lnSpc>
                <a:spcPct val="90000"/>
              </a:lnSpc>
              <a:spcBef>
                <a:spcPct val="0"/>
              </a:spcBef>
              <a:spcAft>
                <a:spcPct val="35000"/>
              </a:spcAft>
            </a:pPr>
            <a:r>
              <a:rPr lang="en-GB" sz="1400" kern="1200" dirty="0"/>
              <a:t>Name Example</a:t>
            </a:r>
          </a:p>
        </p:txBody>
      </p:sp>
    </p:spTree>
    <p:extLst>
      <p:ext uri="{BB962C8B-B14F-4D97-AF65-F5344CB8AC3E}">
        <p14:creationId xmlns:p14="http://schemas.microsoft.com/office/powerpoint/2010/main" val="655182448"/>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55" name="Rectangle 27"/>
          <p:cNvSpPr>
            <a:spLocks noGrp="1" noChangeArrowheads="1"/>
          </p:cNvSpPr>
          <p:nvPr>
            <p:ph type="title"/>
          </p:nvPr>
        </p:nvSpPr>
        <p:spPr/>
        <p:txBody>
          <a:bodyPr/>
          <a:lstStyle/>
          <a:p>
            <a:pPr lvl="0"/>
            <a:r>
              <a:rPr lang="en-GB"/>
              <a:t>Sample flow chart</a:t>
            </a:r>
          </a:p>
        </p:txBody>
      </p:sp>
      <p:sp>
        <p:nvSpPr>
          <p:cNvPr id="48130" name="Rectangle 2"/>
          <p:cNvSpPr>
            <a:spLocks noChangeArrowheads="1"/>
          </p:cNvSpPr>
          <p:nvPr/>
        </p:nvSpPr>
        <p:spPr bwMode="gray">
          <a:xfrm>
            <a:off x="7144039" y="3608879"/>
            <a:ext cx="1566018"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a:spcBef>
                <a:spcPct val="0"/>
              </a:spcBef>
              <a:spcAft>
                <a:spcPct val="0"/>
              </a:spcAft>
            </a:pPr>
            <a:r>
              <a:rPr lang="en-GB" sz="1400" dirty="0">
                <a:cs typeface="Arial" charset="0"/>
              </a:rPr>
              <a:t>Title or details here</a:t>
            </a:r>
          </a:p>
        </p:txBody>
      </p:sp>
      <p:sp>
        <p:nvSpPr>
          <p:cNvPr id="48131" name="Rectangle 3"/>
          <p:cNvSpPr>
            <a:spLocks noChangeArrowheads="1"/>
          </p:cNvSpPr>
          <p:nvPr/>
        </p:nvSpPr>
        <p:spPr bwMode="gray">
          <a:xfrm>
            <a:off x="8848187" y="3595289"/>
            <a:ext cx="1564292"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a:spcBef>
                <a:spcPct val="0"/>
              </a:spcBef>
              <a:spcAft>
                <a:spcPct val="0"/>
              </a:spcAft>
            </a:pPr>
            <a:r>
              <a:rPr lang="en-GB" sz="1400" dirty="0">
                <a:cs typeface="Arial" charset="0"/>
              </a:rPr>
              <a:t>Title or details here</a:t>
            </a:r>
          </a:p>
        </p:txBody>
      </p:sp>
      <p:sp>
        <p:nvSpPr>
          <p:cNvPr id="48132" name="Rectangle 4"/>
          <p:cNvSpPr>
            <a:spLocks noChangeArrowheads="1"/>
          </p:cNvSpPr>
          <p:nvPr/>
        </p:nvSpPr>
        <p:spPr bwMode="gray">
          <a:xfrm>
            <a:off x="1807146" y="3596987"/>
            <a:ext cx="1564292"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eaLnBrk="0" hangingPunct="0">
              <a:spcBef>
                <a:spcPct val="0"/>
              </a:spcBef>
              <a:spcAft>
                <a:spcPct val="0"/>
              </a:spcAft>
            </a:pPr>
            <a:r>
              <a:rPr lang="en-GB" sz="1400" dirty="0">
                <a:cs typeface="Arial" charset="0"/>
              </a:rPr>
              <a:t>Title or details here</a:t>
            </a:r>
          </a:p>
        </p:txBody>
      </p:sp>
      <p:sp>
        <p:nvSpPr>
          <p:cNvPr id="48133" name="Rectangle 5"/>
          <p:cNvSpPr>
            <a:spLocks noChangeArrowheads="1"/>
          </p:cNvSpPr>
          <p:nvPr/>
        </p:nvSpPr>
        <p:spPr bwMode="gray">
          <a:xfrm>
            <a:off x="3495753" y="3595289"/>
            <a:ext cx="1564292"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a:spcBef>
                <a:spcPct val="0"/>
              </a:spcBef>
              <a:spcAft>
                <a:spcPct val="0"/>
              </a:spcAft>
            </a:pPr>
            <a:r>
              <a:rPr lang="en-GB" sz="1400" dirty="0">
                <a:cs typeface="Arial" charset="0"/>
              </a:rPr>
              <a:t>Title or details here</a:t>
            </a:r>
          </a:p>
        </p:txBody>
      </p:sp>
      <p:sp>
        <p:nvSpPr>
          <p:cNvPr id="48139" name="Line 11"/>
          <p:cNvSpPr>
            <a:spLocks noChangeShapeType="1"/>
          </p:cNvSpPr>
          <p:nvPr/>
        </p:nvSpPr>
        <p:spPr bwMode="gray">
          <a:xfrm>
            <a:off x="6113265" y="1935509"/>
            <a:ext cx="0" cy="3384115"/>
          </a:xfrm>
          <a:prstGeom prst="line">
            <a:avLst/>
          </a:prstGeom>
          <a:noFill/>
          <a:ln w="9525">
            <a:solidFill>
              <a:schemeClr val="accent1"/>
            </a:solidFill>
            <a:round/>
            <a:headEnd/>
            <a:tailEnd/>
          </a:ln>
        </p:spPr>
        <p:txBody>
          <a:bodyPr/>
          <a:lstStyle/>
          <a:p>
            <a:endParaRPr lang="en-US" sz="1400"/>
          </a:p>
        </p:txBody>
      </p:sp>
      <p:sp>
        <p:nvSpPr>
          <p:cNvPr id="48140" name="Rectangle 12"/>
          <p:cNvSpPr>
            <a:spLocks noChangeArrowheads="1"/>
          </p:cNvSpPr>
          <p:nvPr/>
        </p:nvSpPr>
        <p:spPr bwMode="gray">
          <a:xfrm>
            <a:off x="4921917" y="1527783"/>
            <a:ext cx="2348165" cy="423013"/>
          </a:xfrm>
          <a:prstGeom prst="rect">
            <a:avLst/>
          </a:prstGeom>
          <a:solidFill>
            <a:schemeClr val="tx2"/>
          </a:solidFill>
          <a:ln w="9525">
            <a:noFill/>
            <a:miter lim="800000"/>
            <a:headEnd/>
            <a:tailEnd/>
          </a:ln>
        </p:spPr>
        <p:txBody>
          <a:bodyPr wrap="none" lIns="91417" tIns="45709" rIns="91417" bIns="45709" anchor="ctr"/>
          <a:lstStyle/>
          <a:p>
            <a:pPr algn="ctr">
              <a:spcBef>
                <a:spcPct val="0"/>
              </a:spcBef>
              <a:spcAft>
                <a:spcPct val="0"/>
              </a:spcAft>
            </a:pPr>
            <a:r>
              <a:rPr lang="en-GB" sz="1400" dirty="0">
                <a:solidFill>
                  <a:schemeClr val="bg1"/>
                </a:solidFill>
                <a:latin typeface="+mj-lt"/>
              </a:rPr>
              <a:t>Title group name</a:t>
            </a:r>
          </a:p>
        </p:txBody>
      </p:sp>
      <p:sp>
        <p:nvSpPr>
          <p:cNvPr id="48141" name="Rectangle 13"/>
          <p:cNvSpPr>
            <a:spLocks noChangeArrowheads="1"/>
          </p:cNvSpPr>
          <p:nvPr/>
        </p:nvSpPr>
        <p:spPr bwMode="gray">
          <a:xfrm>
            <a:off x="4901198" y="2146167"/>
            <a:ext cx="2382696" cy="494366"/>
          </a:xfrm>
          <a:prstGeom prst="rect">
            <a:avLst/>
          </a:prstGeom>
          <a:solidFill>
            <a:schemeClr val="tx2"/>
          </a:solidFill>
          <a:ln w="9525">
            <a:noFill/>
            <a:miter lim="800000"/>
            <a:headEnd/>
            <a:tailEnd/>
          </a:ln>
        </p:spPr>
        <p:txBody>
          <a:bodyPr wrap="none" lIns="91417" tIns="45709" rIns="91417" bIns="45709" anchor="ctr"/>
          <a:lstStyle/>
          <a:p>
            <a:pPr algn="ctr">
              <a:spcBef>
                <a:spcPct val="0"/>
              </a:spcBef>
              <a:spcAft>
                <a:spcPct val="0"/>
              </a:spcAft>
            </a:pPr>
            <a:r>
              <a:rPr lang="en-GB" sz="1400" dirty="0">
                <a:solidFill>
                  <a:schemeClr val="bg1"/>
                </a:solidFill>
                <a:latin typeface="+mj-lt"/>
              </a:rPr>
              <a:t>Name here</a:t>
            </a:r>
          </a:p>
          <a:p>
            <a:pPr algn="ctr" defTabSz="912813">
              <a:spcBef>
                <a:spcPct val="0"/>
              </a:spcBef>
              <a:spcAft>
                <a:spcPct val="0"/>
              </a:spcAft>
            </a:pPr>
            <a:r>
              <a:rPr lang="en-GB" sz="1400" dirty="0">
                <a:solidFill>
                  <a:srgbClr val="FFFFFF"/>
                </a:solidFill>
                <a:cs typeface="Arial" charset="0"/>
              </a:rPr>
              <a:t>Title or details here</a:t>
            </a:r>
          </a:p>
        </p:txBody>
      </p:sp>
      <p:sp>
        <p:nvSpPr>
          <p:cNvPr id="48142" name="Rectangle 14"/>
          <p:cNvSpPr>
            <a:spLocks noChangeArrowheads="1"/>
          </p:cNvSpPr>
          <p:nvPr/>
        </p:nvSpPr>
        <p:spPr bwMode="gray">
          <a:xfrm>
            <a:off x="1572330" y="5426651"/>
            <a:ext cx="1695513"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a:spcBef>
                <a:spcPct val="0"/>
              </a:spcBef>
              <a:spcAft>
                <a:spcPct val="0"/>
              </a:spcAft>
            </a:pPr>
            <a:r>
              <a:rPr lang="en-GB" sz="1400" dirty="0">
                <a:cs typeface="Arial" charset="0"/>
              </a:rPr>
              <a:t>Title or details here</a:t>
            </a:r>
          </a:p>
        </p:txBody>
      </p:sp>
      <p:sp>
        <p:nvSpPr>
          <p:cNvPr id="48143" name="Rectangle 15"/>
          <p:cNvSpPr>
            <a:spLocks noChangeArrowheads="1"/>
          </p:cNvSpPr>
          <p:nvPr/>
        </p:nvSpPr>
        <p:spPr bwMode="gray">
          <a:xfrm>
            <a:off x="3415036" y="5426651"/>
            <a:ext cx="1681700"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a:spcBef>
                <a:spcPct val="0"/>
              </a:spcBef>
              <a:spcAft>
                <a:spcPct val="0"/>
              </a:spcAft>
            </a:pPr>
            <a:r>
              <a:rPr lang="en-GB" sz="1400" dirty="0">
                <a:cs typeface="Arial" charset="0"/>
              </a:rPr>
              <a:t>Title or details here</a:t>
            </a:r>
          </a:p>
        </p:txBody>
      </p:sp>
      <p:sp>
        <p:nvSpPr>
          <p:cNvPr id="48144" name="Rectangle 16"/>
          <p:cNvSpPr>
            <a:spLocks noChangeArrowheads="1"/>
          </p:cNvSpPr>
          <p:nvPr/>
        </p:nvSpPr>
        <p:spPr bwMode="gray">
          <a:xfrm>
            <a:off x="5243928" y="5426651"/>
            <a:ext cx="1693786"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a:spcBef>
                <a:spcPct val="0"/>
              </a:spcBef>
              <a:spcAft>
                <a:spcPct val="0"/>
              </a:spcAft>
            </a:pPr>
            <a:r>
              <a:rPr lang="en-GB" sz="1400" dirty="0">
                <a:cs typeface="Arial" charset="0"/>
              </a:rPr>
              <a:t>Title or details here</a:t>
            </a:r>
          </a:p>
        </p:txBody>
      </p:sp>
      <p:sp>
        <p:nvSpPr>
          <p:cNvPr id="48145" name="Rectangle 17"/>
          <p:cNvSpPr>
            <a:spLocks noChangeArrowheads="1"/>
          </p:cNvSpPr>
          <p:nvPr/>
        </p:nvSpPr>
        <p:spPr bwMode="gray">
          <a:xfrm>
            <a:off x="7084907" y="5426651"/>
            <a:ext cx="1693786"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a:spcBef>
                <a:spcPct val="0"/>
              </a:spcBef>
              <a:spcAft>
                <a:spcPct val="0"/>
              </a:spcAft>
            </a:pPr>
            <a:r>
              <a:rPr lang="en-GB" sz="1400" dirty="0">
                <a:cs typeface="Arial" charset="0"/>
              </a:rPr>
              <a:t>Title or details here</a:t>
            </a:r>
          </a:p>
        </p:txBody>
      </p:sp>
      <p:sp>
        <p:nvSpPr>
          <p:cNvPr id="48146" name="Rectangle 18"/>
          <p:cNvSpPr>
            <a:spLocks noChangeArrowheads="1"/>
          </p:cNvSpPr>
          <p:nvPr/>
        </p:nvSpPr>
        <p:spPr bwMode="gray">
          <a:xfrm>
            <a:off x="8925884" y="5426651"/>
            <a:ext cx="1693786" cy="669348"/>
          </a:xfrm>
          <a:prstGeom prst="rect">
            <a:avLst/>
          </a:prstGeom>
          <a:solidFill>
            <a:schemeClr val="bg2"/>
          </a:solidFill>
          <a:ln w="9525">
            <a:noFill/>
            <a:miter lim="800000"/>
            <a:headEnd/>
            <a:tailEnd/>
          </a:ln>
        </p:spPr>
        <p:txBody>
          <a:bodyPr wrap="none" lIns="91417" tIns="45709" rIns="91417" bIns="45709" anchor="ctr"/>
          <a:lstStyle/>
          <a:p>
            <a:pPr algn="ctr" defTabSz="912813" eaLnBrk="0" hangingPunct="0">
              <a:spcBef>
                <a:spcPct val="0"/>
              </a:spcBef>
              <a:spcAft>
                <a:spcPct val="0"/>
              </a:spcAft>
            </a:pPr>
            <a:r>
              <a:rPr lang="en-GB" sz="1400" dirty="0">
                <a:latin typeface="+mj-lt"/>
                <a:cs typeface="Arial" charset="0"/>
              </a:rPr>
              <a:t>Name here</a:t>
            </a:r>
          </a:p>
          <a:p>
            <a:pPr algn="ctr" defTabSz="912813">
              <a:spcBef>
                <a:spcPct val="0"/>
              </a:spcBef>
              <a:spcAft>
                <a:spcPct val="0"/>
              </a:spcAft>
            </a:pPr>
            <a:r>
              <a:rPr lang="en-GB" sz="1400" dirty="0">
                <a:cs typeface="Arial" charset="0"/>
              </a:rPr>
              <a:t>Title or details here</a:t>
            </a:r>
          </a:p>
        </p:txBody>
      </p:sp>
      <p:sp>
        <p:nvSpPr>
          <p:cNvPr id="48147" name="Line 19"/>
          <p:cNvSpPr>
            <a:spLocks noChangeShapeType="1"/>
          </p:cNvSpPr>
          <p:nvPr/>
        </p:nvSpPr>
        <p:spPr bwMode="gray">
          <a:xfrm>
            <a:off x="5546943" y="1373188"/>
            <a:ext cx="0" cy="0"/>
          </a:xfrm>
          <a:prstGeom prst="line">
            <a:avLst/>
          </a:prstGeom>
          <a:noFill/>
          <a:ln w="9525">
            <a:solidFill>
              <a:schemeClr val="tx1"/>
            </a:solidFill>
            <a:round/>
            <a:headEnd/>
            <a:tailEnd/>
          </a:ln>
        </p:spPr>
        <p:txBody>
          <a:bodyPr/>
          <a:lstStyle/>
          <a:p>
            <a:endParaRPr lang="en-US" sz="1400"/>
          </a:p>
        </p:txBody>
      </p:sp>
      <p:cxnSp>
        <p:nvCxnSpPr>
          <p:cNvPr id="5" name="Elbow Connector 4"/>
          <p:cNvCxnSpPr>
            <a:stCxn id="48142" idx="0"/>
            <a:endCxn id="48146" idx="0"/>
          </p:cNvCxnSpPr>
          <p:nvPr/>
        </p:nvCxnSpPr>
        <p:spPr>
          <a:xfrm rot="5400000" flipH="1" flipV="1">
            <a:off x="6096542" y="1750306"/>
            <a:ext cx="13591" cy="7352691"/>
          </a:xfrm>
          <a:prstGeom prst="bentConnector3">
            <a:avLst>
              <a:gd name="adj1" fmla="val 180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Elbow Connector 6"/>
          <p:cNvCxnSpPr>
            <a:stCxn id="48143" idx="0"/>
            <a:endCxn id="48145" idx="0"/>
          </p:cNvCxnSpPr>
          <p:nvPr/>
        </p:nvCxnSpPr>
        <p:spPr>
          <a:xfrm rot="5400000" flipH="1" flipV="1">
            <a:off x="6093953" y="3588693"/>
            <a:ext cx="13591" cy="3675914"/>
          </a:xfrm>
          <a:prstGeom prst="bentConnector3">
            <a:avLst>
              <a:gd name="adj1" fmla="val 180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8150" name="Text Box 22"/>
          <p:cNvSpPr txBox="1">
            <a:spLocks noChangeArrowheads="1"/>
          </p:cNvSpPr>
          <p:nvPr/>
        </p:nvSpPr>
        <p:spPr bwMode="gray">
          <a:xfrm>
            <a:off x="5158459" y="4736917"/>
            <a:ext cx="1907882" cy="518803"/>
          </a:xfrm>
          <a:prstGeom prst="rect">
            <a:avLst/>
          </a:prstGeom>
          <a:solidFill>
            <a:srgbClr val="FFFFFF"/>
          </a:solidFill>
          <a:ln w="9525" algn="ctr">
            <a:noFill/>
            <a:miter lim="800000"/>
            <a:headEnd/>
            <a:tailEnd/>
          </a:ln>
        </p:spPr>
        <p:txBody>
          <a:bodyPr lIns="87072" tIns="43533" rIns="87072" bIns="43533">
            <a:spAutoFit/>
          </a:bodyPr>
          <a:lstStyle/>
          <a:p>
            <a:pPr algn="ctr" defTabSz="873125">
              <a:spcBef>
                <a:spcPct val="0"/>
              </a:spcBef>
              <a:spcAft>
                <a:spcPct val="0"/>
              </a:spcAft>
              <a:buClr>
                <a:srgbClr val="70BD1E"/>
              </a:buClr>
              <a:buSzPct val="90000"/>
            </a:pPr>
            <a:r>
              <a:rPr lang="en-GB" sz="1400" b="1" dirty="0">
                <a:cs typeface="Arial" charset="0"/>
              </a:rPr>
              <a:t>National/Regional Directors</a:t>
            </a:r>
          </a:p>
        </p:txBody>
      </p:sp>
      <p:cxnSp>
        <p:nvCxnSpPr>
          <p:cNvPr id="9" name="Elbow Connector 8"/>
          <p:cNvCxnSpPr>
            <a:stCxn id="48132" idx="0"/>
            <a:endCxn id="48131" idx="0"/>
          </p:cNvCxnSpPr>
          <p:nvPr/>
        </p:nvCxnSpPr>
        <p:spPr>
          <a:xfrm rot="5400000" flipH="1" flipV="1">
            <a:off x="6108964" y="75619"/>
            <a:ext cx="1698" cy="7041041"/>
          </a:xfrm>
          <a:prstGeom prst="bentConnector3">
            <a:avLst>
              <a:gd name="adj1" fmla="val 14504537"/>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48133" idx="0"/>
            <a:endCxn id="48130" idx="0"/>
          </p:cNvCxnSpPr>
          <p:nvPr/>
        </p:nvCxnSpPr>
        <p:spPr>
          <a:xfrm rot="16200000" flipH="1">
            <a:off x="6095678" y="1777508"/>
            <a:ext cx="13591" cy="3649150"/>
          </a:xfrm>
          <a:prstGeom prst="bentConnector3">
            <a:avLst>
              <a:gd name="adj1" fmla="val -180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8149" name="Text Box 21"/>
          <p:cNvSpPr txBox="1">
            <a:spLocks noChangeArrowheads="1"/>
          </p:cNvSpPr>
          <p:nvPr/>
        </p:nvSpPr>
        <p:spPr bwMode="gray">
          <a:xfrm>
            <a:off x="5581476" y="3058451"/>
            <a:ext cx="1060127" cy="518803"/>
          </a:xfrm>
          <a:prstGeom prst="rect">
            <a:avLst/>
          </a:prstGeom>
          <a:solidFill>
            <a:srgbClr val="FFFFFF"/>
          </a:solidFill>
          <a:ln w="9525" algn="ctr">
            <a:noFill/>
            <a:miter lim="800000"/>
            <a:headEnd/>
            <a:tailEnd/>
          </a:ln>
        </p:spPr>
        <p:txBody>
          <a:bodyPr lIns="87072" tIns="43533" rIns="87072" bIns="43533">
            <a:spAutoFit/>
          </a:bodyPr>
          <a:lstStyle/>
          <a:p>
            <a:pPr algn="ctr" defTabSz="873125">
              <a:spcBef>
                <a:spcPct val="0"/>
              </a:spcBef>
              <a:spcAft>
                <a:spcPct val="0"/>
              </a:spcAft>
              <a:buClr>
                <a:srgbClr val="70BD1E"/>
              </a:buClr>
              <a:buSzPct val="90000"/>
            </a:pPr>
            <a:r>
              <a:rPr lang="en-GB" sz="1400" b="1" dirty="0">
                <a:cs typeface="Arial" charset="0"/>
              </a:rPr>
              <a:t>UK Office Directors</a:t>
            </a:r>
          </a:p>
        </p:txBody>
      </p:sp>
    </p:spTree>
    <p:extLst>
      <p:ext uri="{BB962C8B-B14F-4D97-AF65-F5344CB8AC3E}">
        <p14:creationId xmlns:p14="http://schemas.microsoft.com/office/powerpoint/2010/main" val="135340633"/>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p:txBody>
          <a:bodyPr/>
          <a:lstStyle/>
          <a:p>
            <a:pPr lvl="0"/>
            <a:r>
              <a:rPr lang="en-GB"/>
              <a:t>Bubble diagram</a:t>
            </a:r>
          </a:p>
        </p:txBody>
      </p:sp>
      <p:grpSp>
        <p:nvGrpSpPr>
          <p:cNvPr id="2" name="Group 1"/>
          <p:cNvGrpSpPr/>
          <p:nvPr/>
        </p:nvGrpSpPr>
        <p:grpSpPr>
          <a:xfrm>
            <a:off x="2353326" y="1580215"/>
            <a:ext cx="7485348" cy="4779310"/>
            <a:chOff x="2755900" y="1514763"/>
            <a:chExt cx="6399390" cy="4085938"/>
          </a:xfrm>
        </p:grpSpPr>
        <p:sp>
          <p:nvSpPr>
            <p:cNvPr id="49156" name="Oval 4"/>
            <p:cNvSpPr>
              <a:spLocks noChangeArrowheads="1"/>
            </p:cNvSpPr>
            <p:nvPr/>
          </p:nvSpPr>
          <p:spPr bwMode="gray">
            <a:xfrm>
              <a:off x="5081440" y="3114987"/>
              <a:ext cx="1909995" cy="1214902"/>
            </a:xfrm>
            <a:prstGeom prst="ellipse">
              <a:avLst/>
            </a:prstGeom>
            <a:solidFill>
              <a:schemeClr val="tx2"/>
            </a:solidFill>
            <a:ln w="9525">
              <a:noFill/>
              <a:round/>
              <a:headEnd/>
              <a:tailEnd/>
            </a:ln>
          </p:spPr>
          <p:txBody>
            <a:bodyPr lIns="80165" tIns="40083" rIns="80165" bIns="40083" anchor="ctr"/>
            <a:lstStyle/>
            <a:p>
              <a:pPr algn="ctr" defTabSz="801688">
                <a:spcBef>
                  <a:spcPct val="0"/>
                </a:spcBef>
                <a:spcAft>
                  <a:spcPct val="0"/>
                </a:spcAft>
              </a:pPr>
              <a:r>
                <a:rPr lang="en-GB" sz="1600" dirty="0">
                  <a:solidFill>
                    <a:srgbClr val="FFFFFF"/>
                  </a:solidFill>
                  <a:latin typeface="+mj-lt"/>
                </a:rPr>
                <a:t>Key point can appear here</a:t>
              </a:r>
            </a:p>
          </p:txBody>
        </p:sp>
        <p:sp>
          <p:nvSpPr>
            <p:cNvPr id="49157" name="Oval 5"/>
            <p:cNvSpPr>
              <a:spLocks noChangeArrowheads="1"/>
            </p:cNvSpPr>
            <p:nvPr/>
          </p:nvSpPr>
          <p:spPr bwMode="gray">
            <a:xfrm>
              <a:off x="2755900" y="3257028"/>
              <a:ext cx="1864662" cy="894554"/>
            </a:xfrm>
            <a:prstGeom prst="ellipse">
              <a:avLst/>
            </a:prstGeom>
            <a:solidFill>
              <a:schemeClr val="bg2"/>
            </a:solidFill>
            <a:ln w="9525">
              <a:noFill/>
              <a:round/>
              <a:headEnd/>
              <a:tailEnd/>
            </a:ln>
          </p:spPr>
          <p:txBody>
            <a:bodyPr lIns="80165" tIns="40083" rIns="80165" bIns="40083" anchor="ctr"/>
            <a:lstStyle/>
            <a:p>
              <a:pPr algn="ctr" defTabSz="801688">
                <a:spcBef>
                  <a:spcPct val="0"/>
                </a:spcBef>
                <a:spcAft>
                  <a:spcPct val="0"/>
                </a:spcAft>
              </a:pPr>
              <a:r>
                <a:rPr lang="en-GB" sz="1400"/>
                <a:t>Details can appear here</a:t>
              </a:r>
            </a:p>
          </p:txBody>
        </p:sp>
        <p:sp>
          <p:nvSpPr>
            <p:cNvPr id="49158" name="Oval 6"/>
            <p:cNvSpPr>
              <a:spLocks noChangeArrowheads="1"/>
            </p:cNvSpPr>
            <p:nvPr/>
          </p:nvSpPr>
          <p:spPr bwMode="gray">
            <a:xfrm>
              <a:off x="3064159" y="4231670"/>
              <a:ext cx="1894884" cy="1369031"/>
            </a:xfrm>
            <a:prstGeom prst="ellipse">
              <a:avLst/>
            </a:prstGeom>
            <a:solidFill>
              <a:schemeClr val="bg2"/>
            </a:solidFill>
            <a:ln w="9525">
              <a:noFill/>
              <a:round/>
              <a:headEnd/>
              <a:tailEnd/>
            </a:ln>
          </p:spPr>
          <p:txBody>
            <a:bodyPr lIns="80165" tIns="40083" rIns="80165" bIns="40083" anchor="ctr"/>
            <a:lstStyle/>
            <a:p>
              <a:pPr algn="ctr" defTabSz="801688">
                <a:spcBef>
                  <a:spcPct val="0"/>
                </a:spcBef>
                <a:spcAft>
                  <a:spcPct val="0"/>
                </a:spcAft>
              </a:pPr>
              <a:r>
                <a:rPr lang="en-GB" sz="1400"/>
                <a:t>Details can appear here</a:t>
              </a:r>
            </a:p>
          </p:txBody>
        </p:sp>
        <p:sp>
          <p:nvSpPr>
            <p:cNvPr id="49159" name="Oval 7"/>
            <p:cNvSpPr>
              <a:spLocks noChangeArrowheads="1"/>
            </p:cNvSpPr>
            <p:nvPr/>
          </p:nvSpPr>
          <p:spPr bwMode="gray">
            <a:xfrm>
              <a:off x="3195623" y="1514763"/>
              <a:ext cx="2686685" cy="1751333"/>
            </a:xfrm>
            <a:prstGeom prst="ellipse">
              <a:avLst/>
            </a:prstGeom>
            <a:solidFill>
              <a:schemeClr val="bg2"/>
            </a:solidFill>
            <a:ln w="9525">
              <a:noFill/>
              <a:round/>
              <a:headEnd/>
              <a:tailEnd/>
            </a:ln>
          </p:spPr>
          <p:txBody>
            <a:bodyPr lIns="80165" tIns="40083" rIns="80165" bIns="40083" anchor="ctr"/>
            <a:lstStyle/>
            <a:p>
              <a:pPr algn="ctr" defTabSz="801688">
                <a:spcBef>
                  <a:spcPct val="0"/>
                </a:spcBef>
                <a:spcAft>
                  <a:spcPct val="0"/>
                </a:spcAft>
              </a:pPr>
              <a:r>
                <a:rPr lang="en-GB" sz="1400" dirty="0">
                  <a:cs typeface="Arial" charset="0"/>
                </a:rPr>
                <a:t>Details can appear here</a:t>
              </a:r>
            </a:p>
          </p:txBody>
        </p:sp>
        <p:sp>
          <p:nvSpPr>
            <p:cNvPr id="49160" name="Oval 8"/>
            <p:cNvSpPr>
              <a:spLocks noChangeArrowheads="1"/>
            </p:cNvSpPr>
            <p:nvPr/>
          </p:nvSpPr>
          <p:spPr bwMode="gray">
            <a:xfrm>
              <a:off x="6973302" y="4018607"/>
              <a:ext cx="1938704" cy="849222"/>
            </a:xfrm>
            <a:prstGeom prst="ellipse">
              <a:avLst/>
            </a:prstGeom>
            <a:solidFill>
              <a:schemeClr val="bg2"/>
            </a:solidFill>
            <a:ln w="9525">
              <a:noFill/>
              <a:round/>
              <a:headEnd/>
              <a:tailEnd/>
            </a:ln>
          </p:spPr>
          <p:txBody>
            <a:bodyPr lIns="80165" tIns="40083" rIns="80165" bIns="40083" anchor="ctr"/>
            <a:lstStyle/>
            <a:p>
              <a:pPr algn="ctr" defTabSz="801688">
                <a:spcBef>
                  <a:spcPct val="0"/>
                </a:spcBef>
                <a:spcAft>
                  <a:spcPct val="0"/>
                </a:spcAft>
              </a:pPr>
              <a:r>
                <a:rPr lang="en-GB" sz="1400"/>
                <a:t>Details can appear here</a:t>
              </a:r>
            </a:p>
          </p:txBody>
        </p:sp>
        <p:sp>
          <p:nvSpPr>
            <p:cNvPr id="49161" name="Oval 9"/>
            <p:cNvSpPr>
              <a:spLocks noChangeArrowheads="1"/>
            </p:cNvSpPr>
            <p:nvPr/>
          </p:nvSpPr>
          <p:spPr bwMode="gray">
            <a:xfrm>
              <a:off x="5128283" y="4704635"/>
              <a:ext cx="2535578" cy="896065"/>
            </a:xfrm>
            <a:prstGeom prst="ellipse">
              <a:avLst/>
            </a:prstGeom>
            <a:solidFill>
              <a:schemeClr val="bg2"/>
            </a:solidFill>
            <a:ln w="9525">
              <a:noFill/>
              <a:round/>
              <a:headEnd/>
              <a:tailEnd/>
            </a:ln>
          </p:spPr>
          <p:txBody>
            <a:bodyPr lIns="80165" tIns="40083" rIns="80165" bIns="40083" anchor="ctr"/>
            <a:lstStyle/>
            <a:p>
              <a:pPr algn="ctr" defTabSz="801688">
                <a:spcBef>
                  <a:spcPct val="0"/>
                </a:spcBef>
                <a:spcAft>
                  <a:spcPct val="0"/>
                </a:spcAft>
              </a:pPr>
              <a:r>
                <a:rPr lang="en-GB" sz="1400"/>
                <a:t>Details can appear here</a:t>
              </a:r>
            </a:p>
          </p:txBody>
        </p:sp>
        <p:sp>
          <p:nvSpPr>
            <p:cNvPr id="49162" name="Oval 10"/>
            <p:cNvSpPr>
              <a:spLocks noChangeArrowheads="1"/>
            </p:cNvSpPr>
            <p:nvPr/>
          </p:nvSpPr>
          <p:spPr bwMode="gray">
            <a:xfrm>
              <a:off x="6087815" y="1688536"/>
              <a:ext cx="1793641" cy="1278367"/>
            </a:xfrm>
            <a:prstGeom prst="ellipse">
              <a:avLst/>
            </a:prstGeom>
            <a:solidFill>
              <a:schemeClr val="bg2"/>
            </a:solidFill>
            <a:ln w="9525">
              <a:noFill/>
              <a:round/>
              <a:headEnd/>
              <a:tailEnd/>
            </a:ln>
          </p:spPr>
          <p:txBody>
            <a:bodyPr lIns="80165" tIns="40083" rIns="80165" bIns="40083" anchor="ctr"/>
            <a:lstStyle/>
            <a:p>
              <a:pPr algn="ctr" defTabSz="801688">
                <a:spcBef>
                  <a:spcPct val="0"/>
                </a:spcBef>
                <a:spcAft>
                  <a:spcPct val="0"/>
                </a:spcAft>
              </a:pPr>
              <a:r>
                <a:rPr lang="en-GB" sz="1400"/>
                <a:t>Details can appear here</a:t>
              </a:r>
            </a:p>
          </p:txBody>
        </p:sp>
        <p:sp>
          <p:nvSpPr>
            <p:cNvPr id="49163" name="Oval 11"/>
            <p:cNvSpPr>
              <a:spLocks noChangeArrowheads="1"/>
            </p:cNvSpPr>
            <p:nvPr/>
          </p:nvSpPr>
          <p:spPr bwMode="gray">
            <a:xfrm>
              <a:off x="7361647" y="2675266"/>
              <a:ext cx="1793643" cy="1278367"/>
            </a:xfrm>
            <a:prstGeom prst="ellipse">
              <a:avLst/>
            </a:prstGeom>
            <a:solidFill>
              <a:schemeClr val="bg2"/>
            </a:solidFill>
            <a:ln w="9525">
              <a:noFill/>
              <a:round/>
              <a:headEnd/>
              <a:tailEnd/>
            </a:ln>
          </p:spPr>
          <p:txBody>
            <a:bodyPr lIns="80165" tIns="40083" rIns="80165" bIns="40083" anchor="ctr"/>
            <a:lstStyle/>
            <a:p>
              <a:pPr algn="ctr" defTabSz="801688">
                <a:spcBef>
                  <a:spcPct val="0"/>
                </a:spcBef>
                <a:spcAft>
                  <a:spcPct val="0"/>
                </a:spcAft>
              </a:pPr>
              <a:r>
                <a:rPr lang="en-GB" sz="1400"/>
                <a:t>Details can appear here</a:t>
              </a:r>
            </a:p>
          </p:txBody>
        </p:sp>
        <p:sp>
          <p:nvSpPr>
            <p:cNvPr id="49164" name="Line 12"/>
            <p:cNvSpPr>
              <a:spLocks noChangeShapeType="1"/>
            </p:cNvSpPr>
            <p:nvPr/>
          </p:nvSpPr>
          <p:spPr bwMode="gray">
            <a:xfrm flipH="1">
              <a:off x="6477671" y="2923081"/>
              <a:ext cx="89153" cy="222128"/>
            </a:xfrm>
            <a:prstGeom prst="line">
              <a:avLst/>
            </a:prstGeom>
            <a:noFill/>
            <a:ln w="12700">
              <a:solidFill>
                <a:schemeClr val="accent1"/>
              </a:solidFill>
              <a:round/>
              <a:headEnd/>
              <a:tailEnd type="triangle" w="med" len="med"/>
            </a:ln>
          </p:spPr>
          <p:txBody>
            <a:bodyPr/>
            <a:lstStyle/>
            <a:p>
              <a:endParaRPr lang="en-US" dirty="0">
                <a:latin typeface="Futura Medium" panose="00000400000000000000" pitchFamily="2" charset="0"/>
              </a:endParaRPr>
            </a:p>
          </p:txBody>
        </p:sp>
        <p:sp>
          <p:nvSpPr>
            <p:cNvPr id="49165" name="Line 13"/>
            <p:cNvSpPr>
              <a:spLocks noChangeShapeType="1"/>
            </p:cNvSpPr>
            <p:nvPr/>
          </p:nvSpPr>
          <p:spPr bwMode="gray">
            <a:xfrm flipH="1">
              <a:off x="6968768" y="3417203"/>
              <a:ext cx="382302" cy="86131"/>
            </a:xfrm>
            <a:prstGeom prst="line">
              <a:avLst/>
            </a:prstGeom>
            <a:noFill/>
            <a:ln w="12700">
              <a:solidFill>
                <a:schemeClr val="accent1"/>
              </a:solidFill>
              <a:round/>
              <a:headEnd/>
              <a:tailEnd type="triangle" w="med" len="med"/>
            </a:ln>
          </p:spPr>
          <p:txBody>
            <a:bodyPr/>
            <a:lstStyle/>
            <a:p>
              <a:endParaRPr lang="en-US" dirty="0">
                <a:latin typeface="Futura Medium" panose="00000400000000000000" pitchFamily="2" charset="0"/>
              </a:endParaRPr>
            </a:p>
          </p:txBody>
        </p:sp>
        <p:sp>
          <p:nvSpPr>
            <p:cNvPr id="49166" name="Line 14"/>
            <p:cNvSpPr>
              <a:spLocks noChangeShapeType="1"/>
            </p:cNvSpPr>
            <p:nvPr/>
          </p:nvSpPr>
          <p:spPr bwMode="gray">
            <a:xfrm flipH="1" flipV="1">
              <a:off x="6903793" y="4001986"/>
              <a:ext cx="261415" cy="135996"/>
            </a:xfrm>
            <a:prstGeom prst="line">
              <a:avLst/>
            </a:prstGeom>
            <a:noFill/>
            <a:ln w="12700">
              <a:solidFill>
                <a:schemeClr val="accent1"/>
              </a:solidFill>
              <a:round/>
              <a:headEnd/>
              <a:tailEnd type="triangle" w="med" len="med"/>
            </a:ln>
          </p:spPr>
          <p:txBody>
            <a:bodyPr/>
            <a:lstStyle/>
            <a:p>
              <a:endParaRPr lang="en-US" dirty="0">
                <a:latin typeface="Futura Medium" panose="00000400000000000000" pitchFamily="2" charset="0"/>
              </a:endParaRPr>
            </a:p>
          </p:txBody>
        </p:sp>
        <p:sp>
          <p:nvSpPr>
            <p:cNvPr id="49167" name="Line 15"/>
            <p:cNvSpPr>
              <a:spLocks noChangeShapeType="1"/>
            </p:cNvSpPr>
            <p:nvPr/>
          </p:nvSpPr>
          <p:spPr bwMode="gray">
            <a:xfrm flipH="1" flipV="1">
              <a:off x="6223811" y="4348022"/>
              <a:ext cx="69509" cy="288614"/>
            </a:xfrm>
            <a:prstGeom prst="line">
              <a:avLst/>
            </a:prstGeom>
            <a:noFill/>
            <a:ln w="12700">
              <a:solidFill>
                <a:schemeClr val="accent1"/>
              </a:solidFill>
              <a:round/>
              <a:headEnd/>
              <a:tailEnd type="triangle" w="med" len="med"/>
            </a:ln>
          </p:spPr>
          <p:txBody>
            <a:bodyPr/>
            <a:lstStyle/>
            <a:p>
              <a:endParaRPr lang="en-US" dirty="0">
                <a:latin typeface="Futura Medium" panose="00000400000000000000" pitchFamily="2" charset="0"/>
              </a:endParaRPr>
            </a:p>
          </p:txBody>
        </p:sp>
        <p:sp>
          <p:nvSpPr>
            <p:cNvPr id="49168" name="Line 16"/>
            <p:cNvSpPr>
              <a:spLocks noChangeShapeType="1"/>
            </p:cNvSpPr>
            <p:nvPr/>
          </p:nvSpPr>
          <p:spPr bwMode="gray">
            <a:xfrm flipV="1">
              <a:off x="4742960" y="4092651"/>
              <a:ext cx="448788" cy="285593"/>
            </a:xfrm>
            <a:prstGeom prst="line">
              <a:avLst/>
            </a:prstGeom>
            <a:noFill/>
            <a:ln w="12700">
              <a:solidFill>
                <a:schemeClr val="accent1"/>
              </a:solidFill>
              <a:round/>
              <a:headEnd/>
              <a:tailEnd type="triangle" w="med" len="med"/>
            </a:ln>
          </p:spPr>
          <p:txBody>
            <a:bodyPr/>
            <a:lstStyle/>
            <a:p>
              <a:endParaRPr lang="en-US" dirty="0">
                <a:latin typeface="Futura Medium" panose="00000400000000000000" pitchFamily="2" charset="0"/>
              </a:endParaRPr>
            </a:p>
          </p:txBody>
        </p:sp>
        <p:sp>
          <p:nvSpPr>
            <p:cNvPr id="49169" name="Line 17"/>
            <p:cNvSpPr>
              <a:spLocks noChangeShapeType="1"/>
            </p:cNvSpPr>
            <p:nvPr/>
          </p:nvSpPr>
          <p:spPr bwMode="gray">
            <a:xfrm>
              <a:off x="4656828" y="3704305"/>
              <a:ext cx="388346" cy="31732"/>
            </a:xfrm>
            <a:prstGeom prst="line">
              <a:avLst/>
            </a:prstGeom>
            <a:noFill/>
            <a:ln w="12700">
              <a:solidFill>
                <a:schemeClr val="accent1"/>
              </a:solidFill>
              <a:round/>
              <a:headEnd/>
              <a:tailEnd type="triangle" w="med" len="med"/>
            </a:ln>
          </p:spPr>
          <p:txBody>
            <a:bodyPr/>
            <a:lstStyle/>
            <a:p>
              <a:endParaRPr lang="en-US" dirty="0">
                <a:latin typeface="Futura Medium" panose="00000400000000000000" pitchFamily="2" charset="0"/>
              </a:endParaRPr>
            </a:p>
          </p:txBody>
        </p:sp>
        <p:sp>
          <p:nvSpPr>
            <p:cNvPr id="49170" name="Line 18"/>
            <p:cNvSpPr>
              <a:spLocks noChangeShapeType="1"/>
            </p:cNvSpPr>
            <p:nvPr/>
          </p:nvSpPr>
          <p:spPr bwMode="gray">
            <a:xfrm>
              <a:off x="5608804" y="2956325"/>
              <a:ext cx="110309" cy="155641"/>
            </a:xfrm>
            <a:prstGeom prst="line">
              <a:avLst/>
            </a:prstGeom>
            <a:noFill/>
            <a:ln w="12700">
              <a:solidFill>
                <a:schemeClr val="accent1"/>
              </a:solidFill>
              <a:round/>
              <a:headEnd/>
              <a:tailEnd type="triangle" w="med" len="med"/>
            </a:ln>
          </p:spPr>
          <p:txBody>
            <a:bodyPr/>
            <a:lstStyle/>
            <a:p>
              <a:endParaRPr lang="en-US" dirty="0">
                <a:latin typeface="Futura Medium" panose="00000400000000000000" pitchFamily="2" charset="0"/>
              </a:endParaRPr>
            </a:p>
          </p:txBody>
        </p:sp>
      </p:grpSp>
    </p:spTree>
    <p:extLst>
      <p:ext uri="{BB962C8B-B14F-4D97-AF65-F5344CB8AC3E}">
        <p14:creationId xmlns:p14="http://schemas.microsoft.com/office/powerpoint/2010/main" val="2658332740"/>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p:txBody>
          <a:bodyPr/>
          <a:lstStyle/>
          <a:p>
            <a:pPr lvl="0"/>
            <a:r>
              <a:rPr lang="en-GB"/>
              <a:t>Information diagram</a:t>
            </a:r>
          </a:p>
        </p:txBody>
      </p:sp>
      <p:grpSp>
        <p:nvGrpSpPr>
          <p:cNvPr id="2" name="Group 1"/>
          <p:cNvGrpSpPr/>
          <p:nvPr/>
        </p:nvGrpSpPr>
        <p:grpSpPr>
          <a:xfrm>
            <a:off x="1713095" y="1557867"/>
            <a:ext cx="8675910" cy="4743057"/>
            <a:chOff x="2420939" y="1557867"/>
            <a:chExt cx="7288211" cy="3984412"/>
          </a:xfrm>
        </p:grpSpPr>
        <p:sp>
          <p:nvSpPr>
            <p:cNvPr id="50179" name="Arc 3"/>
            <p:cNvSpPr>
              <a:spLocks/>
            </p:cNvSpPr>
            <p:nvPr/>
          </p:nvSpPr>
          <p:spPr bwMode="auto">
            <a:xfrm rot="5351121">
              <a:off x="4189413" y="3105680"/>
              <a:ext cx="1931986" cy="1690686"/>
            </a:xfrm>
            <a:custGeom>
              <a:avLst/>
              <a:gdLst>
                <a:gd name="T0" fmla="*/ 0 w 42729"/>
                <a:gd name="T1" fmla="*/ 1438493 h 21600"/>
                <a:gd name="T2" fmla="*/ 1931987 w 42729"/>
                <a:gd name="T3" fmla="*/ 1445381 h 21600"/>
                <a:gd name="T4" fmla="*/ 965700 w 42729"/>
                <a:gd name="T5" fmla="*/ 1690687 h 21600"/>
                <a:gd name="T6" fmla="*/ 0 60000 65536"/>
                <a:gd name="T7" fmla="*/ 0 60000 65536"/>
                <a:gd name="T8" fmla="*/ 0 60000 65536"/>
                <a:gd name="T9" fmla="*/ 0 w 42729"/>
                <a:gd name="T10" fmla="*/ 0 h 21600"/>
                <a:gd name="T11" fmla="*/ 42729 w 42729"/>
                <a:gd name="T12" fmla="*/ 21600 h 21600"/>
              </a:gdLst>
              <a:ahLst/>
              <a:cxnLst>
                <a:cxn ang="T6">
                  <a:pos x="T0" y="T1"/>
                </a:cxn>
                <a:cxn ang="T7">
                  <a:pos x="T2" y="T3"/>
                </a:cxn>
                <a:cxn ang="T8">
                  <a:pos x="T4" y="T5"/>
                </a:cxn>
              </a:cxnLst>
              <a:rect l="T9" t="T10" r="T11" b="T12"/>
              <a:pathLst>
                <a:path w="42729" h="21600" fill="none" extrusionOk="0">
                  <a:moveTo>
                    <a:pt x="-1" y="18377"/>
                  </a:moveTo>
                  <a:cubicBezTo>
                    <a:pt x="1593" y="7812"/>
                    <a:pt x="10672" y="-1"/>
                    <a:pt x="21358" y="0"/>
                  </a:cubicBezTo>
                  <a:cubicBezTo>
                    <a:pt x="32076" y="0"/>
                    <a:pt x="41174" y="7860"/>
                    <a:pt x="42729" y="18465"/>
                  </a:cubicBezTo>
                </a:path>
                <a:path w="42729" h="21600" stroke="0" extrusionOk="0">
                  <a:moveTo>
                    <a:pt x="-1" y="18377"/>
                  </a:moveTo>
                  <a:cubicBezTo>
                    <a:pt x="1593" y="7812"/>
                    <a:pt x="10672" y="-1"/>
                    <a:pt x="21358" y="0"/>
                  </a:cubicBezTo>
                  <a:cubicBezTo>
                    <a:pt x="32076" y="0"/>
                    <a:pt x="41174" y="7860"/>
                    <a:pt x="42729" y="18465"/>
                  </a:cubicBezTo>
                  <a:lnTo>
                    <a:pt x="21358" y="21600"/>
                  </a:lnTo>
                  <a:close/>
                </a:path>
              </a:pathLst>
            </a:custGeom>
            <a:noFill/>
            <a:ln w="127000">
              <a:solidFill>
                <a:schemeClr val="tx2"/>
              </a:solidFill>
              <a:round/>
              <a:headEnd type="triangle" w="med" len="med"/>
              <a:tailEnd/>
            </a:ln>
          </p:spPr>
          <p:txBody>
            <a:bodyPr wrap="none" anchor="ctr"/>
            <a:lstStyle/>
            <a:p>
              <a:endParaRPr lang="en-US" sz="1400"/>
            </a:p>
          </p:txBody>
        </p:sp>
        <p:sp>
          <p:nvSpPr>
            <p:cNvPr id="50180" name="Arc 4"/>
            <p:cNvSpPr>
              <a:spLocks/>
            </p:cNvSpPr>
            <p:nvPr/>
          </p:nvSpPr>
          <p:spPr bwMode="auto">
            <a:xfrm rot="16250327">
              <a:off x="6066632" y="3106473"/>
              <a:ext cx="1987550" cy="1690686"/>
            </a:xfrm>
            <a:custGeom>
              <a:avLst/>
              <a:gdLst>
                <a:gd name="T0" fmla="*/ 0 w 42729"/>
                <a:gd name="T1" fmla="*/ 1438493 h 21600"/>
                <a:gd name="T2" fmla="*/ 1987550 w 42729"/>
                <a:gd name="T3" fmla="*/ 1445381 h 21600"/>
                <a:gd name="T4" fmla="*/ 993473 w 42729"/>
                <a:gd name="T5" fmla="*/ 1690687 h 21600"/>
                <a:gd name="T6" fmla="*/ 0 60000 65536"/>
                <a:gd name="T7" fmla="*/ 0 60000 65536"/>
                <a:gd name="T8" fmla="*/ 0 60000 65536"/>
                <a:gd name="T9" fmla="*/ 0 w 42729"/>
                <a:gd name="T10" fmla="*/ 0 h 21600"/>
                <a:gd name="T11" fmla="*/ 42729 w 42729"/>
                <a:gd name="T12" fmla="*/ 21600 h 21600"/>
              </a:gdLst>
              <a:ahLst/>
              <a:cxnLst>
                <a:cxn ang="T6">
                  <a:pos x="T0" y="T1"/>
                </a:cxn>
                <a:cxn ang="T7">
                  <a:pos x="T2" y="T3"/>
                </a:cxn>
                <a:cxn ang="T8">
                  <a:pos x="T4" y="T5"/>
                </a:cxn>
              </a:cxnLst>
              <a:rect l="T9" t="T10" r="T11" b="T12"/>
              <a:pathLst>
                <a:path w="42729" h="21600" fill="none" extrusionOk="0">
                  <a:moveTo>
                    <a:pt x="-1" y="18377"/>
                  </a:moveTo>
                  <a:cubicBezTo>
                    <a:pt x="1593" y="7812"/>
                    <a:pt x="10672" y="-1"/>
                    <a:pt x="21358" y="0"/>
                  </a:cubicBezTo>
                  <a:cubicBezTo>
                    <a:pt x="32076" y="0"/>
                    <a:pt x="41174" y="7860"/>
                    <a:pt x="42729" y="18465"/>
                  </a:cubicBezTo>
                </a:path>
                <a:path w="42729" h="21600" stroke="0" extrusionOk="0">
                  <a:moveTo>
                    <a:pt x="-1" y="18377"/>
                  </a:moveTo>
                  <a:cubicBezTo>
                    <a:pt x="1593" y="7812"/>
                    <a:pt x="10672" y="-1"/>
                    <a:pt x="21358" y="0"/>
                  </a:cubicBezTo>
                  <a:cubicBezTo>
                    <a:pt x="32076" y="0"/>
                    <a:pt x="41174" y="7860"/>
                    <a:pt x="42729" y="18465"/>
                  </a:cubicBezTo>
                  <a:lnTo>
                    <a:pt x="21358" y="21600"/>
                  </a:lnTo>
                  <a:close/>
                </a:path>
              </a:pathLst>
            </a:custGeom>
            <a:noFill/>
            <a:ln w="127000">
              <a:solidFill>
                <a:schemeClr val="tx2"/>
              </a:solidFill>
              <a:round/>
              <a:headEnd/>
              <a:tailEnd type="triangle" w="med" len="med"/>
            </a:ln>
          </p:spPr>
          <p:txBody>
            <a:bodyPr wrap="none" anchor="ctr"/>
            <a:lstStyle/>
            <a:p>
              <a:endParaRPr lang="en-US" sz="1400"/>
            </a:p>
          </p:txBody>
        </p:sp>
        <p:sp>
          <p:nvSpPr>
            <p:cNvPr id="50181" name="Line 5"/>
            <p:cNvSpPr>
              <a:spLocks noChangeShapeType="1"/>
            </p:cNvSpPr>
            <p:nvPr/>
          </p:nvSpPr>
          <p:spPr bwMode="auto">
            <a:xfrm rot="21597719" flipV="1">
              <a:off x="6080125" y="2146831"/>
              <a:ext cx="0" cy="3106737"/>
            </a:xfrm>
            <a:prstGeom prst="line">
              <a:avLst/>
            </a:prstGeom>
            <a:noFill/>
            <a:ln w="127000">
              <a:solidFill>
                <a:schemeClr val="bg1"/>
              </a:solidFill>
              <a:round/>
              <a:headEnd/>
              <a:tailEnd type="triangle" w="med" len="med"/>
            </a:ln>
          </p:spPr>
          <p:txBody>
            <a:bodyPr wrap="none" anchor="ctr"/>
            <a:lstStyle/>
            <a:p>
              <a:endParaRPr lang="en-US" sz="1400"/>
            </a:p>
          </p:txBody>
        </p:sp>
        <p:sp>
          <p:nvSpPr>
            <p:cNvPr id="50182" name="Arc 6"/>
            <p:cNvSpPr>
              <a:spLocks/>
            </p:cNvSpPr>
            <p:nvPr/>
          </p:nvSpPr>
          <p:spPr bwMode="auto">
            <a:xfrm rot="19253272" flipH="1">
              <a:off x="5810251" y="2958042"/>
              <a:ext cx="1825625" cy="2027238"/>
            </a:xfrm>
            <a:custGeom>
              <a:avLst/>
              <a:gdLst>
                <a:gd name="T0" fmla="*/ 0 w 21600"/>
                <a:gd name="T1" fmla="*/ 0 h 21600"/>
                <a:gd name="T2" fmla="*/ 1825625 w 21600"/>
                <a:gd name="T3" fmla="*/ 2027238 h 21600"/>
                <a:gd name="T4" fmla="*/ 0 w 21600"/>
                <a:gd name="T5" fmla="*/ 202723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27000">
              <a:solidFill>
                <a:schemeClr val="tx2"/>
              </a:solidFill>
              <a:round/>
              <a:headEnd type="triangle" w="med" len="med"/>
              <a:tailEnd/>
            </a:ln>
          </p:spPr>
          <p:txBody>
            <a:bodyPr wrap="none" anchor="ctr"/>
            <a:lstStyle/>
            <a:p>
              <a:endParaRPr lang="en-US" sz="1400"/>
            </a:p>
          </p:txBody>
        </p:sp>
        <p:sp>
          <p:nvSpPr>
            <p:cNvPr id="50183" name="Arc 7"/>
            <p:cNvSpPr>
              <a:spLocks/>
            </p:cNvSpPr>
            <p:nvPr/>
          </p:nvSpPr>
          <p:spPr bwMode="auto">
            <a:xfrm rot="8229879" flipH="1">
              <a:off x="4592639" y="2958042"/>
              <a:ext cx="1825625" cy="2027238"/>
            </a:xfrm>
            <a:custGeom>
              <a:avLst/>
              <a:gdLst>
                <a:gd name="T0" fmla="*/ 0 w 21600"/>
                <a:gd name="T1" fmla="*/ 0 h 21600"/>
                <a:gd name="T2" fmla="*/ 1825625 w 21600"/>
                <a:gd name="T3" fmla="*/ 2027238 h 21600"/>
                <a:gd name="T4" fmla="*/ 0 w 21600"/>
                <a:gd name="T5" fmla="*/ 2027238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27000">
              <a:solidFill>
                <a:schemeClr val="tx2"/>
              </a:solidFill>
              <a:round/>
              <a:headEnd/>
              <a:tailEnd type="triangle" w="med" len="med"/>
            </a:ln>
          </p:spPr>
          <p:txBody>
            <a:bodyPr wrap="none" anchor="ctr"/>
            <a:lstStyle/>
            <a:p>
              <a:endParaRPr lang="en-US" sz="1400"/>
            </a:p>
          </p:txBody>
        </p:sp>
        <p:sp>
          <p:nvSpPr>
            <p:cNvPr id="50184" name="Rectangle 8"/>
            <p:cNvSpPr>
              <a:spLocks noChangeArrowheads="1"/>
            </p:cNvSpPr>
            <p:nvPr/>
          </p:nvSpPr>
          <p:spPr bwMode="auto">
            <a:xfrm>
              <a:off x="7905751" y="4559830"/>
              <a:ext cx="1317625" cy="437377"/>
            </a:xfrm>
            <a:prstGeom prst="rect">
              <a:avLst/>
            </a:prstGeom>
            <a:noFill/>
            <a:ln w="12700">
              <a:noFill/>
              <a:miter lim="800000"/>
              <a:headEnd/>
              <a:tailEnd/>
            </a:ln>
          </p:spPr>
          <p:txBody>
            <a:bodyPr lIns="90488" tIns="44450" rIns="90488" bIns="44450">
              <a:spAutoFit/>
            </a:bodyPr>
            <a:lstStyle/>
            <a:p>
              <a:pPr algn="ctr" defTabSz="762000" eaLnBrk="0" hangingPunct="0">
                <a:spcBef>
                  <a:spcPct val="50000"/>
                </a:spcBef>
                <a:spcAft>
                  <a:spcPct val="0"/>
                </a:spcAft>
              </a:pPr>
              <a:r>
                <a:rPr lang="en-GB" sz="1400">
                  <a:solidFill>
                    <a:schemeClr val="bg2"/>
                  </a:solidFill>
                </a:rPr>
                <a:t>below the </a:t>
              </a:r>
              <a:br>
                <a:rPr lang="en-GB" sz="1400">
                  <a:solidFill>
                    <a:schemeClr val="bg2"/>
                  </a:solidFill>
                </a:rPr>
              </a:br>
              <a:r>
                <a:rPr lang="en-GB" sz="1400">
                  <a:solidFill>
                    <a:schemeClr val="bg2"/>
                  </a:solidFill>
                </a:rPr>
                <a:t>line input</a:t>
              </a:r>
            </a:p>
          </p:txBody>
        </p:sp>
        <p:sp>
          <p:nvSpPr>
            <p:cNvPr id="50185" name="Rectangle 9"/>
            <p:cNvSpPr>
              <a:spLocks noChangeArrowheads="1"/>
            </p:cNvSpPr>
            <p:nvPr/>
          </p:nvSpPr>
          <p:spPr bwMode="auto">
            <a:xfrm>
              <a:off x="6694489" y="5285317"/>
              <a:ext cx="2284411" cy="256394"/>
            </a:xfrm>
            <a:prstGeom prst="rect">
              <a:avLst/>
            </a:prstGeom>
            <a:noFill/>
            <a:ln w="12700">
              <a:noFill/>
              <a:miter lim="800000"/>
              <a:headEnd/>
              <a:tailEnd/>
            </a:ln>
          </p:spPr>
          <p:txBody>
            <a:bodyPr lIns="90488" tIns="44450" rIns="90488" bIns="44450">
              <a:spAutoFit/>
            </a:bodyPr>
            <a:lstStyle/>
            <a:p>
              <a:pPr algn="ctr" defTabSz="762000" eaLnBrk="0" hangingPunct="0">
                <a:spcBef>
                  <a:spcPct val="50000"/>
                </a:spcBef>
                <a:spcAft>
                  <a:spcPct val="0"/>
                </a:spcAft>
              </a:pPr>
              <a:r>
                <a:rPr lang="en-GB" sz="1400">
                  <a:solidFill>
                    <a:schemeClr val="bg2"/>
                  </a:solidFill>
                </a:rPr>
                <a:t>below the line input</a:t>
              </a:r>
            </a:p>
          </p:txBody>
        </p:sp>
        <p:sp>
          <p:nvSpPr>
            <p:cNvPr id="50186" name="Rectangle 10"/>
            <p:cNvSpPr>
              <a:spLocks noChangeArrowheads="1"/>
            </p:cNvSpPr>
            <p:nvPr/>
          </p:nvSpPr>
          <p:spPr bwMode="auto">
            <a:xfrm>
              <a:off x="2711452" y="4559830"/>
              <a:ext cx="1595437" cy="437377"/>
            </a:xfrm>
            <a:prstGeom prst="rect">
              <a:avLst/>
            </a:prstGeom>
            <a:noFill/>
            <a:ln w="12700">
              <a:noFill/>
              <a:miter lim="800000"/>
              <a:headEnd/>
              <a:tailEnd/>
            </a:ln>
          </p:spPr>
          <p:txBody>
            <a:bodyPr lIns="90488" tIns="44450" rIns="90488" bIns="44450">
              <a:spAutoFit/>
            </a:bodyPr>
            <a:lstStyle/>
            <a:p>
              <a:pPr algn="ctr" defTabSz="762000" eaLnBrk="0" hangingPunct="0">
                <a:spcBef>
                  <a:spcPct val="50000"/>
                </a:spcBef>
                <a:spcAft>
                  <a:spcPct val="0"/>
                </a:spcAft>
              </a:pPr>
              <a:r>
                <a:rPr lang="en-GB" sz="1400" dirty="0">
                  <a:solidFill>
                    <a:schemeClr val="bg2"/>
                  </a:solidFill>
                </a:rPr>
                <a:t>below the </a:t>
              </a:r>
              <a:br>
                <a:rPr lang="en-GB" sz="1400" dirty="0">
                  <a:solidFill>
                    <a:schemeClr val="bg2"/>
                  </a:solidFill>
                </a:rPr>
              </a:br>
              <a:r>
                <a:rPr lang="en-GB" sz="1400" dirty="0">
                  <a:solidFill>
                    <a:schemeClr val="bg2"/>
                  </a:solidFill>
                </a:rPr>
                <a:t>line input</a:t>
              </a:r>
            </a:p>
          </p:txBody>
        </p:sp>
        <p:sp>
          <p:nvSpPr>
            <p:cNvPr id="50187" name="Text Box 11"/>
            <p:cNvSpPr txBox="1">
              <a:spLocks noChangeArrowheads="1"/>
            </p:cNvSpPr>
            <p:nvPr/>
          </p:nvSpPr>
          <p:spPr bwMode="auto">
            <a:xfrm>
              <a:off x="3618495" y="5283730"/>
              <a:ext cx="1392659" cy="258549"/>
            </a:xfrm>
            <a:prstGeom prst="rect">
              <a:avLst/>
            </a:prstGeom>
            <a:noFill/>
            <a:ln w="28575">
              <a:noFill/>
              <a:miter lim="800000"/>
              <a:headEnd/>
              <a:tailEnd/>
            </a:ln>
          </p:spPr>
          <p:txBody>
            <a:bodyPr wrap="none">
              <a:spAutoFit/>
            </a:bodyPr>
            <a:lstStyle/>
            <a:p>
              <a:pPr lvl="0" algn="ctr" eaLnBrk="0" hangingPunct="0">
                <a:lnSpc>
                  <a:spcPct val="100000"/>
                </a:lnSpc>
                <a:spcBef>
                  <a:spcPct val="50000"/>
                </a:spcBef>
                <a:spcAft>
                  <a:spcPct val="0"/>
                </a:spcAft>
                <a:buClrTx/>
                <a:buNone/>
              </a:pPr>
              <a:r>
                <a:rPr lang="en-GB" sz="1400">
                  <a:solidFill>
                    <a:schemeClr val="bg2"/>
                  </a:solidFill>
                </a:rPr>
                <a:t>below the line input</a:t>
              </a:r>
            </a:p>
          </p:txBody>
        </p:sp>
        <p:sp>
          <p:nvSpPr>
            <p:cNvPr id="50188" name="Line 12"/>
            <p:cNvSpPr>
              <a:spLocks noChangeShapeType="1"/>
            </p:cNvSpPr>
            <p:nvPr/>
          </p:nvSpPr>
          <p:spPr bwMode="auto">
            <a:xfrm>
              <a:off x="2524126" y="3972455"/>
              <a:ext cx="7108825" cy="0"/>
            </a:xfrm>
            <a:prstGeom prst="line">
              <a:avLst/>
            </a:prstGeom>
            <a:noFill/>
            <a:ln w="28575">
              <a:solidFill>
                <a:schemeClr val="tx2"/>
              </a:solidFill>
              <a:round/>
              <a:headEnd/>
              <a:tailEnd/>
            </a:ln>
          </p:spPr>
          <p:txBody>
            <a:bodyPr wrap="none" anchor="ctr"/>
            <a:lstStyle/>
            <a:p>
              <a:endParaRPr lang="en-US" sz="1400"/>
            </a:p>
          </p:txBody>
        </p:sp>
        <p:sp>
          <p:nvSpPr>
            <p:cNvPr id="50189" name="Text Box 13"/>
            <p:cNvSpPr txBox="1">
              <a:spLocks noChangeArrowheads="1"/>
            </p:cNvSpPr>
            <p:nvPr/>
          </p:nvSpPr>
          <p:spPr bwMode="auto">
            <a:xfrm>
              <a:off x="2420939" y="3948643"/>
              <a:ext cx="3109911" cy="258549"/>
            </a:xfrm>
            <a:prstGeom prst="rect">
              <a:avLst/>
            </a:prstGeom>
            <a:noFill/>
            <a:ln w="28575">
              <a:noFill/>
              <a:miter lim="800000"/>
              <a:headEnd/>
              <a:tailEnd/>
            </a:ln>
          </p:spPr>
          <p:txBody>
            <a:bodyPr>
              <a:spAutoFit/>
            </a:bodyPr>
            <a:lstStyle/>
            <a:p>
              <a:pPr lvl="0" eaLnBrk="0" hangingPunct="0">
                <a:lnSpc>
                  <a:spcPct val="100000"/>
                </a:lnSpc>
                <a:spcBef>
                  <a:spcPct val="50000"/>
                </a:spcBef>
                <a:spcAft>
                  <a:spcPct val="0"/>
                </a:spcAft>
                <a:buClrTx/>
                <a:buNone/>
              </a:pPr>
              <a:r>
                <a:rPr lang="en-GB" sz="1400" dirty="0"/>
                <a:t>below the line convergence</a:t>
              </a:r>
            </a:p>
          </p:txBody>
        </p:sp>
        <p:sp>
          <p:nvSpPr>
            <p:cNvPr id="50190" name="Rectangle 14"/>
            <p:cNvSpPr>
              <a:spLocks noChangeArrowheads="1"/>
            </p:cNvSpPr>
            <p:nvPr/>
          </p:nvSpPr>
          <p:spPr bwMode="auto">
            <a:xfrm>
              <a:off x="4640263" y="1557867"/>
              <a:ext cx="2876550" cy="256394"/>
            </a:xfrm>
            <a:prstGeom prst="rect">
              <a:avLst/>
            </a:prstGeom>
            <a:noFill/>
            <a:ln w="12700">
              <a:noFill/>
              <a:miter lim="800000"/>
              <a:headEnd/>
              <a:tailEnd/>
            </a:ln>
          </p:spPr>
          <p:txBody>
            <a:bodyPr lIns="90488" tIns="44450" rIns="90488" bIns="44450">
              <a:spAutoFit/>
            </a:bodyPr>
            <a:lstStyle/>
            <a:p>
              <a:pPr algn="ctr" defTabSz="762000" eaLnBrk="0" hangingPunct="0">
                <a:spcBef>
                  <a:spcPct val="50000"/>
                </a:spcBef>
                <a:spcAft>
                  <a:spcPct val="0"/>
                </a:spcAft>
              </a:pPr>
              <a:r>
                <a:rPr lang="en-GB" sz="1400">
                  <a:solidFill>
                    <a:schemeClr val="tx2"/>
                  </a:solidFill>
                </a:rPr>
                <a:t>“an above the line comment”</a:t>
              </a:r>
            </a:p>
          </p:txBody>
        </p:sp>
        <p:sp>
          <p:nvSpPr>
            <p:cNvPr id="50191" name="Rectangle 15"/>
            <p:cNvSpPr>
              <a:spLocks noChangeArrowheads="1"/>
            </p:cNvSpPr>
            <p:nvPr/>
          </p:nvSpPr>
          <p:spPr bwMode="auto">
            <a:xfrm>
              <a:off x="6734175" y="2092855"/>
              <a:ext cx="2876550" cy="256394"/>
            </a:xfrm>
            <a:prstGeom prst="rect">
              <a:avLst/>
            </a:prstGeom>
            <a:noFill/>
            <a:ln w="12700">
              <a:noFill/>
              <a:miter lim="800000"/>
              <a:headEnd/>
              <a:tailEnd/>
            </a:ln>
          </p:spPr>
          <p:txBody>
            <a:bodyPr lIns="90488" tIns="44450" rIns="90488" bIns="44450">
              <a:spAutoFit/>
            </a:bodyPr>
            <a:lstStyle/>
            <a:p>
              <a:pPr algn="ctr" defTabSz="762000" eaLnBrk="0" hangingPunct="0">
                <a:spcBef>
                  <a:spcPct val="50000"/>
                </a:spcBef>
                <a:spcAft>
                  <a:spcPct val="0"/>
                </a:spcAft>
              </a:pPr>
              <a:r>
                <a:rPr lang="en-GB" sz="1400">
                  <a:solidFill>
                    <a:schemeClr val="tx2"/>
                  </a:solidFill>
                </a:rPr>
                <a:t>“an above the line comment”</a:t>
              </a:r>
            </a:p>
          </p:txBody>
        </p:sp>
        <p:sp>
          <p:nvSpPr>
            <p:cNvPr id="50192" name="Rectangle 16"/>
            <p:cNvSpPr>
              <a:spLocks noChangeArrowheads="1"/>
            </p:cNvSpPr>
            <p:nvPr/>
          </p:nvSpPr>
          <p:spPr bwMode="auto">
            <a:xfrm>
              <a:off x="7702551" y="2675468"/>
              <a:ext cx="1800225" cy="437377"/>
            </a:xfrm>
            <a:prstGeom prst="rect">
              <a:avLst/>
            </a:prstGeom>
            <a:noFill/>
            <a:ln w="12700">
              <a:noFill/>
              <a:miter lim="800000"/>
              <a:headEnd/>
              <a:tailEnd/>
            </a:ln>
          </p:spPr>
          <p:txBody>
            <a:bodyPr lIns="90488" tIns="44450" rIns="90488" bIns="44450">
              <a:spAutoFit/>
            </a:bodyPr>
            <a:lstStyle/>
            <a:p>
              <a:pPr algn="ctr" defTabSz="762000" eaLnBrk="0" hangingPunct="0">
                <a:spcBef>
                  <a:spcPct val="50000"/>
                </a:spcBef>
                <a:spcAft>
                  <a:spcPct val="0"/>
                </a:spcAft>
              </a:pPr>
              <a:r>
                <a:rPr lang="en-GB" sz="1400">
                  <a:solidFill>
                    <a:schemeClr val="tx2"/>
                  </a:solidFill>
                </a:rPr>
                <a:t>“an above the line comment”</a:t>
              </a:r>
            </a:p>
          </p:txBody>
        </p:sp>
        <p:sp>
          <p:nvSpPr>
            <p:cNvPr id="50193" name="Rectangle 17"/>
            <p:cNvSpPr>
              <a:spLocks noChangeArrowheads="1"/>
            </p:cNvSpPr>
            <p:nvPr/>
          </p:nvSpPr>
          <p:spPr bwMode="auto">
            <a:xfrm>
              <a:off x="2636838" y="2096030"/>
              <a:ext cx="2879725" cy="256394"/>
            </a:xfrm>
            <a:prstGeom prst="rect">
              <a:avLst/>
            </a:prstGeom>
            <a:noFill/>
            <a:ln w="12700">
              <a:noFill/>
              <a:miter lim="800000"/>
              <a:headEnd/>
              <a:tailEnd/>
            </a:ln>
          </p:spPr>
          <p:txBody>
            <a:bodyPr lIns="90488" tIns="44450" rIns="90488" bIns="44450">
              <a:spAutoFit/>
            </a:bodyPr>
            <a:lstStyle/>
            <a:p>
              <a:pPr algn="ctr" defTabSz="762000" eaLnBrk="0" hangingPunct="0">
                <a:spcBef>
                  <a:spcPct val="50000"/>
                </a:spcBef>
                <a:spcAft>
                  <a:spcPct val="0"/>
                </a:spcAft>
              </a:pPr>
              <a:r>
                <a:rPr lang="en-GB" sz="1400">
                  <a:solidFill>
                    <a:schemeClr val="tx2"/>
                  </a:solidFill>
                </a:rPr>
                <a:t>“an above the line comment”</a:t>
              </a:r>
            </a:p>
          </p:txBody>
        </p:sp>
        <p:sp>
          <p:nvSpPr>
            <p:cNvPr id="50194" name="Text Box 18"/>
            <p:cNvSpPr txBox="1">
              <a:spLocks noChangeArrowheads="1"/>
            </p:cNvSpPr>
            <p:nvPr/>
          </p:nvSpPr>
          <p:spPr bwMode="auto">
            <a:xfrm>
              <a:off x="6599239" y="3647018"/>
              <a:ext cx="3109911" cy="258549"/>
            </a:xfrm>
            <a:prstGeom prst="rect">
              <a:avLst/>
            </a:prstGeom>
            <a:noFill/>
            <a:ln w="28575">
              <a:noFill/>
              <a:miter lim="800000"/>
              <a:headEnd/>
              <a:tailEnd/>
            </a:ln>
          </p:spPr>
          <p:txBody>
            <a:bodyPr>
              <a:spAutoFit/>
            </a:bodyPr>
            <a:lstStyle/>
            <a:p>
              <a:pPr lvl="0" algn="r" eaLnBrk="0" hangingPunct="0">
                <a:lnSpc>
                  <a:spcPct val="100000"/>
                </a:lnSpc>
                <a:spcBef>
                  <a:spcPct val="50000"/>
                </a:spcBef>
                <a:spcAft>
                  <a:spcPct val="0"/>
                </a:spcAft>
                <a:buClrTx/>
                <a:buNone/>
              </a:pPr>
              <a:r>
                <a:rPr lang="en-GB" sz="1400"/>
                <a:t>above the line divergence</a:t>
              </a:r>
            </a:p>
          </p:txBody>
        </p:sp>
        <p:sp>
          <p:nvSpPr>
            <p:cNvPr id="50195" name="Rectangle 19"/>
            <p:cNvSpPr>
              <a:spLocks noChangeArrowheads="1"/>
            </p:cNvSpPr>
            <p:nvPr/>
          </p:nvSpPr>
          <p:spPr bwMode="auto">
            <a:xfrm>
              <a:off x="2678112" y="2675468"/>
              <a:ext cx="2032000" cy="437377"/>
            </a:xfrm>
            <a:prstGeom prst="rect">
              <a:avLst/>
            </a:prstGeom>
            <a:noFill/>
            <a:ln w="12700">
              <a:noFill/>
              <a:miter lim="800000"/>
              <a:headEnd/>
              <a:tailEnd/>
            </a:ln>
          </p:spPr>
          <p:txBody>
            <a:bodyPr lIns="90488" tIns="44450" rIns="90488" bIns="44450">
              <a:spAutoFit/>
            </a:bodyPr>
            <a:lstStyle/>
            <a:p>
              <a:pPr algn="ctr" defTabSz="762000" eaLnBrk="0" hangingPunct="0">
                <a:spcBef>
                  <a:spcPct val="50000"/>
                </a:spcBef>
                <a:spcAft>
                  <a:spcPct val="0"/>
                </a:spcAft>
              </a:pPr>
              <a:r>
                <a:rPr lang="en-GB" sz="1400" dirty="0">
                  <a:solidFill>
                    <a:schemeClr val="tx2"/>
                  </a:solidFill>
                </a:rPr>
                <a:t>“an above the line </a:t>
              </a:r>
              <a:br>
                <a:rPr lang="en-GB" sz="1400" dirty="0">
                  <a:solidFill>
                    <a:schemeClr val="tx2"/>
                  </a:solidFill>
                </a:rPr>
              </a:br>
              <a:r>
                <a:rPr lang="en-GB" sz="1400" dirty="0">
                  <a:solidFill>
                    <a:schemeClr val="tx2"/>
                  </a:solidFill>
                </a:rPr>
                <a:t>comment”</a:t>
              </a:r>
            </a:p>
          </p:txBody>
        </p:sp>
      </p:grpSp>
    </p:spTree>
    <p:extLst>
      <p:ext uri="{BB962C8B-B14F-4D97-AF65-F5344CB8AC3E}">
        <p14:creationId xmlns:p14="http://schemas.microsoft.com/office/powerpoint/2010/main" val="1059178676"/>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3778" name="Rectangle 3"/>
          <p:cNvSpPr>
            <a:spLocks noGrp="1" noChangeArrowheads="1"/>
          </p:cNvSpPr>
          <p:nvPr>
            <p:ph type="title"/>
          </p:nvPr>
        </p:nvSpPr>
        <p:spPr/>
        <p:txBody>
          <a:bodyPr/>
          <a:lstStyle/>
          <a:p>
            <a:r>
              <a:rPr lang="en-US"/>
              <a:t>Main slide heading appears here</a:t>
            </a:r>
            <a:endParaRPr lang="en-US" dirty="0"/>
          </a:p>
        </p:txBody>
      </p:sp>
      <p:sp>
        <p:nvSpPr>
          <p:cNvPr id="843779" name="Rectangle 2"/>
          <p:cNvSpPr>
            <a:spLocks noGrp="1" noChangeArrowheads="1"/>
          </p:cNvSpPr>
          <p:nvPr>
            <p:ph sz="quarter" idx="11"/>
          </p:nvPr>
        </p:nvSpPr>
        <p:spPr/>
        <p:txBody>
          <a:bodyPr/>
          <a:lstStyle/>
          <a:p>
            <a:r>
              <a:rPr lang="en-US" dirty="0">
                <a:solidFill>
                  <a:schemeClr val="accent2"/>
                </a:solidFill>
                <a:latin typeface="+mj-lt"/>
              </a:rPr>
              <a:t>Sub headline (optional):</a:t>
            </a:r>
          </a:p>
          <a:p>
            <a:pPr lvl="0"/>
            <a:r>
              <a:rPr lang="en-US" dirty="0"/>
              <a:t>Sub headline second line written in sentence case. </a:t>
            </a:r>
            <a:endParaRPr lang="en-AU" dirty="0"/>
          </a:p>
          <a:p>
            <a:pPr lvl="0"/>
            <a:r>
              <a:rPr lang="en-US" dirty="0"/>
              <a:t>This placeholder text is intended to show the correct position </a:t>
            </a:r>
            <a:br>
              <a:rPr lang="en-US" dirty="0"/>
            </a:br>
            <a:r>
              <a:rPr lang="en-US" dirty="0"/>
              <a:t>and size of the text used in this location. To ensure that you </a:t>
            </a:r>
            <a:br>
              <a:rPr lang="en-US" dirty="0"/>
            </a:br>
            <a:r>
              <a:rPr lang="en-US" dirty="0"/>
              <a:t>have the correct size, color and location of the text, it is </a:t>
            </a:r>
            <a:br>
              <a:rPr lang="en-US" dirty="0"/>
            </a:br>
            <a:r>
              <a:rPr lang="en-US" dirty="0"/>
              <a:t>recommended that you simply select and </a:t>
            </a:r>
            <a:br>
              <a:rPr lang="en-US" dirty="0"/>
            </a:br>
            <a:r>
              <a:rPr lang="en-US" dirty="0"/>
              <a:t>over-type this placeholder text. </a:t>
            </a:r>
          </a:p>
          <a:p>
            <a:pPr lvl="1"/>
            <a:r>
              <a:rPr lang="en-US" dirty="0"/>
              <a:t>Bullet points can appear here </a:t>
            </a:r>
          </a:p>
          <a:p>
            <a:pPr lvl="1"/>
            <a:r>
              <a:rPr lang="en-US" dirty="0"/>
              <a:t>Bullet points can appear here</a:t>
            </a:r>
          </a:p>
        </p:txBody>
      </p:sp>
      <p:grpSp>
        <p:nvGrpSpPr>
          <p:cNvPr id="63495" name="Group 7"/>
          <p:cNvGrpSpPr>
            <a:grpSpLocks/>
          </p:cNvGrpSpPr>
          <p:nvPr/>
        </p:nvGrpSpPr>
        <p:grpSpPr bwMode="auto">
          <a:xfrm>
            <a:off x="5700889" y="2837347"/>
            <a:ext cx="5971352" cy="3512464"/>
            <a:chOff x="3481754" y="2223823"/>
            <a:chExt cx="5331069" cy="2853531"/>
          </a:xfrm>
        </p:grpSpPr>
        <p:sp>
          <p:nvSpPr>
            <p:cNvPr id="843781" name="Oval 8"/>
            <p:cNvSpPr>
              <a:spLocks noChangeArrowheads="1"/>
            </p:cNvSpPr>
            <p:nvPr/>
          </p:nvSpPr>
          <p:spPr bwMode="gray">
            <a:xfrm>
              <a:off x="6750251" y="2223823"/>
              <a:ext cx="2062572" cy="1857645"/>
            </a:xfrm>
            <a:prstGeom prst="ellipse">
              <a:avLst/>
            </a:prstGeom>
            <a:solidFill>
              <a:srgbClr val="A6A6A6">
                <a:alpha val="50196"/>
              </a:srgbClr>
            </a:solidFill>
            <a:ln w="9525">
              <a:noFill/>
              <a:round/>
              <a:headEnd/>
              <a:tailEnd/>
            </a:ln>
            <a:effectLst/>
          </p:spPr>
          <p:txBody>
            <a:bodyPr wrap="none" lIns="0" tIns="0" rIns="0" bIns="0" anchor="ctr"/>
            <a:lstStyle/>
            <a:p>
              <a:pPr algn="ctr">
                <a:defRPr/>
              </a:pPr>
              <a:endParaRPr lang="en-US"/>
            </a:p>
          </p:txBody>
        </p:sp>
        <p:sp>
          <p:nvSpPr>
            <p:cNvPr id="843782" name="Oval 9"/>
            <p:cNvSpPr>
              <a:spLocks noChangeArrowheads="1"/>
            </p:cNvSpPr>
            <p:nvPr/>
          </p:nvSpPr>
          <p:spPr bwMode="gray">
            <a:xfrm>
              <a:off x="3481754" y="2948103"/>
              <a:ext cx="1509243" cy="1358026"/>
            </a:xfrm>
            <a:prstGeom prst="ellipse">
              <a:avLst/>
            </a:prstGeom>
            <a:solidFill>
              <a:srgbClr val="A6A6A6">
                <a:alpha val="50196"/>
              </a:srgbClr>
            </a:solidFill>
            <a:ln w="9525">
              <a:noFill/>
              <a:round/>
              <a:headEnd/>
              <a:tailEnd/>
            </a:ln>
            <a:effectLst/>
          </p:spPr>
          <p:txBody>
            <a:bodyPr wrap="none" lIns="0" tIns="0" rIns="0" bIns="0" anchor="ctr"/>
            <a:lstStyle/>
            <a:p>
              <a:pPr algn="ctr">
                <a:defRPr/>
              </a:pPr>
              <a:endParaRPr lang="en-US"/>
            </a:p>
          </p:txBody>
        </p:sp>
        <p:sp>
          <p:nvSpPr>
            <p:cNvPr id="63498" name="Oval 10"/>
            <p:cNvSpPr>
              <a:spLocks noChangeArrowheads="1"/>
            </p:cNvSpPr>
            <p:nvPr/>
          </p:nvSpPr>
          <p:spPr bwMode="gray">
            <a:xfrm>
              <a:off x="4487008" y="2538677"/>
              <a:ext cx="2817934" cy="2538677"/>
            </a:xfrm>
            <a:prstGeom prst="ellipse">
              <a:avLst/>
            </a:prstGeom>
            <a:solidFill>
              <a:srgbClr val="A6A6A6">
                <a:alpha val="50196"/>
              </a:srgbClr>
            </a:solidFill>
            <a:ln w="9525">
              <a:noFill/>
              <a:round/>
              <a:headEnd/>
              <a:tailEnd/>
            </a:ln>
          </p:spPr>
          <p:txBody>
            <a:bodyPr wrap="none" lIns="0" tIns="0" rIns="0" bIns="0" anchor="ctr"/>
            <a:lstStyle/>
            <a:p>
              <a:pPr algn="ctr" fontAlgn="base">
                <a:spcBef>
                  <a:spcPct val="0"/>
                </a:spcBef>
                <a:spcAft>
                  <a:spcPct val="0"/>
                </a:spcAft>
              </a:pPr>
              <a:endParaRPr lang="en-GB"/>
            </a:p>
          </p:txBody>
        </p:sp>
        <p:sp>
          <p:nvSpPr>
            <p:cNvPr id="63499" name="Text Box 11"/>
            <p:cNvSpPr txBox="1">
              <a:spLocks noChangeArrowheads="1"/>
            </p:cNvSpPr>
            <p:nvPr/>
          </p:nvSpPr>
          <p:spPr bwMode="gray">
            <a:xfrm>
              <a:off x="3648808" y="3364178"/>
              <a:ext cx="923192" cy="312548"/>
            </a:xfrm>
            <a:prstGeom prst="rect">
              <a:avLst/>
            </a:prstGeom>
            <a:noFill/>
            <a:ln w="9525">
              <a:noFill/>
              <a:miter lim="800000"/>
              <a:headEnd/>
              <a:tailEnd/>
            </a:ln>
          </p:spPr>
          <p:txBody>
            <a:bodyPr lIns="0" tIns="0" rIns="0" bIns="0">
              <a:spAutoFit/>
            </a:bodyPr>
            <a:lstStyle/>
            <a:p>
              <a:pPr lvl="0" fontAlgn="base">
                <a:spcBef>
                  <a:spcPct val="0"/>
                </a:spcBef>
                <a:spcAft>
                  <a:spcPct val="0"/>
                </a:spcAft>
              </a:pPr>
              <a:r>
                <a:rPr lang="en-GB" sz="1100" dirty="0"/>
                <a:t>Section A</a:t>
              </a:r>
            </a:p>
            <a:p>
              <a:pPr lvl="0" fontAlgn="base">
                <a:spcBef>
                  <a:spcPct val="0"/>
                </a:spcBef>
                <a:spcAft>
                  <a:spcPct val="0"/>
                </a:spcAft>
              </a:pPr>
              <a:r>
                <a:rPr lang="en-GB" sz="1400" dirty="0"/>
                <a:t>23.150 $</a:t>
              </a:r>
            </a:p>
          </p:txBody>
        </p:sp>
        <p:sp>
          <p:nvSpPr>
            <p:cNvPr id="63500" name="Text Box 12"/>
            <p:cNvSpPr txBox="1">
              <a:spLocks noChangeArrowheads="1"/>
            </p:cNvSpPr>
            <p:nvPr/>
          </p:nvSpPr>
          <p:spPr bwMode="gray">
            <a:xfrm>
              <a:off x="5285643" y="3635376"/>
              <a:ext cx="1575288" cy="450069"/>
            </a:xfrm>
            <a:prstGeom prst="rect">
              <a:avLst/>
            </a:prstGeom>
            <a:noFill/>
            <a:ln w="9525">
              <a:noFill/>
              <a:miter lim="800000"/>
              <a:headEnd/>
              <a:tailEnd/>
            </a:ln>
          </p:spPr>
          <p:txBody>
            <a:bodyPr lIns="0" tIns="0" rIns="0" bIns="0">
              <a:spAutoFit/>
            </a:bodyPr>
            <a:lstStyle/>
            <a:p>
              <a:pPr lvl="0" fontAlgn="base">
                <a:spcBef>
                  <a:spcPct val="0"/>
                </a:spcBef>
                <a:spcAft>
                  <a:spcPct val="0"/>
                </a:spcAft>
              </a:pPr>
              <a:r>
                <a:rPr lang="en-GB" sz="1100" dirty="0"/>
                <a:t>Section B</a:t>
              </a:r>
            </a:p>
            <a:p>
              <a:pPr lvl="0" fontAlgn="base">
                <a:spcBef>
                  <a:spcPct val="0"/>
                </a:spcBef>
                <a:spcAft>
                  <a:spcPct val="0"/>
                </a:spcAft>
              </a:pPr>
              <a:r>
                <a:rPr lang="en-GB" sz="2500" dirty="0"/>
                <a:t>59.150 $</a:t>
              </a:r>
            </a:p>
          </p:txBody>
        </p:sp>
        <p:sp>
          <p:nvSpPr>
            <p:cNvPr id="63501" name="Text Box 13"/>
            <p:cNvSpPr txBox="1">
              <a:spLocks noChangeArrowheads="1"/>
            </p:cNvSpPr>
            <p:nvPr/>
          </p:nvSpPr>
          <p:spPr bwMode="gray">
            <a:xfrm>
              <a:off x="7451481" y="2767543"/>
              <a:ext cx="1153257" cy="437567"/>
            </a:xfrm>
            <a:prstGeom prst="rect">
              <a:avLst/>
            </a:prstGeom>
            <a:noFill/>
            <a:ln w="9525">
              <a:noFill/>
              <a:miter lim="800000"/>
              <a:headEnd/>
              <a:tailEnd/>
            </a:ln>
          </p:spPr>
          <p:txBody>
            <a:bodyPr lIns="0" tIns="0" rIns="0" bIns="0">
              <a:spAutoFit/>
            </a:bodyPr>
            <a:lstStyle/>
            <a:p>
              <a:pPr lvl="0" fontAlgn="base">
                <a:spcBef>
                  <a:spcPct val="0"/>
                </a:spcBef>
                <a:spcAft>
                  <a:spcPct val="0"/>
                </a:spcAft>
              </a:pPr>
              <a:r>
                <a:rPr lang="en-GB" sz="1100" dirty="0"/>
                <a:t>Section C</a:t>
              </a:r>
            </a:p>
            <a:p>
              <a:pPr lvl="0" fontAlgn="base">
                <a:spcBef>
                  <a:spcPct val="0"/>
                </a:spcBef>
                <a:spcAft>
                  <a:spcPct val="0"/>
                </a:spcAft>
              </a:pPr>
              <a:r>
                <a:rPr lang="en-GB" dirty="0"/>
                <a:t>34.150 $</a:t>
              </a:r>
            </a:p>
          </p:txBody>
        </p:sp>
      </p:grpSp>
    </p:spTree>
    <p:extLst>
      <p:ext uri="{BB962C8B-B14F-4D97-AF65-F5344CB8AC3E}">
        <p14:creationId xmlns:p14="http://schemas.microsoft.com/office/powerpoint/2010/main" val="215804634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 box</a:t>
            </a:r>
          </a:p>
        </p:txBody>
      </p:sp>
      <p:sp>
        <p:nvSpPr>
          <p:cNvPr id="3" name="Slide Number Placeholder 2"/>
          <p:cNvSpPr>
            <a:spLocks noGrp="1"/>
          </p:cNvSpPr>
          <p:nvPr>
            <p:ph type="sldNum" sz="quarter" idx="4"/>
          </p:nvPr>
        </p:nvSpPr>
        <p:spPr/>
        <p:txBody>
          <a:bodyPr/>
          <a:lstStyle/>
          <a:p>
            <a:fld id="{D32BAE6A-B452-4007-8177-56DD051636F9}" type="slidenum">
              <a:rPr lang="en-GB" smtClean="0"/>
              <a:pPr/>
              <a:t>9</a:t>
            </a:fld>
            <a:endParaRPr lang="en-GB" dirty="0"/>
          </a:p>
        </p:txBody>
      </p:sp>
      <p:grpSp>
        <p:nvGrpSpPr>
          <p:cNvPr id="4" name="Group 3"/>
          <p:cNvGrpSpPr/>
          <p:nvPr/>
        </p:nvGrpSpPr>
        <p:grpSpPr>
          <a:xfrm>
            <a:off x="508000" y="1532468"/>
            <a:ext cx="11171238" cy="4827058"/>
            <a:chOff x="2032000" y="1204996"/>
            <a:chExt cx="8128000" cy="4378496"/>
          </a:xfrm>
        </p:grpSpPr>
        <p:sp>
          <p:nvSpPr>
            <p:cNvPr id="5" name="TextBox 4"/>
            <p:cNvSpPr txBox="1"/>
            <p:nvPr/>
          </p:nvSpPr>
          <p:spPr>
            <a:xfrm>
              <a:off x="2032000" y="1204996"/>
              <a:ext cx="1905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6" name="TextBox 5"/>
            <p:cNvSpPr txBox="1"/>
            <p:nvPr/>
          </p:nvSpPr>
          <p:spPr>
            <a:xfrm>
              <a:off x="2032000" y="1522496"/>
              <a:ext cx="1905000" cy="40609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endParaRPr lang="en-US" sz="1400" dirty="0"/>
            </a:p>
          </p:txBody>
        </p:sp>
        <p:sp>
          <p:nvSpPr>
            <p:cNvPr id="25" name="TextBox 24"/>
            <p:cNvSpPr txBox="1"/>
            <p:nvPr/>
          </p:nvSpPr>
          <p:spPr>
            <a:xfrm>
              <a:off x="4106333" y="1204996"/>
              <a:ext cx="1905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6" name="TextBox 25"/>
            <p:cNvSpPr txBox="1"/>
            <p:nvPr/>
          </p:nvSpPr>
          <p:spPr>
            <a:xfrm>
              <a:off x="4106333" y="1522496"/>
              <a:ext cx="1905000" cy="40609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p:txBody>
        </p:sp>
        <p:sp>
          <p:nvSpPr>
            <p:cNvPr id="27" name="TextBox 26"/>
            <p:cNvSpPr txBox="1"/>
            <p:nvPr/>
          </p:nvSpPr>
          <p:spPr>
            <a:xfrm>
              <a:off x="6180666" y="1204996"/>
              <a:ext cx="1905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28" name="TextBox 27"/>
            <p:cNvSpPr txBox="1"/>
            <p:nvPr/>
          </p:nvSpPr>
          <p:spPr>
            <a:xfrm>
              <a:off x="6180666" y="1522496"/>
              <a:ext cx="1905000" cy="40609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p:txBody>
        </p:sp>
        <p:sp>
          <p:nvSpPr>
            <p:cNvPr id="12" name="TextBox 11"/>
            <p:cNvSpPr txBox="1"/>
            <p:nvPr/>
          </p:nvSpPr>
          <p:spPr>
            <a:xfrm>
              <a:off x="8255000" y="1204996"/>
              <a:ext cx="1905000" cy="317500"/>
            </a:xfrm>
            <a:prstGeom prst="rect">
              <a:avLst/>
            </a:prstGeom>
            <a:solidFill>
              <a:schemeClr val="accent1"/>
            </a:solidFill>
            <a:ln w="12700" cmpd="sng">
              <a:solidFill>
                <a:schemeClr val="accent1"/>
              </a:solidFill>
            </a:ln>
          </p:spPr>
          <p:txBody>
            <a:bodyPr lIns="127000" rIns="63500" rtlCol="0" anchor="ctr"/>
            <a:lstStyle>
              <a:defPPr>
                <a:defRPr lang="en-US"/>
              </a:defPPr>
              <a:lvl1pPr defTabSz="914400">
                <a:defRPr sz="1200" kern="0">
                  <a:solidFill>
                    <a:srgbClr val="595959"/>
                  </a:solidFill>
                  <a:latin typeface="Futura Bold"/>
                  <a:cs typeface="Futura Bold"/>
                </a:defRPr>
              </a:lvl1pPr>
            </a:lstStyle>
            <a:p>
              <a:r>
                <a:rPr lang="en-US" dirty="0">
                  <a:solidFill>
                    <a:srgbClr val="535353"/>
                  </a:solidFill>
                </a:rPr>
                <a:t>Title</a:t>
              </a:r>
            </a:p>
          </p:txBody>
        </p:sp>
        <p:sp>
          <p:nvSpPr>
            <p:cNvPr id="13" name="TextBox 12"/>
            <p:cNvSpPr txBox="1"/>
            <p:nvPr/>
          </p:nvSpPr>
          <p:spPr>
            <a:xfrm>
              <a:off x="8255000" y="1522496"/>
              <a:ext cx="1905000" cy="4060996"/>
            </a:xfrm>
            <a:prstGeom prst="rect">
              <a:avLst/>
            </a:prstGeom>
            <a:noFill/>
            <a:ln w="12700" cmpd="sng">
              <a:solidFill>
                <a:schemeClr val="accent1"/>
              </a:solidFill>
            </a:ln>
          </p:spPr>
          <p:txBody>
            <a:bodyPr wrap="square" lIns="101600" tIns="63500" rIns="101600" bIns="12700" rtlCol="0">
              <a:noAutofit/>
            </a:bodyPr>
            <a:lstStyle/>
            <a:p>
              <a:pPr>
                <a:lnSpc>
                  <a:spcPct val="120000"/>
                </a:lnSpc>
                <a:spcAft>
                  <a:spcPts val="600"/>
                </a:spcAft>
                <a:buClr>
                  <a:schemeClr val="accent2"/>
                </a:buClr>
                <a:buSzPct val="75000"/>
              </a:pPr>
              <a:r>
                <a:rPr lang="en-US" sz="1400" dirty="0">
                  <a:solidFill>
                    <a:schemeClr val="accent2"/>
                  </a:solidFill>
                  <a:latin typeface="+mj-lt"/>
                </a:rPr>
                <a:t>Lorem Ipsum</a:t>
              </a:r>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a:p>
              <a:pPr marL="177800" indent="-177800">
                <a:lnSpc>
                  <a:spcPct val="120000"/>
                </a:lnSpc>
                <a:spcAft>
                  <a:spcPts val="600"/>
                </a:spcAft>
                <a:buClr>
                  <a:schemeClr val="accent2"/>
                </a:buClr>
                <a:buSzPct val="75000"/>
                <a:buFont typeface="Wingdings"/>
                <a:buChar char="n"/>
              </a:pPr>
              <a:r>
                <a:rPr lang="en-US" sz="1400" dirty="0" err="1"/>
                <a:t>Lorem</a:t>
              </a:r>
              <a:r>
                <a:rPr lang="en-US" sz="1400" dirty="0"/>
                <a:t> </a:t>
              </a:r>
              <a:r>
                <a:rPr lang="en-US" sz="1400" dirty="0" err="1"/>
                <a:t>ipsum</a:t>
              </a:r>
              <a:r>
                <a:rPr lang="en-US" sz="1400" dirty="0"/>
                <a:t> dolor sit </a:t>
              </a:r>
              <a:r>
                <a:rPr lang="en-US" sz="1400" dirty="0" err="1"/>
                <a:t>amet</a:t>
              </a:r>
              <a:r>
                <a:rPr lang="en-US" sz="1400" dirty="0"/>
                <a:t>, </a:t>
              </a:r>
              <a:r>
                <a:rPr lang="en-US" sz="1400" dirty="0" err="1"/>
                <a:t>mattis</a:t>
              </a:r>
              <a:r>
                <a:rPr lang="en-US" sz="1400" dirty="0"/>
                <a:t> </a:t>
              </a:r>
              <a:r>
                <a:rPr lang="en-US" sz="1400" dirty="0" err="1"/>
                <a:t>leo</a:t>
              </a:r>
              <a:r>
                <a:rPr lang="en-US" sz="1400" dirty="0"/>
                <a:t> semper </a:t>
              </a:r>
              <a:r>
                <a:rPr lang="en-US" sz="1400" dirty="0" err="1"/>
                <a:t>nullam</a:t>
              </a:r>
              <a:r>
                <a:rPr lang="en-US" sz="1400" dirty="0"/>
                <a:t> </a:t>
              </a:r>
              <a:r>
                <a:rPr lang="en-US" sz="1400" dirty="0" err="1"/>
                <a:t>eros</a:t>
              </a:r>
              <a:endParaRPr lang="en-US" sz="1400" dirty="0"/>
            </a:p>
          </p:txBody>
        </p:sp>
      </p:grpSp>
    </p:spTree>
    <p:extLst>
      <p:ext uri="{BB962C8B-B14F-4D97-AF65-F5344CB8AC3E}">
        <p14:creationId xmlns:p14="http://schemas.microsoft.com/office/powerpoint/2010/main" val="1029032083"/>
      </p:ext>
    </p:extLst>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3778" name="Rectangle 3"/>
          <p:cNvSpPr>
            <a:spLocks noGrp="1" noChangeArrowheads="1"/>
          </p:cNvSpPr>
          <p:nvPr>
            <p:ph type="title"/>
          </p:nvPr>
        </p:nvSpPr>
        <p:spPr/>
        <p:txBody>
          <a:bodyPr/>
          <a:lstStyle/>
          <a:p>
            <a:r>
              <a:rPr lang="en-US"/>
              <a:t>Main slide heading appears here</a:t>
            </a:r>
            <a:endParaRPr lang="en-US" dirty="0"/>
          </a:p>
        </p:txBody>
      </p:sp>
      <p:sp>
        <p:nvSpPr>
          <p:cNvPr id="843779" name="Rectangle 2"/>
          <p:cNvSpPr>
            <a:spLocks noGrp="1" noChangeArrowheads="1"/>
          </p:cNvSpPr>
          <p:nvPr>
            <p:ph sz="quarter" idx="11"/>
          </p:nvPr>
        </p:nvSpPr>
        <p:spPr/>
        <p:txBody>
          <a:bodyPr/>
          <a:lstStyle/>
          <a:p>
            <a:r>
              <a:rPr lang="en-US" dirty="0">
                <a:solidFill>
                  <a:schemeClr val="accent2"/>
                </a:solidFill>
                <a:latin typeface="+mj-lt"/>
              </a:rPr>
              <a:t>Sub headline (optional):</a:t>
            </a:r>
          </a:p>
          <a:p>
            <a:pPr lvl="0"/>
            <a:r>
              <a:rPr lang="en-US" dirty="0"/>
              <a:t>Sub headline second line written in sentence case. </a:t>
            </a:r>
            <a:endParaRPr lang="en-AU" dirty="0"/>
          </a:p>
          <a:p>
            <a:pPr lvl="0"/>
            <a:r>
              <a:rPr lang="en-US" dirty="0"/>
              <a:t>This placeholder text is intended to show the correct position </a:t>
            </a:r>
            <a:br>
              <a:rPr lang="en-US" dirty="0"/>
            </a:br>
            <a:r>
              <a:rPr lang="en-US" dirty="0"/>
              <a:t>and size of the text used in this location. To ensure that you </a:t>
            </a:r>
            <a:br>
              <a:rPr lang="en-US" dirty="0"/>
            </a:br>
            <a:r>
              <a:rPr lang="en-US" dirty="0"/>
              <a:t>have the correct size, color and location of the text, it is </a:t>
            </a:r>
            <a:br>
              <a:rPr lang="en-US" dirty="0"/>
            </a:br>
            <a:r>
              <a:rPr lang="en-US" dirty="0"/>
              <a:t>recommended that you simply select and </a:t>
            </a:r>
            <a:br>
              <a:rPr lang="en-US" dirty="0"/>
            </a:br>
            <a:r>
              <a:rPr lang="en-US" dirty="0"/>
              <a:t>over-type this placeholder text. </a:t>
            </a:r>
          </a:p>
          <a:p>
            <a:pPr lvl="1"/>
            <a:r>
              <a:rPr lang="en-US" dirty="0"/>
              <a:t>Bullet points can appear here </a:t>
            </a:r>
          </a:p>
          <a:p>
            <a:pPr lvl="1"/>
            <a:r>
              <a:rPr lang="en-US" dirty="0"/>
              <a:t>Bullet points can appear here</a:t>
            </a:r>
          </a:p>
        </p:txBody>
      </p:sp>
      <p:grpSp>
        <p:nvGrpSpPr>
          <p:cNvPr id="63495" name="Group 7"/>
          <p:cNvGrpSpPr>
            <a:grpSpLocks/>
          </p:cNvGrpSpPr>
          <p:nvPr/>
        </p:nvGrpSpPr>
        <p:grpSpPr bwMode="auto">
          <a:xfrm>
            <a:off x="5700889" y="2837347"/>
            <a:ext cx="5971352" cy="3512464"/>
            <a:chOff x="3481754" y="2223823"/>
            <a:chExt cx="5331069" cy="2853531"/>
          </a:xfrm>
        </p:grpSpPr>
        <p:sp>
          <p:nvSpPr>
            <p:cNvPr id="843781" name="Oval 8"/>
            <p:cNvSpPr>
              <a:spLocks noChangeArrowheads="1"/>
            </p:cNvSpPr>
            <p:nvPr/>
          </p:nvSpPr>
          <p:spPr bwMode="gray">
            <a:xfrm>
              <a:off x="6750251" y="2223823"/>
              <a:ext cx="2062572" cy="1857645"/>
            </a:xfrm>
            <a:prstGeom prst="ellipse">
              <a:avLst/>
            </a:prstGeom>
            <a:solidFill>
              <a:schemeClr val="accent1">
                <a:alpha val="50196"/>
              </a:schemeClr>
            </a:solidFill>
            <a:ln w="9525">
              <a:noFill/>
              <a:round/>
              <a:headEnd/>
              <a:tailEnd/>
            </a:ln>
            <a:effectLst/>
          </p:spPr>
          <p:txBody>
            <a:bodyPr wrap="none" lIns="0" tIns="0" rIns="0" bIns="0" anchor="ctr"/>
            <a:lstStyle/>
            <a:p>
              <a:pPr algn="ctr">
                <a:defRPr/>
              </a:pPr>
              <a:endParaRPr lang="en-US"/>
            </a:p>
          </p:txBody>
        </p:sp>
        <p:sp>
          <p:nvSpPr>
            <p:cNvPr id="843782" name="Oval 9"/>
            <p:cNvSpPr>
              <a:spLocks noChangeArrowheads="1"/>
            </p:cNvSpPr>
            <p:nvPr/>
          </p:nvSpPr>
          <p:spPr bwMode="gray">
            <a:xfrm>
              <a:off x="3481754" y="2948103"/>
              <a:ext cx="1509243" cy="1358026"/>
            </a:xfrm>
            <a:prstGeom prst="ellipse">
              <a:avLst/>
            </a:prstGeom>
            <a:solidFill>
              <a:schemeClr val="accent1">
                <a:alpha val="50196"/>
              </a:schemeClr>
            </a:solidFill>
            <a:ln w="9525">
              <a:noFill/>
              <a:round/>
              <a:headEnd/>
              <a:tailEnd/>
            </a:ln>
            <a:effectLst/>
          </p:spPr>
          <p:txBody>
            <a:bodyPr wrap="none" lIns="0" tIns="0" rIns="0" bIns="0" anchor="ctr"/>
            <a:lstStyle/>
            <a:p>
              <a:pPr algn="ctr">
                <a:defRPr/>
              </a:pPr>
              <a:endParaRPr lang="en-US"/>
            </a:p>
          </p:txBody>
        </p:sp>
        <p:sp>
          <p:nvSpPr>
            <p:cNvPr id="63498" name="Oval 10"/>
            <p:cNvSpPr>
              <a:spLocks noChangeArrowheads="1"/>
            </p:cNvSpPr>
            <p:nvPr/>
          </p:nvSpPr>
          <p:spPr bwMode="gray">
            <a:xfrm>
              <a:off x="4487008" y="2538677"/>
              <a:ext cx="2817934" cy="2538677"/>
            </a:xfrm>
            <a:prstGeom prst="ellipse">
              <a:avLst/>
            </a:prstGeom>
            <a:solidFill>
              <a:schemeClr val="accent1">
                <a:alpha val="50196"/>
              </a:schemeClr>
            </a:solidFill>
            <a:ln w="9525">
              <a:noFill/>
              <a:round/>
              <a:headEnd/>
              <a:tailEnd/>
            </a:ln>
          </p:spPr>
          <p:txBody>
            <a:bodyPr wrap="none" lIns="0" tIns="0" rIns="0" bIns="0" anchor="ctr"/>
            <a:lstStyle/>
            <a:p>
              <a:pPr algn="ctr" fontAlgn="base">
                <a:spcBef>
                  <a:spcPct val="0"/>
                </a:spcBef>
                <a:spcAft>
                  <a:spcPct val="0"/>
                </a:spcAft>
              </a:pPr>
              <a:endParaRPr lang="en-GB"/>
            </a:p>
          </p:txBody>
        </p:sp>
        <p:sp>
          <p:nvSpPr>
            <p:cNvPr id="63499" name="Text Box 11"/>
            <p:cNvSpPr txBox="1">
              <a:spLocks noChangeArrowheads="1"/>
            </p:cNvSpPr>
            <p:nvPr/>
          </p:nvSpPr>
          <p:spPr bwMode="gray">
            <a:xfrm>
              <a:off x="3648808" y="3364178"/>
              <a:ext cx="923192" cy="312548"/>
            </a:xfrm>
            <a:prstGeom prst="rect">
              <a:avLst/>
            </a:prstGeom>
            <a:noFill/>
            <a:ln w="9525">
              <a:noFill/>
              <a:miter lim="800000"/>
              <a:headEnd/>
              <a:tailEnd/>
            </a:ln>
          </p:spPr>
          <p:txBody>
            <a:bodyPr lIns="0" tIns="0" rIns="0" bIns="0">
              <a:spAutoFit/>
            </a:bodyPr>
            <a:lstStyle/>
            <a:p>
              <a:pPr lvl="0" fontAlgn="base">
                <a:spcBef>
                  <a:spcPct val="0"/>
                </a:spcBef>
                <a:spcAft>
                  <a:spcPct val="0"/>
                </a:spcAft>
              </a:pPr>
              <a:r>
                <a:rPr lang="en-GB" sz="1100" dirty="0"/>
                <a:t>Section A</a:t>
              </a:r>
            </a:p>
            <a:p>
              <a:pPr lvl="0" fontAlgn="base">
                <a:spcBef>
                  <a:spcPct val="0"/>
                </a:spcBef>
                <a:spcAft>
                  <a:spcPct val="0"/>
                </a:spcAft>
              </a:pPr>
              <a:r>
                <a:rPr lang="en-GB" sz="1400" dirty="0"/>
                <a:t>23.150 $</a:t>
              </a:r>
            </a:p>
          </p:txBody>
        </p:sp>
        <p:sp>
          <p:nvSpPr>
            <p:cNvPr id="63500" name="Text Box 12"/>
            <p:cNvSpPr txBox="1">
              <a:spLocks noChangeArrowheads="1"/>
            </p:cNvSpPr>
            <p:nvPr/>
          </p:nvSpPr>
          <p:spPr bwMode="gray">
            <a:xfrm>
              <a:off x="5285643" y="3635376"/>
              <a:ext cx="1575288" cy="450069"/>
            </a:xfrm>
            <a:prstGeom prst="rect">
              <a:avLst/>
            </a:prstGeom>
            <a:noFill/>
            <a:ln w="9525">
              <a:noFill/>
              <a:miter lim="800000"/>
              <a:headEnd/>
              <a:tailEnd/>
            </a:ln>
          </p:spPr>
          <p:txBody>
            <a:bodyPr lIns="0" tIns="0" rIns="0" bIns="0">
              <a:spAutoFit/>
            </a:bodyPr>
            <a:lstStyle/>
            <a:p>
              <a:pPr lvl="0" fontAlgn="base">
                <a:spcBef>
                  <a:spcPct val="0"/>
                </a:spcBef>
                <a:spcAft>
                  <a:spcPct val="0"/>
                </a:spcAft>
              </a:pPr>
              <a:r>
                <a:rPr lang="en-GB" sz="1100" dirty="0"/>
                <a:t>Section B</a:t>
              </a:r>
            </a:p>
            <a:p>
              <a:pPr lvl="0" fontAlgn="base">
                <a:spcBef>
                  <a:spcPct val="0"/>
                </a:spcBef>
                <a:spcAft>
                  <a:spcPct val="0"/>
                </a:spcAft>
              </a:pPr>
              <a:r>
                <a:rPr lang="en-GB" sz="2500" dirty="0"/>
                <a:t>59.150 $</a:t>
              </a:r>
            </a:p>
          </p:txBody>
        </p:sp>
        <p:sp>
          <p:nvSpPr>
            <p:cNvPr id="63501" name="Text Box 13"/>
            <p:cNvSpPr txBox="1">
              <a:spLocks noChangeArrowheads="1"/>
            </p:cNvSpPr>
            <p:nvPr/>
          </p:nvSpPr>
          <p:spPr bwMode="gray">
            <a:xfrm>
              <a:off x="7451481" y="2767543"/>
              <a:ext cx="1153257" cy="437567"/>
            </a:xfrm>
            <a:prstGeom prst="rect">
              <a:avLst/>
            </a:prstGeom>
            <a:noFill/>
            <a:ln w="9525">
              <a:noFill/>
              <a:miter lim="800000"/>
              <a:headEnd/>
              <a:tailEnd/>
            </a:ln>
          </p:spPr>
          <p:txBody>
            <a:bodyPr lIns="0" tIns="0" rIns="0" bIns="0">
              <a:spAutoFit/>
            </a:bodyPr>
            <a:lstStyle/>
            <a:p>
              <a:pPr lvl="0" fontAlgn="base">
                <a:spcBef>
                  <a:spcPct val="0"/>
                </a:spcBef>
                <a:spcAft>
                  <a:spcPct val="0"/>
                </a:spcAft>
              </a:pPr>
              <a:r>
                <a:rPr lang="en-GB" sz="1100" dirty="0"/>
                <a:t>Section C</a:t>
              </a:r>
            </a:p>
            <a:p>
              <a:pPr lvl="0" fontAlgn="base">
                <a:spcBef>
                  <a:spcPct val="0"/>
                </a:spcBef>
                <a:spcAft>
                  <a:spcPct val="0"/>
                </a:spcAft>
              </a:pPr>
              <a:r>
                <a:rPr lang="en-GB" dirty="0"/>
                <a:t>34.150 $</a:t>
              </a:r>
            </a:p>
          </p:txBody>
        </p:sp>
      </p:grpSp>
    </p:spTree>
    <p:extLst>
      <p:ext uri="{BB962C8B-B14F-4D97-AF65-F5344CB8AC3E}">
        <p14:creationId xmlns:p14="http://schemas.microsoft.com/office/powerpoint/2010/main" val="1693647809"/>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6" name="Rectangle 3"/>
          <p:cNvSpPr>
            <a:spLocks noGrp="1" noChangeArrowheads="1"/>
          </p:cNvSpPr>
          <p:nvPr>
            <p:ph type="title"/>
          </p:nvPr>
        </p:nvSpPr>
        <p:spPr/>
        <p:txBody>
          <a:bodyPr/>
          <a:lstStyle/>
          <a:p>
            <a:r>
              <a:rPr lang="en-US"/>
              <a:t>Main slide heading appears here</a:t>
            </a:r>
            <a:endParaRPr lang="en-US" dirty="0"/>
          </a:p>
        </p:txBody>
      </p:sp>
      <p:sp>
        <p:nvSpPr>
          <p:cNvPr id="6" name="Rectangle 2"/>
          <p:cNvSpPr>
            <a:spLocks noGrp="1"/>
          </p:cNvSpPr>
          <p:nvPr>
            <p:ph idx="11"/>
          </p:nvPr>
        </p:nvSpPr>
        <p:spPr>
          <a:xfrm>
            <a:off x="508000" y="1528763"/>
            <a:ext cx="11171238" cy="4830762"/>
          </a:xfrm>
        </p:spPr>
        <p:txBody>
          <a:bodyPr/>
          <a:lstStyle/>
          <a:p>
            <a:r>
              <a:rPr lang="en-US" dirty="0">
                <a:solidFill>
                  <a:schemeClr val="accent2"/>
                </a:solidFill>
                <a:latin typeface="+mj-lt"/>
              </a:rPr>
              <a:t>Sub headline (optional):</a:t>
            </a:r>
          </a:p>
          <a:p>
            <a:pPr lvl="0"/>
            <a:r>
              <a:rPr lang="en-US" dirty="0"/>
              <a:t>Sub headline second line written in sentence case. </a:t>
            </a:r>
            <a:endParaRPr lang="en-AU" dirty="0"/>
          </a:p>
        </p:txBody>
      </p:sp>
      <p:grpSp>
        <p:nvGrpSpPr>
          <p:cNvPr id="64519" name="Group 7"/>
          <p:cNvGrpSpPr>
            <a:grpSpLocks/>
          </p:cNvGrpSpPr>
          <p:nvPr/>
        </p:nvGrpSpPr>
        <p:grpSpPr bwMode="auto">
          <a:xfrm>
            <a:off x="934033" y="2696901"/>
            <a:ext cx="10323933" cy="3507129"/>
            <a:chOff x="320920" y="2168261"/>
            <a:chExt cx="8428893" cy="2538677"/>
          </a:xfrm>
        </p:grpSpPr>
        <p:sp>
          <p:nvSpPr>
            <p:cNvPr id="845829" name="Oval 8"/>
            <p:cNvSpPr>
              <a:spLocks noChangeArrowheads="1"/>
            </p:cNvSpPr>
            <p:nvPr/>
          </p:nvSpPr>
          <p:spPr bwMode="auto">
            <a:xfrm>
              <a:off x="7222487" y="2792214"/>
              <a:ext cx="1527326" cy="1374918"/>
            </a:xfrm>
            <a:prstGeom prst="ellipse">
              <a:avLst/>
            </a:prstGeom>
            <a:solidFill>
              <a:srgbClr val="A6A6A6">
                <a:alpha val="50196"/>
              </a:srgbClr>
            </a:solidFill>
            <a:ln w="9525">
              <a:noFill/>
              <a:round/>
              <a:headEnd/>
              <a:tailEnd/>
            </a:ln>
            <a:effectLst/>
          </p:spPr>
          <p:txBody>
            <a:bodyPr wrap="none" lIns="0" tIns="0" rIns="0" bIns="0" anchor="ctr"/>
            <a:lstStyle/>
            <a:p>
              <a:pPr lvl="0" algn="ctr">
                <a:defRPr/>
              </a:pPr>
              <a:r>
                <a:rPr lang="en-US" sz="1600"/>
                <a:t> 120.000 $</a:t>
              </a:r>
            </a:p>
          </p:txBody>
        </p:sp>
        <p:sp>
          <p:nvSpPr>
            <p:cNvPr id="64521" name="Oval 9"/>
            <p:cNvSpPr>
              <a:spLocks noChangeArrowheads="1"/>
            </p:cNvSpPr>
            <p:nvPr/>
          </p:nvSpPr>
          <p:spPr bwMode="auto">
            <a:xfrm>
              <a:off x="4687766" y="2168261"/>
              <a:ext cx="2817933" cy="2538677"/>
            </a:xfrm>
            <a:prstGeom prst="ellipse">
              <a:avLst/>
            </a:prstGeom>
            <a:solidFill>
              <a:srgbClr val="A6A6A6">
                <a:alpha val="50196"/>
              </a:srgbClr>
            </a:solidFill>
            <a:ln w="9525">
              <a:noFill/>
              <a:round/>
              <a:headEnd/>
              <a:tailEnd/>
            </a:ln>
          </p:spPr>
          <p:txBody>
            <a:bodyPr wrap="none" lIns="0" tIns="0" rIns="0" bIns="0" anchor="ctr"/>
            <a:lstStyle/>
            <a:p>
              <a:pPr lvl="0" algn="ctr" fontAlgn="base">
                <a:spcBef>
                  <a:spcPct val="0"/>
                </a:spcBef>
                <a:spcAft>
                  <a:spcPct val="0"/>
                </a:spcAft>
              </a:pPr>
              <a:r>
                <a:rPr lang="en-GB" sz="1600"/>
                <a:t>240.000 $</a:t>
              </a:r>
            </a:p>
          </p:txBody>
        </p:sp>
        <p:sp>
          <p:nvSpPr>
            <p:cNvPr id="845836" name="Oval 10"/>
            <p:cNvSpPr>
              <a:spLocks noChangeArrowheads="1"/>
            </p:cNvSpPr>
            <p:nvPr/>
          </p:nvSpPr>
          <p:spPr bwMode="auto">
            <a:xfrm>
              <a:off x="320920" y="2309564"/>
              <a:ext cx="2397605" cy="2157636"/>
            </a:xfrm>
            <a:prstGeom prst="ellipse">
              <a:avLst/>
            </a:prstGeom>
            <a:solidFill>
              <a:srgbClr val="A6A6A6">
                <a:alpha val="50196"/>
              </a:srgbClr>
            </a:solidFill>
            <a:ln w="9525">
              <a:noFill/>
              <a:round/>
              <a:headEnd/>
              <a:tailEnd/>
            </a:ln>
            <a:effectLst/>
          </p:spPr>
          <p:txBody>
            <a:bodyPr wrap="none" lIns="0" tIns="0" rIns="0" bIns="0" anchor="ctr"/>
            <a:lstStyle/>
            <a:p>
              <a:pPr lvl="0" algn="ctr">
                <a:defRPr/>
              </a:pPr>
              <a:r>
                <a:rPr lang="en-US" sz="1600" dirty="0"/>
                <a:t>200.000 $</a:t>
              </a:r>
            </a:p>
          </p:txBody>
        </p:sp>
        <p:sp>
          <p:nvSpPr>
            <p:cNvPr id="845835" name="Oval 11"/>
            <p:cNvSpPr>
              <a:spLocks noChangeArrowheads="1"/>
            </p:cNvSpPr>
            <p:nvPr/>
          </p:nvSpPr>
          <p:spPr bwMode="auto">
            <a:xfrm>
              <a:off x="2437678" y="2701716"/>
              <a:ext cx="1633076" cy="1470178"/>
            </a:xfrm>
            <a:prstGeom prst="ellipse">
              <a:avLst/>
            </a:prstGeom>
            <a:solidFill>
              <a:srgbClr val="A6A6A6">
                <a:alpha val="50196"/>
              </a:srgbClr>
            </a:solidFill>
            <a:ln w="9525" algn="ctr">
              <a:noFill/>
              <a:round/>
              <a:headEnd/>
              <a:tailEnd/>
            </a:ln>
            <a:effectLst/>
          </p:spPr>
          <p:txBody>
            <a:bodyPr wrap="none" lIns="81043" tIns="40522" rIns="81043" bIns="40522" anchor="ctr"/>
            <a:lstStyle/>
            <a:p>
              <a:pPr lvl="0" algn="ctr">
                <a:defRPr/>
              </a:pPr>
              <a:r>
                <a:rPr lang="en-US" sz="1600" dirty="0"/>
                <a:t>135.000 %</a:t>
              </a:r>
            </a:p>
          </p:txBody>
        </p:sp>
        <p:sp>
          <p:nvSpPr>
            <p:cNvPr id="845830" name="Oval 12"/>
            <p:cNvSpPr>
              <a:spLocks noChangeArrowheads="1"/>
            </p:cNvSpPr>
            <p:nvPr/>
          </p:nvSpPr>
          <p:spPr bwMode="auto">
            <a:xfrm>
              <a:off x="3788173" y="2904938"/>
              <a:ext cx="1182333" cy="1063736"/>
            </a:xfrm>
            <a:prstGeom prst="ellipse">
              <a:avLst/>
            </a:prstGeom>
            <a:solidFill>
              <a:srgbClr val="A6A6A6">
                <a:alpha val="50196"/>
              </a:srgbClr>
            </a:solidFill>
            <a:ln w="9525" algn="ctr">
              <a:noFill/>
              <a:round/>
              <a:headEnd/>
              <a:tailEnd/>
            </a:ln>
            <a:effectLst/>
          </p:spPr>
          <p:txBody>
            <a:bodyPr wrap="none" lIns="81043" tIns="40522" rIns="81043" bIns="40522" anchor="ctr"/>
            <a:lstStyle/>
            <a:p>
              <a:pPr lvl="0" algn="ctr">
                <a:defRPr/>
              </a:pPr>
              <a:r>
                <a:rPr lang="en-US" sz="1600"/>
                <a:t>99.000 $</a:t>
              </a:r>
            </a:p>
          </p:txBody>
        </p:sp>
      </p:grpSp>
    </p:spTree>
    <p:extLst>
      <p:ext uri="{BB962C8B-B14F-4D97-AF65-F5344CB8AC3E}">
        <p14:creationId xmlns:p14="http://schemas.microsoft.com/office/powerpoint/2010/main" val="1073622165"/>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Rectangle 3"/>
          <p:cNvSpPr>
            <a:spLocks noGrp="1" noChangeArrowheads="1"/>
          </p:cNvSpPr>
          <p:nvPr>
            <p:ph type="title"/>
          </p:nvPr>
        </p:nvSpPr>
        <p:spPr/>
        <p:txBody>
          <a:bodyPr/>
          <a:lstStyle/>
          <a:p>
            <a:r>
              <a:rPr lang="en-GB"/>
              <a:t>Main slide heading appears here </a:t>
            </a:r>
            <a:endParaRPr lang="en-GB" dirty="0"/>
          </a:p>
        </p:txBody>
      </p:sp>
      <p:sp>
        <p:nvSpPr>
          <p:cNvPr id="65538" name="Rectangle 2"/>
          <p:cNvSpPr>
            <a:spLocks noGrp="1"/>
          </p:cNvSpPr>
          <p:nvPr>
            <p:ph idx="11"/>
          </p:nvPr>
        </p:nvSpPr>
        <p:spPr>
          <a:xfrm>
            <a:off x="508000" y="1528763"/>
            <a:ext cx="11171238" cy="4830762"/>
          </a:xfrm>
        </p:spPr>
        <p:txBody>
          <a:bodyPr/>
          <a:lstStyle/>
          <a:p>
            <a:r>
              <a:rPr lang="en-GB" dirty="0">
                <a:latin typeface="+mj-lt"/>
              </a:rPr>
              <a:t>Sub headline (optional):</a:t>
            </a:r>
          </a:p>
          <a:p>
            <a:pPr lvl="0"/>
            <a:r>
              <a:rPr lang="en-GB" dirty="0"/>
              <a:t>Sub headline second line written in sentence case. </a:t>
            </a:r>
            <a:endParaRPr lang="en-AU" dirty="0"/>
          </a:p>
          <a:p>
            <a:pPr lvl="0"/>
            <a:endParaRPr lang="en-AU" dirty="0"/>
          </a:p>
        </p:txBody>
      </p:sp>
      <p:grpSp>
        <p:nvGrpSpPr>
          <p:cNvPr id="65543" name="Group 7"/>
          <p:cNvGrpSpPr>
            <a:grpSpLocks/>
          </p:cNvGrpSpPr>
          <p:nvPr/>
        </p:nvGrpSpPr>
        <p:grpSpPr bwMode="auto">
          <a:xfrm>
            <a:off x="4378325" y="4267819"/>
            <a:ext cx="3435350" cy="590550"/>
            <a:chOff x="3176591" y="3091474"/>
            <a:chExt cx="3721384" cy="591252"/>
          </a:xfrm>
        </p:grpSpPr>
        <p:sp>
          <p:nvSpPr>
            <p:cNvPr id="65555" name="AutoShape 19"/>
            <p:cNvSpPr>
              <a:spLocks/>
            </p:cNvSpPr>
            <p:nvPr/>
          </p:nvSpPr>
          <p:spPr bwMode="auto">
            <a:xfrm>
              <a:off x="3176591" y="3091474"/>
              <a:ext cx="3721384" cy="90762"/>
            </a:xfrm>
            <a:custGeom>
              <a:avLst/>
              <a:gdLst>
                <a:gd name="T0" fmla="*/ 17 w 1406"/>
                <a:gd name="T1" fmla="*/ 34 h 34"/>
                <a:gd name="T2" fmla="*/ 0 w 1406"/>
                <a:gd name="T3" fmla="*/ 17 h 34"/>
                <a:gd name="T4" fmla="*/ 17 w 1406"/>
                <a:gd name="T5" fmla="*/ 0 h 34"/>
                <a:gd name="T6" fmla="*/ 1389 w 1406"/>
                <a:gd name="T7" fmla="*/ 0 h 34"/>
                <a:gd name="T8" fmla="*/ 1406 w 1406"/>
                <a:gd name="T9" fmla="*/ 17 h 34"/>
                <a:gd name="T10" fmla="*/ 1389 w 1406"/>
                <a:gd name="T11" fmla="*/ 34 h 34"/>
                <a:gd name="T12" fmla="*/ 17 w 1406"/>
                <a:gd name="T13" fmla="*/ 34 h 34"/>
                <a:gd name="T14" fmla="*/ 0 60000 65536"/>
                <a:gd name="T15" fmla="*/ 0 60000 65536"/>
                <a:gd name="T16" fmla="*/ 0 60000 65536"/>
                <a:gd name="T17" fmla="*/ 0 60000 65536"/>
                <a:gd name="T18" fmla="*/ 0 60000 65536"/>
                <a:gd name="T19" fmla="*/ 0 60000 65536"/>
                <a:gd name="T20" fmla="*/ 0 60000 65536"/>
                <a:gd name="T21" fmla="*/ 0 w 1406"/>
                <a:gd name="T22" fmla="*/ 0 h 34"/>
                <a:gd name="T23" fmla="*/ 1406 w 1406"/>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6" h="34">
                  <a:moveTo>
                    <a:pt x="17" y="34"/>
                  </a:moveTo>
                  <a:cubicBezTo>
                    <a:pt x="8" y="34"/>
                    <a:pt x="0" y="27"/>
                    <a:pt x="0" y="17"/>
                  </a:cubicBezTo>
                  <a:cubicBezTo>
                    <a:pt x="0" y="8"/>
                    <a:pt x="8" y="0"/>
                    <a:pt x="17" y="0"/>
                  </a:cubicBezTo>
                  <a:cubicBezTo>
                    <a:pt x="1389" y="0"/>
                    <a:pt x="1389" y="0"/>
                    <a:pt x="1389" y="0"/>
                  </a:cubicBezTo>
                  <a:cubicBezTo>
                    <a:pt x="1398" y="0"/>
                    <a:pt x="1406" y="8"/>
                    <a:pt x="1406" y="17"/>
                  </a:cubicBezTo>
                  <a:cubicBezTo>
                    <a:pt x="1406" y="27"/>
                    <a:pt x="1398" y="34"/>
                    <a:pt x="1389" y="34"/>
                  </a:cubicBezTo>
                  <a:lnTo>
                    <a:pt x="17" y="34"/>
                  </a:lnTo>
                  <a:close/>
                </a:path>
              </a:pathLst>
            </a:custGeom>
            <a:solidFill>
              <a:srgbClr val="BDBDBD"/>
            </a:solidFill>
            <a:ln w="9525">
              <a:noFill/>
              <a:round/>
              <a:headEnd/>
              <a:tailEnd/>
            </a:ln>
          </p:spPr>
          <p:txBody>
            <a:bodyPr/>
            <a:lstStyle/>
            <a:p>
              <a:endParaRPr lang="en-US"/>
            </a:p>
          </p:txBody>
        </p:sp>
        <p:sp>
          <p:nvSpPr>
            <p:cNvPr id="65556" name="AutoShape 20"/>
            <p:cNvSpPr>
              <a:spLocks/>
            </p:cNvSpPr>
            <p:nvPr/>
          </p:nvSpPr>
          <p:spPr bwMode="auto">
            <a:xfrm>
              <a:off x="4855167" y="3136855"/>
              <a:ext cx="365528" cy="545871"/>
            </a:xfrm>
            <a:custGeom>
              <a:avLst/>
              <a:gdLst>
                <a:gd name="T0" fmla="*/ 308 w 308"/>
                <a:gd name="T1" fmla="*/ 0 h 459"/>
                <a:gd name="T2" fmla="*/ 154 w 308"/>
                <a:gd name="T3" fmla="*/ 0 h 459"/>
                <a:gd name="T4" fmla="*/ 0 w 308"/>
                <a:gd name="T5" fmla="*/ 0 h 459"/>
                <a:gd name="T6" fmla="*/ 154 w 308"/>
                <a:gd name="T7" fmla="*/ 459 h 459"/>
                <a:gd name="T8" fmla="*/ 308 w 308"/>
                <a:gd name="T9" fmla="*/ 0 h 459"/>
                <a:gd name="T10" fmla="*/ 0 60000 65536"/>
                <a:gd name="T11" fmla="*/ 0 60000 65536"/>
                <a:gd name="T12" fmla="*/ 0 60000 65536"/>
                <a:gd name="T13" fmla="*/ 0 60000 65536"/>
                <a:gd name="T14" fmla="*/ 0 60000 65536"/>
                <a:gd name="T15" fmla="*/ 0 w 308"/>
                <a:gd name="T16" fmla="*/ 0 h 459"/>
                <a:gd name="T17" fmla="*/ 308 w 308"/>
                <a:gd name="T18" fmla="*/ 459 h 459"/>
              </a:gdLst>
              <a:ahLst/>
              <a:cxnLst>
                <a:cxn ang="T10">
                  <a:pos x="T0" y="T1"/>
                </a:cxn>
                <a:cxn ang="T11">
                  <a:pos x="T2" y="T3"/>
                </a:cxn>
                <a:cxn ang="T12">
                  <a:pos x="T4" y="T5"/>
                </a:cxn>
                <a:cxn ang="T13">
                  <a:pos x="T6" y="T7"/>
                </a:cxn>
                <a:cxn ang="T14">
                  <a:pos x="T8" y="T9"/>
                </a:cxn>
              </a:cxnLst>
              <a:rect l="T15" t="T16" r="T17" b="T18"/>
              <a:pathLst>
                <a:path w="308" h="459">
                  <a:moveTo>
                    <a:pt x="308" y="0"/>
                  </a:moveTo>
                  <a:lnTo>
                    <a:pt x="154" y="0"/>
                  </a:lnTo>
                  <a:lnTo>
                    <a:pt x="0" y="0"/>
                  </a:lnTo>
                  <a:lnTo>
                    <a:pt x="154" y="459"/>
                  </a:lnTo>
                  <a:lnTo>
                    <a:pt x="308" y="0"/>
                  </a:lnTo>
                  <a:close/>
                </a:path>
              </a:pathLst>
            </a:custGeom>
            <a:solidFill>
              <a:srgbClr val="BDBDBD"/>
            </a:solidFill>
            <a:ln w="9525">
              <a:noFill/>
              <a:round/>
              <a:headEnd/>
              <a:tailEnd/>
            </a:ln>
          </p:spPr>
          <p:txBody>
            <a:bodyPr/>
            <a:lstStyle/>
            <a:p>
              <a:endParaRPr lang="en-US"/>
            </a:p>
          </p:txBody>
        </p:sp>
      </p:grpSp>
      <p:grpSp>
        <p:nvGrpSpPr>
          <p:cNvPr id="65544" name="Group 8"/>
          <p:cNvGrpSpPr>
            <a:grpSpLocks/>
          </p:cNvGrpSpPr>
          <p:nvPr/>
        </p:nvGrpSpPr>
        <p:grpSpPr bwMode="auto">
          <a:xfrm>
            <a:off x="5843589" y="3542013"/>
            <a:ext cx="504825" cy="1043940"/>
            <a:chOff x="4764434" y="2365375"/>
            <a:chExt cx="545699" cy="1045063"/>
          </a:xfrm>
        </p:grpSpPr>
        <p:sp>
          <p:nvSpPr>
            <p:cNvPr id="65553" name="AutoShape 17"/>
            <p:cNvSpPr>
              <a:spLocks/>
            </p:cNvSpPr>
            <p:nvPr/>
          </p:nvSpPr>
          <p:spPr bwMode="auto">
            <a:xfrm>
              <a:off x="4764434" y="2365375"/>
              <a:ext cx="545699" cy="1045063"/>
            </a:xfrm>
            <a:custGeom>
              <a:avLst/>
              <a:gdLst>
                <a:gd name="T0" fmla="*/ 206 w 206"/>
                <a:gd name="T1" fmla="*/ 0 h 394"/>
                <a:gd name="T2" fmla="*/ 0 w 206"/>
                <a:gd name="T3" fmla="*/ 0 h 394"/>
                <a:gd name="T4" fmla="*/ 0 w 206"/>
                <a:gd name="T5" fmla="*/ 291 h 394"/>
                <a:gd name="T6" fmla="*/ 103 w 206"/>
                <a:gd name="T7" fmla="*/ 394 h 394"/>
                <a:gd name="T8" fmla="*/ 206 w 206"/>
                <a:gd name="T9" fmla="*/ 291 h 394"/>
                <a:gd name="T10" fmla="*/ 206 w 206"/>
                <a:gd name="T11" fmla="*/ 0 h 394"/>
                <a:gd name="T12" fmla="*/ 0 60000 65536"/>
                <a:gd name="T13" fmla="*/ 0 60000 65536"/>
                <a:gd name="T14" fmla="*/ 0 60000 65536"/>
                <a:gd name="T15" fmla="*/ 0 60000 65536"/>
                <a:gd name="T16" fmla="*/ 0 60000 65536"/>
                <a:gd name="T17" fmla="*/ 0 60000 65536"/>
                <a:gd name="T18" fmla="*/ 0 w 206"/>
                <a:gd name="T19" fmla="*/ 0 h 394"/>
                <a:gd name="T20" fmla="*/ 206 w 206"/>
                <a:gd name="T21" fmla="*/ 394 h 394"/>
              </a:gdLst>
              <a:ahLst/>
              <a:cxnLst>
                <a:cxn ang="T12">
                  <a:pos x="T0" y="T1"/>
                </a:cxn>
                <a:cxn ang="T13">
                  <a:pos x="T2" y="T3"/>
                </a:cxn>
                <a:cxn ang="T14">
                  <a:pos x="T4" y="T5"/>
                </a:cxn>
                <a:cxn ang="T15">
                  <a:pos x="T6" y="T7"/>
                </a:cxn>
                <a:cxn ang="T16">
                  <a:pos x="T8" y="T9"/>
                </a:cxn>
                <a:cxn ang="T17">
                  <a:pos x="T10" y="T11"/>
                </a:cxn>
              </a:cxnLst>
              <a:rect l="T18" t="T19" r="T20" b="T21"/>
              <a:pathLst>
                <a:path w="206" h="394">
                  <a:moveTo>
                    <a:pt x="206" y="0"/>
                  </a:moveTo>
                  <a:cubicBezTo>
                    <a:pt x="0" y="0"/>
                    <a:pt x="0" y="0"/>
                    <a:pt x="0" y="0"/>
                  </a:cubicBezTo>
                  <a:cubicBezTo>
                    <a:pt x="0" y="291"/>
                    <a:pt x="0" y="291"/>
                    <a:pt x="0" y="291"/>
                  </a:cubicBezTo>
                  <a:cubicBezTo>
                    <a:pt x="0" y="348"/>
                    <a:pt x="46" y="394"/>
                    <a:pt x="103" y="394"/>
                  </a:cubicBezTo>
                  <a:cubicBezTo>
                    <a:pt x="160" y="394"/>
                    <a:pt x="206" y="348"/>
                    <a:pt x="206" y="291"/>
                  </a:cubicBezTo>
                  <a:lnTo>
                    <a:pt x="206" y="0"/>
                  </a:lnTo>
                  <a:close/>
                </a:path>
              </a:pathLst>
            </a:custGeom>
            <a:solidFill>
              <a:srgbClr val="7F7F7F"/>
            </a:solidFill>
            <a:ln w="9525">
              <a:noFill/>
              <a:round/>
              <a:headEnd/>
              <a:tailEnd/>
            </a:ln>
          </p:spPr>
          <p:txBody>
            <a:bodyPr/>
            <a:lstStyle/>
            <a:p>
              <a:endParaRPr lang="en-US"/>
            </a:p>
          </p:txBody>
        </p:sp>
        <p:sp>
          <p:nvSpPr>
            <p:cNvPr id="65554" name="AutoShape 18"/>
            <p:cNvSpPr>
              <a:spLocks/>
            </p:cNvSpPr>
            <p:nvPr/>
          </p:nvSpPr>
          <p:spPr bwMode="auto">
            <a:xfrm>
              <a:off x="4943309" y="3042202"/>
              <a:ext cx="189245" cy="189304"/>
            </a:xfrm>
            <a:custGeom>
              <a:avLst/>
              <a:gdLst>
                <a:gd name="T0" fmla="*/ 39 w 72"/>
                <a:gd name="T1" fmla="*/ 70 h 72"/>
                <a:gd name="T2" fmla="*/ 70 w 72"/>
                <a:gd name="T3" fmla="*/ 33 h 72"/>
                <a:gd name="T4" fmla="*/ 33 w 72"/>
                <a:gd name="T5" fmla="*/ 2 h 72"/>
                <a:gd name="T6" fmla="*/ 2 w 72"/>
                <a:gd name="T7" fmla="*/ 39 h 72"/>
                <a:gd name="T8" fmla="*/ 39 w 72"/>
                <a:gd name="T9" fmla="*/ 70 h 72"/>
                <a:gd name="T10" fmla="*/ 0 60000 65536"/>
                <a:gd name="T11" fmla="*/ 0 60000 65536"/>
                <a:gd name="T12" fmla="*/ 0 60000 65536"/>
                <a:gd name="T13" fmla="*/ 0 60000 65536"/>
                <a:gd name="T14" fmla="*/ 0 60000 65536"/>
                <a:gd name="T15" fmla="*/ 0 w 72"/>
                <a:gd name="T16" fmla="*/ 0 h 72"/>
                <a:gd name="T17" fmla="*/ 72 w 72"/>
                <a:gd name="T18" fmla="*/ 72 h 72"/>
              </a:gdLst>
              <a:ahLst/>
              <a:cxnLst>
                <a:cxn ang="T10">
                  <a:pos x="T0" y="T1"/>
                </a:cxn>
                <a:cxn ang="T11">
                  <a:pos x="T2" y="T3"/>
                </a:cxn>
                <a:cxn ang="T12">
                  <a:pos x="T4" y="T5"/>
                </a:cxn>
                <a:cxn ang="T13">
                  <a:pos x="T6" y="T7"/>
                </a:cxn>
                <a:cxn ang="T14">
                  <a:pos x="T8" y="T9"/>
                </a:cxn>
              </a:cxnLst>
              <a:rect l="T15" t="T16" r="T17" b="T18"/>
              <a:pathLst>
                <a:path w="72" h="72">
                  <a:moveTo>
                    <a:pt x="39" y="70"/>
                  </a:moveTo>
                  <a:cubicBezTo>
                    <a:pt x="58" y="69"/>
                    <a:pt x="72" y="52"/>
                    <a:pt x="70" y="33"/>
                  </a:cubicBezTo>
                  <a:cubicBezTo>
                    <a:pt x="69" y="14"/>
                    <a:pt x="52" y="0"/>
                    <a:pt x="33" y="2"/>
                  </a:cubicBezTo>
                  <a:cubicBezTo>
                    <a:pt x="14" y="4"/>
                    <a:pt x="0" y="20"/>
                    <a:pt x="2" y="39"/>
                  </a:cubicBezTo>
                </a:path>
              </a:pathLst>
            </a:custGeom>
            <a:solidFill>
              <a:schemeClr val="bg1"/>
            </a:solidFill>
            <a:ln w="9525">
              <a:noFill/>
              <a:round/>
              <a:headEnd/>
              <a:tailEnd/>
            </a:ln>
          </p:spPr>
          <p:txBody>
            <a:bodyPr/>
            <a:lstStyle/>
            <a:p>
              <a:endParaRPr lang="en-US"/>
            </a:p>
          </p:txBody>
        </p:sp>
      </p:grpSp>
      <p:grpSp>
        <p:nvGrpSpPr>
          <p:cNvPr id="65545" name="Group 9"/>
          <p:cNvGrpSpPr>
            <a:grpSpLocks/>
          </p:cNvGrpSpPr>
          <p:nvPr/>
        </p:nvGrpSpPr>
        <p:grpSpPr bwMode="grayWhite">
          <a:xfrm>
            <a:off x="3667127" y="4313539"/>
            <a:ext cx="1508125" cy="2043164"/>
            <a:chOff x="2406650" y="3136855"/>
            <a:chExt cx="1633209" cy="2044745"/>
          </a:xfrm>
        </p:grpSpPr>
        <p:sp>
          <p:nvSpPr>
            <p:cNvPr id="65550" name="AutoShape 14"/>
            <p:cNvSpPr>
              <a:spLocks/>
            </p:cNvSpPr>
            <p:nvPr/>
          </p:nvSpPr>
          <p:spPr bwMode="grayWhite">
            <a:xfrm>
              <a:off x="2585525" y="3136855"/>
              <a:ext cx="1271570" cy="680717"/>
            </a:xfrm>
            <a:custGeom>
              <a:avLst/>
              <a:gdLst>
                <a:gd name="T0" fmla="*/ 1070 w 1070"/>
                <a:gd name="T1" fmla="*/ 573 h 573"/>
                <a:gd name="T2" fmla="*/ 535 w 1070"/>
                <a:gd name="T3" fmla="*/ 0 h 573"/>
                <a:gd name="T4" fmla="*/ 0 w 1070"/>
                <a:gd name="T5" fmla="*/ 573 h 573"/>
                <a:gd name="T6" fmla="*/ 0 60000 65536"/>
                <a:gd name="T7" fmla="*/ 0 60000 65536"/>
                <a:gd name="T8" fmla="*/ 0 60000 65536"/>
                <a:gd name="T9" fmla="*/ 0 w 1070"/>
                <a:gd name="T10" fmla="*/ 0 h 573"/>
                <a:gd name="T11" fmla="*/ 1070 w 1070"/>
                <a:gd name="T12" fmla="*/ 573 h 573"/>
              </a:gdLst>
              <a:ahLst/>
              <a:cxnLst>
                <a:cxn ang="T6">
                  <a:pos x="T0" y="T1"/>
                </a:cxn>
                <a:cxn ang="T7">
                  <a:pos x="T2" y="T3"/>
                </a:cxn>
                <a:cxn ang="T8">
                  <a:pos x="T4" y="T5"/>
                </a:cxn>
              </a:cxnLst>
              <a:rect l="T9" t="T10" r="T11" b="T12"/>
              <a:pathLst>
                <a:path w="1070" h="573">
                  <a:moveTo>
                    <a:pt x="1070" y="573"/>
                  </a:moveTo>
                  <a:lnTo>
                    <a:pt x="535" y="0"/>
                  </a:lnTo>
                  <a:lnTo>
                    <a:pt x="0" y="573"/>
                  </a:lnTo>
                </a:path>
              </a:pathLst>
            </a:custGeom>
            <a:noFill/>
            <a:ln w="28575" cap="sq">
              <a:solidFill>
                <a:srgbClr val="BDBDBD"/>
              </a:solidFill>
              <a:miter lim="800000"/>
              <a:headEnd/>
              <a:tailEnd/>
            </a:ln>
          </p:spPr>
          <p:txBody>
            <a:bodyPr/>
            <a:lstStyle/>
            <a:p>
              <a:endParaRPr lang="en-US"/>
            </a:p>
          </p:txBody>
        </p:sp>
        <p:sp>
          <p:nvSpPr>
            <p:cNvPr id="65551" name="Rectangle 15"/>
            <p:cNvSpPr>
              <a:spLocks noChangeArrowheads="1"/>
            </p:cNvSpPr>
            <p:nvPr/>
          </p:nvSpPr>
          <p:spPr bwMode="grayWhite">
            <a:xfrm>
              <a:off x="2406650" y="3817572"/>
              <a:ext cx="1633209" cy="1364028"/>
            </a:xfrm>
            <a:prstGeom prst="rect">
              <a:avLst/>
            </a:prstGeom>
            <a:solidFill>
              <a:schemeClr val="accent1"/>
            </a:solidFill>
            <a:ln w="9525">
              <a:noFill/>
              <a:miter lim="800000"/>
              <a:headEnd/>
              <a:tailEnd/>
            </a:ln>
          </p:spPr>
          <p:txBody>
            <a:bodyPr/>
            <a:lstStyle/>
            <a:p>
              <a:pPr fontAlgn="base">
                <a:spcBef>
                  <a:spcPct val="0"/>
                </a:spcBef>
                <a:spcAft>
                  <a:spcPct val="0"/>
                </a:spcAft>
              </a:pPr>
              <a:endParaRPr lang="en-GB"/>
            </a:p>
          </p:txBody>
        </p:sp>
        <p:sp>
          <p:nvSpPr>
            <p:cNvPr id="65552" name="Rectangle 16"/>
            <p:cNvSpPr>
              <a:spLocks noChangeArrowheads="1"/>
            </p:cNvSpPr>
            <p:nvPr/>
          </p:nvSpPr>
          <p:spPr bwMode="grayWhite">
            <a:xfrm>
              <a:off x="2545342" y="3833132"/>
              <a:ext cx="1454441" cy="1139654"/>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3900" dirty="0">
                  <a:solidFill>
                    <a:srgbClr val="FFFFFF"/>
                  </a:solidFill>
                </a:rPr>
                <a:t>50%</a:t>
              </a:r>
            </a:p>
            <a:p>
              <a:pPr lvl="0" fontAlgn="base">
                <a:spcBef>
                  <a:spcPct val="50000"/>
                </a:spcBef>
                <a:spcAft>
                  <a:spcPct val="0"/>
                </a:spcAft>
              </a:pPr>
              <a:r>
                <a:rPr lang="en-GB" sz="1000" dirty="0">
                  <a:solidFill>
                    <a:srgbClr val="FFFFFF"/>
                  </a:solidFill>
                </a:rPr>
                <a:t>Additional text can appear here in this </a:t>
              </a:r>
              <a:br>
                <a:rPr lang="en-GB" sz="1000" dirty="0">
                  <a:solidFill>
                    <a:srgbClr val="FFFFFF"/>
                  </a:solidFill>
                </a:rPr>
              </a:br>
              <a:r>
                <a:rPr lang="en-GB" sz="1000" dirty="0">
                  <a:solidFill>
                    <a:srgbClr val="FFFFFF"/>
                  </a:solidFill>
                </a:rPr>
                <a:t>size.</a:t>
              </a:r>
            </a:p>
          </p:txBody>
        </p:sp>
      </p:grpSp>
      <p:grpSp>
        <p:nvGrpSpPr>
          <p:cNvPr id="65546" name="Group 10"/>
          <p:cNvGrpSpPr>
            <a:grpSpLocks/>
          </p:cNvGrpSpPr>
          <p:nvPr/>
        </p:nvGrpSpPr>
        <p:grpSpPr bwMode="grayWhite">
          <a:xfrm>
            <a:off x="7018337" y="4313539"/>
            <a:ext cx="1506538" cy="2043164"/>
            <a:chOff x="6036004" y="3136855"/>
            <a:chExt cx="1633209" cy="2044745"/>
          </a:xfrm>
        </p:grpSpPr>
        <p:sp>
          <p:nvSpPr>
            <p:cNvPr id="65547" name="AutoShape 11"/>
            <p:cNvSpPr>
              <a:spLocks/>
            </p:cNvSpPr>
            <p:nvPr/>
          </p:nvSpPr>
          <p:spPr bwMode="grayWhite">
            <a:xfrm>
              <a:off x="6218768" y="3136855"/>
              <a:ext cx="1270274" cy="680717"/>
            </a:xfrm>
            <a:custGeom>
              <a:avLst/>
              <a:gdLst>
                <a:gd name="T0" fmla="*/ 1069 w 1069"/>
                <a:gd name="T1" fmla="*/ 573 h 573"/>
                <a:gd name="T2" fmla="*/ 534 w 1069"/>
                <a:gd name="T3" fmla="*/ 0 h 573"/>
                <a:gd name="T4" fmla="*/ 0 w 1069"/>
                <a:gd name="T5" fmla="*/ 573 h 573"/>
                <a:gd name="T6" fmla="*/ 0 60000 65536"/>
                <a:gd name="T7" fmla="*/ 0 60000 65536"/>
                <a:gd name="T8" fmla="*/ 0 60000 65536"/>
                <a:gd name="T9" fmla="*/ 0 w 1069"/>
                <a:gd name="T10" fmla="*/ 0 h 573"/>
                <a:gd name="T11" fmla="*/ 1069 w 1069"/>
                <a:gd name="T12" fmla="*/ 573 h 573"/>
              </a:gdLst>
              <a:ahLst/>
              <a:cxnLst>
                <a:cxn ang="T6">
                  <a:pos x="T0" y="T1"/>
                </a:cxn>
                <a:cxn ang="T7">
                  <a:pos x="T2" y="T3"/>
                </a:cxn>
                <a:cxn ang="T8">
                  <a:pos x="T4" y="T5"/>
                </a:cxn>
              </a:cxnLst>
              <a:rect l="T9" t="T10" r="T11" b="T12"/>
              <a:pathLst>
                <a:path w="1069" h="573">
                  <a:moveTo>
                    <a:pt x="1069" y="573"/>
                  </a:moveTo>
                  <a:lnTo>
                    <a:pt x="534" y="0"/>
                  </a:lnTo>
                  <a:lnTo>
                    <a:pt x="0" y="573"/>
                  </a:lnTo>
                </a:path>
              </a:pathLst>
            </a:custGeom>
            <a:noFill/>
            <a:ln w="28575" cap="sq">
              <a:solidFill>
                <a:srgbClr val="BDBDBD"/>
              </a:solidFill>
              <a:miter lim="800000"/>
              <a:headEnd/>
              <a:tailEnd/>
            </a:ln>
          </p:spPr>
          <p:txBody>
            <a:bodyPr/>
            <a:lstStyle/>
            <a:p>
              <a:endParaRPr lang="en-US"/>
            </a:p>
          </p:txBody>
        </p:sp>
        <p:sp>
          <p:nvSpPr>
            <p:cNvPr id="65548" name="Rectangle 12"/>
            <p:cNvSpPr>
              <a:spLocks noChangeArrowheads="1"/>
            </p:cNvSpPr>
            <p:nvPr/>
          </p:nvSpPr>
          <p:spPr bwMode="grayWhite">
            <a:xfrm>
              <a:off x="6036004" y="3817572"/>
              <a:ext cx="1633209" cy="1364028"/>
            </a:xfrm>
            <a:prstGeom prst="rect">
              <a:avLst/>
            </a:prstGeom>
            <a:solidFill>
              <a:schemeClr val="accent1"/>
            </a:solidFill>
            <a:ln w="9525">
              <a:noFill/>
              <a:miter lim="800000"/>
              <a:headEnd/>
              <a:tailEnd/>
            </a:ln>
          </p:spPr>
          <p:txBody>
            <a:bodyPr/>
            <a:lstStyle/>
            <a:p>
              <a:pPr fontAlgn="base">
                <a:spcBef>
                  <a:spcPct val="0"/>
                </a:spcBef>
                <a:spcAft>
                  <a:spcPct val="0"/>
                </a:spcAft>
              </a:pPr>
              <a:endParaRPr lang="en-GB"/>
            </a:p>
          </p:txBody>
        </p:sp>
        <p:sp>
          <p:nvSpPr>
            <p:cNvPr id="65549" name="Rectangle 13"/>
            <p:cNvSpPr>
              <a:spLocks noChangeArrowheads="1"/>
            </p:cNvSpPr>
            <p:nvPr/>
          </p:nvSpPr>
          <p:spPr bwMode="grayWhite">
            <a:xfrm>
              <a:off x="6177290" y="3833132"/>
              <a:ext cx="1439115" cy="985647"/>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3900">
                  <a:solidFill>
                    <a:srgbClr val="FFFFFF"/>
                  </a:solidFill>
                </a:rPr>
                <a:t>50%</a:t>
              </a:r>
            </a:p>
            <a:p>
              <a:pPr lvl="0" fontAlgn="base">
                <a:spcBef>
                  <a:spcPct val="50000"/>
                </a:spcBef>
                <a:spcAft>
                  <a:spcPct val="0"/>
                </a:spcAft>
              </a:pPr>
              <a:r>
                <a:rPr lang="en-GB" sz="1000">
                  <a:solidFill>
                    <a:srgbClr val="FFFFFF"/>
                  </a:solidFill>
                </a:rPr>
                <a:t>Additional text can appear here in this size.</a:t>
              </a:r>
            </a:p>
          </p:txBody>
        </p:sp>
      </p:grpSp>
    </p:spTree>
    <p:extLst>
      <p:ext uri="{BB962C8B-B14F-4D97-AF65-F5344CB8AC3E}">
        <p14:creationId xmlns:p14="http://schemas.microsoft.com/office/powerpoint/2010/main" val="2163005619"/>
      </p:ext>
    </p:extLst>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Rectangle 3"/>
          <p:cNvSpPr>
            <a:spLocks noGrp="1" noChangeArrowheads="1"/>
          </p:cNvSpPr>
          <p:nvPr>
            <p:ph type="title"/>
          </p:nvPr>
        </p:nvSpPr>
        <p:spPr/>
        <p:txBody>
          <a:bodyPr/>
          <a:lstStyle/>
          <a:p>
            <a:r>
              <a:rPr lang="en-GB"/>
              <a:t>Main slide heading appears here</a:t>
            </a:r>
            <a:endParaRPr lang="en-GB" dirty="0"/>
          </a:p>
        </p:txBody>
      </p:sp>
      <p:sp>
        <p:nvSpPr>
          <p:cNvPr id="66562" name="Rectangle 2"/>
          <p:cNvSpPr>
            <a:spLocks noGrp="1"/>
          </p:cNvSpPr>
          <p:nvPr>
            <p:ph idx="11"/>
          </p:nvPr>
        </p:nvSpPr>
        <p:spPr>
          <a:xfrm>
            <a:off x="508000" y="1528763"/>
            <a:ext cx="11171238" cy="4830762"/>
          </a:xfrm>
        </p:spPr>
        <p:txBody>
          <a:bodyPr/>
          <a:lstStyle/>
          <a:p>
            <a:r>
              <a:rPr lang="en-GB" dirty="0">
                <a:latin typeface="+mj-lt"/>
              </a:rPr>
              <a:t>Sub headline (optional):</a:t>
            </a:r>
          </a:p>
          <a:p>
            <a:pPr lvl="0"/>
            <a:r>
              <a:rPr lang="en-GB" dirty="0"/>
              <a:t>Sub headline second line written in sentence case. </a:t>
            </a:r>
            <a:endParaRPr lang="en-AU" dirty="0"/>
          </a:p>
        </p:txBody>
      </p:sp>
      <p:grpSp>
        <p:nvGrpSpPr>
          <p:cNvPr id="66567" name="Group 7"/>
          <p:cNvGrpSpPr>
            <a:grpSpLocks/>
          </p:cNvGrpSpPr>
          <p:nvPr/>
        </p:nvGrpSpPr>
        <p:grpSpPr bwMode="auto">
          <a:xfrm>
            <a:off x="4378325" y="3777290"/>
            <a:ext cx="3435350" cy="582930"/>
            <a:chOff x="3178398" y="3127978"/>
            <a:chExt cx="3721100" cy="582655"/>
          </a:xfrm>
        </p:grpSpPr>
        <p:sp>
          <p:nvSpPr>
            <p:cNvPr id="851975" name="AutoShape 19"/>
            <p:cNvSpPr>
              <a:spLocks/>
            </p:cNvSpPr>
            <p:nvPr/>
          </p:nvSpPr>
          <p:spPr bwMode="auto">
            <a:xfrm rot="20700000">
              <a:off x="3178398" y="3127978"/>
              <a:ext cx="3721100" cy="90898"/>
            </a:xfrm>
            <a:custGeom>
              <a:avLst/>
              <a:gdLst>
                <a:gd name="T0" fmla="*/ 17 w 1406"/>
                <a:gd name="T1" fmla="*/ 34 h 34"/>
                <a:gd name="T2" fmla="*/ 0 w 1406"/>
                <a:gd name="T3" fmla="*/ 17 h 34"/>
                <a:gd name="T4" fmla="*/ 17 w 1406"/>
                <a:gd name="T5" fmla="*/ 0 h 34"/>
                <a:gd name="T6" fmla="*/ 1389 w 1406"/>
                <a:gd name="T7" fmla="*/ 0 h 34"/>
                <a:gd name="T8" fmla="*/ 1406 w 1406"/>
                <a:gd name="T9" fmla="*/ 17 h 34"/>
                <a:gd name="T10" fmla="*/ 1389 w 1406"/>
                <a:gd name="T11" fmla="*/ 34 h 34"/>
                <a:gd name="T12" fmla="*/ 17 w 1406"/>
                <a:gd name="T13" fmla="*/ 34 h 34"/>
                <a:gd name="T14" fmla="*/ 0 60000 65536"/>
                <a:gd name="T15" fmla="*/ 0 60000 65536"/>
                <a:gd name="T16" fmla="*/ 0 60000 65536"/>
                <a:gd name="T17" fmla="*/ 0 60000 65536"/>
                <a:gd name="T18" fmla="*/ 0 60000 65536"/>
                <a:gd name="T19" fmla="*/ 0 60000 65536"/>
                <a:gd name="T20" fmla="*/ 0 60000 65536"/>
                <a:gd name="T21" fmla="*/ 0 w 1406"/>
                <a:gd name="T22" fmla="*/ 0 h 34"/>
                <a:gd name="T23" fmla="*/ 1406 w 1406"/>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6" h="34">
                  <a:moveTo>
                    <a:pt x="17" y="34"/>
                  </a:moveTo>
                  <a:cubicBezTo>
                    <a:pt x="8" y="34"/>
                    <a:pt x="0" y="27"/>
                    <a:pt x="0" y="17"/>
                  </a:cubicBezTo>
                  <a:cubicBezTo>
                    <a:pt x="0" y="8"/>
                    <a:pt x="8" y="0"/>
                    <a:pt x="17" y="0"/>
                  </a:cubicBezTo>
                  <a:cubicBezTo>
                    <a:pt x="1389" y="0"/>
                    <a:pt x="1389" y="0"/>
                    <a:pt x="1389" y="0"/>
                  </a:cubicBezTo>
                  <a:cubicBezTo>
                    <a:pt x="1398" y="0"/>
                    <a:pt x="1406" y="8"/>
                    <a:pt x="1406" y="17"/>
                  </a:cubicBezTo>
                  <a:cubicBezTo>
                    <a:pt x="1406" y="27"/>
                    <a:pt x="1398" y="34"/>
                    <a:pt x="1389" y="34"/>
                  </a:cubicBezTo>
                  <a:lnTo>
                    <a:pt x="17" y="34"/>
                  </a:lnTo>
                  <a:close/>
                </a:path>
              </a:pathLst>
            </a:custGeom>
            <a:solidFill>
              <a:srgbClr val="BDBDBD"/>
            </a:solidFill>
            <a:ln w="9525">
              <a:noFill/>
              <a:round/>
              <a:headEnd/>
              <a:tailEnd/>
            </a:ln>
          </p:spPr>
          <p:txBody>
            <a:bodyPr/>
            <a:lstStyle/>
            <a:p>
              <a:endParaRPr lang="en-US"/>
            </a:p>
          </p:txBody>
        </p:sp>
        <p:sp>
          <p:nvSpPr>
            <p:cNvPr id="851976" name="AutoShape 20"/>
            <p:cNvSpPr>
              <a:spLocks/>
            </p:cNvSpPr>
            <p:nvPr/>
          </p:nvSpPr>
          <p:spPr bwMode="auto">
            <a:xfrm rot="20700000">
              <a:off x="4927571" y="3163945"/>
              <a:ext cx="365500" cy="546688"/>
            </a:xfrm>
            <a:custGeom>
              <a:avLst/>
              <a:gdLst>
                <a:gd name="T0" fmla="*/ 308 w 308"/>
                <a:gd name="T1" fmla="*/ 0 h 459"/>
                <a:gd name="T2" fmla="*/ 154 w 308"/>
                <a:gd name="T3" fmla="*/ 0 h 459"/>
                <a:gd name="T4" fmla="*/ 0 w 308"/>
                <a:gd name="T5" fmla="*/ 0 h 459"/>
                <a:gd name="T6" fmla="*/ 154 w 308"/>
                <a:gd name="T7" fmla="*/ 459 h 459"/>
                <a:gd name="T8" fmla="*/ 308 w 308"/>
                <a:gd name="T9" fmla="*/ 0 h 459"/>
                <a:gd name="T10" fmla="*/ 0 60000 65536"/>
                <a:gd name="T11" fmla="*/ 0 60000 65536"/>
                <a:gd name="T12" fmla="*/ 0 60000 65536"/>
                <a:gd name="T13" fmla="*/ 0 60000 65536"/>
                <a:gd name="T14" fmla="*/ 0 60000 65536"/>
                <a:gd name="T15" fmla="*/ 0 w 308"/>
                <a:gd name="T16" fmla="*/ 0 h 459"/>
                <a:gd name="T17" fmla="*/ 308 w 308"/>
                <a:gd name="T18" fmla="*/ 459 h 459"/>
              </a:gdLst>
              <a:ahLst/>
              <a:cxnLst>
                <a:cxn ang="T10">
                  <a:pos x="T0" y="T1"/>
                </a:cxn>
                <a:cxn ang="T11">
                  <a:pos x="T2" y="T3"/>
                </a:cxn>
                <a:cxn ang="T12">
                  <a:pos x="T4" y="T5"/>
                </a:cxn>
                <a:cxn ang="T13">
                  <a:pos x="T6" y="T7"/>
                </a:cxn>
                <a:cxn ang="T14">
                  <a:pos x="T8" y="T9"/>
                </a:cxn>
              </a:cxnLst>
              <a:rect l="T15" t="T16" r="T17" b="T18"/>
              <a:pathLst>
                <a:path w="308" h="459">
                  <a:moveTo>
                    <a:pt x="308" y="0"/>
                  </a:moveTo>
                  <a:lnTo>
                    <a:pt x="154" y="0"/>
                  </a:lnTo>
                  <a:lnTo>
                    <a:pt x="0" y="0"/>
                  </a:lnTo>
                  <a:lnTo>
                    <a:pt x="154" y="459"/>
                  </a:lnTo>
                  <a:lnTo>
                    <a:pt x="308" y="0"/>
                  </a:lnTo>
                  <a:close/>
                </a:path>
              </a:pathLst>
            </a:custGeom>
            <a:solidFill>
              <a:srgbClr val="BDBDBD"/>
            </a:solidFill>
            <a:ln w="9525">
              <a:noFill/>
              <a:round/>
              <a:headEnd/>
              <a:tailEnd/>
            </a:ln>
          </p:spPr>
          <p:txBody>
            <a:bodyPr/>
            <a:lstStyle/>
            <a:p>
              <a:endParaRPr lang="en-US"/>
            </a:p>
          </p:txBody>
        </p:sp>
      </p:grpSp>
      <p:grpSp>
        <p:nvGrpSpPr>
          <p:cNvPr id="66568" name="Group 8"/>
          <p:cNvGrpSpPr>
            <a:grpSpLocks/>
          </p:cNvGrpSpPr>
          <p:nvPr/>
        </p:nvGrpSpPr>
        <p:grpSpPr bwMode="auto">
          <a:xfrm>
            <a:off x="5842002" y="3015289"/>
            <a:ext cx="504825" cy="1043940"/>
            <a:chOff x="4764088" y="2365375"/>
            <a:chExt cx="546100" cy="1044575"/>
          </a:xfrm>
        </p:grpSpPr>
        <p:sp>
          <p:nvSpPr>
            <p:cNvPr id="66577" name="AutoShape 17"/>
            <p:cNvSpPr>
              <a:spLocks/>
            </p:cNvSpPr>
            <p:nvPr/>
          </p:nvSpPr>
          <p:spPr bwMode="auto">
            <a:xfrm>
              <a:off x="4764088" y="2365375"/>
              <a:ext cx="546100" cy="1044575"/>
            </a:xfrm>
            <a:custGeom>
              <a:avLst/>
              <a:gdLst>
                <a:gd name="T0" fmla="*/ 206 w 206"/>
                <a:gd name="T1" fmla="*/ 0 h 394"/>
                <a:gd name="T2" fmla="*/ 0 w 206"/>
                <a:gd name="T3" fmla="*/ 0 h 394"/>
                <a:gd name="T4" fmla="*/ 0 w 206"/>
                <a:gd name="T5" fmla="*/ 291 h 394"/>
                <a:gd name="T6" fmla="*/ 103 w 206"/>
                <a:gd name="T7" fmla="*/ 394 h 394"/>
                <a:gd name="T8" fmla="*/ 206 w 206"/>
                <a:gd name="T9" fmla="*/ 291 h 394"/>
                <a:gd name="T10" fmla="*/ 206 w 206"/>
                <a:gd name="T11" fmla="*/ 0 h 394"/>
                <a:gd name="T12" fmla="*/ 0 60000 65536"/>
                <a:gd name="T13" fmla="*/ 0 60000 65536"/>
                <a:gd name="T14" fmla="*/ 0 60000 65536"/>
                <a:gd name="T15" fmla="*/ 0 60000 65536"/>
                <a:gd name="T16" fmla="*/ 0 60000 65536"/>
                <a:gd name="T17" fmla="*/ 0 60000 65536"/>
                <a:gd name="T18" fmla="*/ 0 w 206"/>
                <a:gd name="T19" fmla="*/ 0 h 394"/>
                <a:gd name="T20" fmla="*/ 206 w 206"/>
                <a:gd name="T21" fmla="*/ 394 h 394"/>
              </a:gdLst>
              <a:ahLst/>
              <a:cxnLst>
                <a:cxn ang="T12">
                  <a:pos x="T0" y="T1"/>
                </a:cxn>
                <a:cxn ang="T13">
                  <a:pos x="T2" y="T3"/>
                </a:cxn>
                <a:cxn ang="T14">
                  <a:pos x="T4" y="T5"/>
                </a:cxn>
                <a:cxn ang="T15">
                  <a:pos x="T6" y="T7"/>
                </a:cxn>
                <a:cxn ang="T16">
                  <a:pos x="T8" y="T9"/>
                </a:cxn>
                <a:cxn ang="T17">
                  <a:pos x="T10" y="T11"/>
                </a:cxn>
              </a:cxnLst>
              <a:rect l="T18" t="T19" r="T20" b="T21"/>
              <a:pathLst>
                <a:path w="206" h="394">
                  <a:moveTo>
                    <a:pt x="206" y="0"/>
                  </a:moveTo>
                  <a:cubicBezTo>
                    <a:pt x="0" y="0"/>
                    <a:pt x="0" y="0"/>
                    <a:pt x="0" y="0"/>
                  </a:cubicBezTo>
                  <a:cubicBezTo>
                    <a:pt x="0" y="291"/>
                    <a:pt x="0" y="291"/>
                    <a:pt x="0" y="291"/>
                  </a:cubicBezTo>
                  <a:cubicBezTo>
                    <a:pt x="0" y="348"/>
                    <a:pt x="46" y="394"/>
                    <a:pt x="103" y="394"/>
                  </a:cubicBezTo>
                  <a:cubicBezTo>
                    <a:pt x="160" y="394"/>
                    <a:pt x="206" y="348"/>
                    <a:pt x="206" y="291"/>
                  </a:cubicBezTo>
                  <a:lnTo>
                    <a:pt x="206" y="0"/>
                  </a:lnTo>
                  <a:close/>
                </a:path>
              </a:pathLst>
            </a:custGeom>
            <a:solidFill>
              <a:srgbClr val="7F7F7F"/>
            </a:solidFill>
            <a:ln w="9525">
              <a:noFill/>
              <a:round/>
              <a:headEnd/>
              <a:tailEnd/>
            </a:ln>
          </p:spPr>
          <p:txBody>
            <a:bodyPr/>
            <a:lstStyle/>
            <a:p>
              <a:endParaRPr lang="en-US"/>
            </a:p>
          </p:txBody>
        </p:sp>
        <p:sp>
          <p:nvSpPr>
            <p:cNvPr id="66578" name="AutoShape 18"/>
            <p:cNvSpPr>
              <a:spLocks/>
            </p:cNvSpPr>
            <p:nvPr/>
          </p:nvSpPr>
          <p:spPr bwMode="auto">
            <a:xfrm>
              <a:off x="4943095" y="3041886"/>
              <a:ext cx="189384" cy="189216"/>
            </a:xfrm>
            <a:custGeom>
              <a:avLst/>
              <a:gdLst>
                <a:gd name="T0" fmla="*/ 39 w 72"/>
                <a:gd name="T1" fmla="*/ 70 h 72"/>
                <a:gd name="T2" fmla="*/ 70 w 72"/>
                <a:gd name="T3" fmla="*/ 33 h 72"/>
                <a:gd name="T4" fmla="*/ 33 w 72"/>
                <a:gd name="T5" fmla="*/ 2 h 72"/>
                <a:gd name="T6" fmla="*/ 2 w 72"/>
                <a:gd name="T7" fmla="*/ 39 h 72"/>
                <a:gd name="T8" fmla="*/ 39 w 72"/>
                <a:gd name="T9" fmla="*/ 70 h 72"/>
                <a:gd name="T10" fmla="*/ 0 60000 65536"/>
                <a:gd name="T11" fmla="*/ 0 60000 65536"/>
                <a:gd name="T12" fmla="*/ 0 60000 65536"/>
                <a:gd name="T13" fmla="*/ 0 60000 65536"/>
                <a:gd name="T14" fmla="*/ 0 60000 65536"/>
                <a:gd name="T15" fmla="*/ 0 w 72"/>
                <a:gd name="T16" fmla="*/ 0 h 72"/>
                <a:gd name="T17" fmla="*/ 72 w 72"/>
                <a:gd name="T18" fmla="*/ 72 h 72"/>
              </a:gdLst>
              <a:ahLst/>
              <a:cxnLst>
                <a:cxn ang="T10">
                  <a:pos x="T0" y="T1"/>
                </a:cxn>
                <a:cxn ang="T11">
                  <a:pos x="T2" y="T3"/>
                </a:cxn>
                <a:cxn ang="T12">
                  <a:pos x="T4" y="T5"/>
                </a:cxn>
                <a:cxn ang="T13">
                  <a:pos x="T6" y="T7"/>
                </a:cxn>
                <a:cxn ang="T14">
                  <a:pos x="T8" y="T9"/>
                </a:cxn>
              </a:cxnLst>
              <a:rect l="T15" t="T16" r="T17" b="T18"/>
              <a:pathLst>
                <a:path w="72" h="72">
                  <a:moveTo>
                    <a:pt x="39" y="70"/>
                  </a:moveTo>
                  <a:cubicBezTo>
                    <a:pt x="58" y="69"/>
                    <a:pt x="72" y="52"/>
                    <a:pt x="70" y="33"/>
                  </a:cubicBezTo>
                  <a:cubicBezTo>
                    <a:pt x="69" y="14"/>
                    <a:pt x="52" y="0"/>
                    <a:pt x="33" y="2"/>
                  </a:cubicBezTo>
                  <a:cubicBezTo>
                    <a:pt x="14" y="4"/>
                    <a:pt x="0" y="20"/>
                    <a:pt x="2" y="39"/>
                  </a:cubicBezTo>
                </a:path>
              </a:pathLst>
            </a:custGeom>
            <a:solidFill>
              <a:schemeClr val="bg1"/>
            </a:solidFill>
            <a:ln w="9525">
              <a:noFill/>
              <a:round/>
              <a:headEnd/>
              <a:tailEnd/>
            </a:ln>
          </p:spPr>
          <p:txBody>
            <a:bodyPr/>
            <a:lstStyle/>
            <a:p>
              <a:endParaRPr lang="en-US"/>
            </a:p>
          </p:txBody>
        </p:sp>
      </p:grpSp>
      <p:grpSp>
        <p:nvGrpSpPr>
          <p:cNvPr id="66569" name="Group 9"/>
          <p:cNvGrpSpPr>
            <a:grpSpLocks/>
          </p:cNvGrpSpPr>
          <p:nvPr/>
        </p:nvGrpSpPr>
        <p:grpSpPr bwMode="grayWhite">
          <a:xfrm>
            <a:off x="3736977" y="4314500"/>
            <a:ext cx="1508125" cy="2045025"/>
            <a:chOff x="2482850" y="3665538"/>
            <a:chExt cx="1633538" cy="2044700"/>
          </a:xfrm>
        </p:grpSpPr>
        <p:sp>
          <p:nvSpPr>
            <p:cNvPr id="66574" name="AutoShape 14"/>
            <p:cNvSpPr>
              <a:spLocks/>
            </p:cNvSpPr>
            <p:nvPr/>
          </p:nvSpPr>
          <p:spPr bwMode="grayWhite">
            <a:xfrm>
              <a:off x="2661761" y="3665538"/>
              <a:ext cx="1271826" cy="680702"/>
            </a:xfrm>
            <a:custGeom>
              <a:avLst/>
              <a:gdLst>
                <a:gd name="T0" fmla="*/ 1070 w 1070"/>
                <a:gd name="T1" fmla="*/ 573 h 573"/>
                <a:gd name="T2" fmla="*/ 535 w 1070"/>
                <a:gd name="T3" fmla="*/ 0 h 573"/>
                <a:gd name="T4" fmla="*/ 0 w 1070"/>
                <a:gd name="T5" fmla="*/ 573 h 573"/>
                <a:gd name="T6" fmla="*/ 0 60000 65536"/>
                <a:gd name="T7" fmla="*/ 0 60000 65536"/>
                <a:gd name="T8" fmla="*/ 0 60000 65536"/>
                <a:gd name="T9" fmla="*/ 0 w 1070"/>
                <a:gd name="T10" fmla="*/ 0 h 573"/>
                <a:gd name="T11" fmla="*/ 1070 w 1070"/>
                <a:gd name="T12" fmla="*/ 573 h 573"/>
              </a:gdLst>
              <a:ahLst/>
              <a:cxnLst>
                <a:cxn ang="T6">
                  <a:pos x="T0" y="T1"/>
                </a:cxn>
                <a:cxn ang="T7">
                  <a:pos x="T2" y="T3"/>
                </a:cxn>
                <a:cxn ang="T8">
                  <a:pos x="T4" y="T5"/>
                </a:cxn>
              </a:cxnLst>
              <a:rect l="T9" t="T10" r="T11" b="T12"/>
              <a:pathLst>
                <a:path w="1070" h="573">
                  <a:moveTo>
                    <a:pt x="1070" y="573"/>
                  </a:moveTo>
                  <a:lnTo>
                    <a:pt x="535" y="0"/>
                  </a:lnTo>
                  <a:lnTo>
                    <a:pt x="0" y="573"/>
                  </a:lnTo>
                </a:path>
              </a:pathLst>
            </a:custGeom>
            <a:noFill/>
            <a:ln w="28575" cap="sq">
              <a:solidFill>
                <a:srgbClr val="BDBDBD"/>
              </a:solidFill>
              <a:miter lim="800000"/>
              <a:headEnd/>
              <a:tailEnd/>
            </a:ln>
          </p:spPr>
          <p:txBody>
            <a:bodyPr/>
            <a:lstStyle/>
            <a:p>
              <a:endParaRPr lang="en-US"/>
            </a:p>
          </p:txBody>
        </p:sp>
        <p:sp>
          <p:nvSpPr>
            <p:cNvPr id="66575" name="Rectangle 15"/>
            <p:cNvSpPr>
              <a:spLocks noChangeArrowheads="1"/>
            </p:cNvSpPr>
            <p:nvPr/>
          </p:nvSpPr>
          <p:spPr bwMode="grayWhite">
            <a:xfrm>
              <a:off x="2482850" y="4346240"/>
              <a:ext cx="1633538" cy="1363998"/>
            </a:xfrm>
            <a:prstGeom prst="rect">
              <a:avLst/>
            </a:prstGeom>
            <a:solidFill>
              <a:schemeClr val="accent1"/>
            </a:solidFill>
            <a:ln w="9525">
              <a:noFill/>
              <a:miter lim="800000"/>
              <a:headEnd/>
              <a:tailEnd/>
            </a:ln>
          </p:spPr>
          <p:txBody>
            <a:bodyPr/>
            <a:lstStyle/>
            <a:p>
              <a:pPr fontAlgn="base">
                <a:spcBef>
                  <a:spcPct val="0"/>
                </a:spcBef>
                <a:spcAft>
                  <a:spcPct val="0"/>
                </a:spcAft>
              </a:pPr>
              <a:endParaRPr lang="en-GB"/>
            </a:p>
          </p:txBody>
        </p:sp>
        <p:sp>
          <p:nvSpPr>
            <p:cNvPr id="66576" name="Rectangle 16"/>
            <p:cNvSpPr>
              <a:spLocks noChangeArrowheads="1"/>
            </p:cNvSpPr>
            <p:nvPr/>
          </p:nvSpPr>
          <p:spPr bwMode="grayWhite">
            <a:xfrm>
              <a:off x="2621571" y="4361799"/>
              <a:ext cx="1305534" cy="1138592"/>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3900" dirty="0">
                  <a:solidFill>
                    <a:srgbClr val="FFFFFF"/>
                  </a:solidFill>
                </a:rPr>
                <a:t>60%</a:t>
              </a:r>
            </a:p>
            <a:p>
              <a:pPr lvl="0" fontAlgn="base">
                <a:spcBef>
                  <a:spcPct val="50000"/>
                </a:spcBef>
                <a:spcAft>
                  <a:spcPct val="0"/>
                </a:spcAft>
              </a:pPr>
              <a:r>
                <a:rPr lang="en-GB" sz="1000" dirty="0">
                  <a:solidFill>
                    <a:srgbClr val="FFFFFF"/>
                  </a:solidFill>
                </a:rPr>
                <a:t>Additional text can appear here in this size.</a:t>
              </a:r>
            </a:p>
          </p:txBody>
        </p:sp>
      </p:grpSp>
      <p:grpSp>
        <p:nvGrpSpPr>
          <p:cNvPr id="66570" name="Group 10"/>
          <p:cNvGrpSpPr>
            <a:grpSpLocks/>
          </p:cNvGrpSpPr>
          <p:nvPr/>
        </p:nvGrpSpPr>
        <p:grpSpPr bwMode="grayWhite">
          <a:xfrm>
            <a:off x="6945314" y="3360095"/>
            <a:ext cx="1508125" cy="2045970"/>
            <a:chOff x="5959475" y="2711450"/>
            <a:chExt cx="1633538" cy="2045647"/>
          </a:xfrm>
        </p:grpSpPr>
        <p:sp>
          <p:nvSpPr>
            <p:cNvPr id="66571" name="AutoShape 11"/>
            <p:cNvSpPr>
              <a:spLocks/>
            </p:cNvSpPr>
            <p:nvPr/>
          </p:nvSpPr>
          <p:spPr bwMode="grayWhite">
            <a:xfrm>
              <a:off x="6142276" y="2711450"/>
              <a:ext cx="1270531" cy="680702"/>
            </a:xfrm>
            <a:custGeom>
              <a:avLst/>
              <a:gdLst>
                <a:gd name="T0" fmla="*/ 1069 w 1069"/>
                <a:gd name="T1" fmla="*/ 573 h 573"/>
                <a:gd name="T2" fmla="*/ 534 w 1069"/>
                <a:gd name="T3" fmla="*/ 0 h 573"/>
                <a:gd name="T4" fmla="*/ 0 w 1069"/>
                <a:gd name="T5" fmla="*/ 573 h 573"/>
                <a:gd name="T6" fmla="*/ 0 60000 65536"/>
                <a:gd name="T7" fmla="*/ 0 60000 65536"/>
                <a:gd name="T8" fmla="*/ 0 60000 65536"/>
                <a:gd name="T9" fmla="*/ 0 w 1069"/>
                <a:gd name="T10" fmla="*/ 0 h 573"/>
                <a:gd name="T11" fmla="*/ 1069 w 1069"/>
                <a:gd name="T12" fmla="*/ 573 h 573"/>
              </a:gdLst>
              <a:ahLst/>
              <a:cxnLst>
                <a:cxn ang="T6">
                  <a:pos x="T0" y="T1"/>
                </a:cxn>
                <a:cxn ang="T7">
                  <a:pos x="T2" y="T3"/>
                </a:cxn>
                <a:cxn ang="T8">
                  <a:pos x="T4" y="T5"/>
                </a:cxn>
              </a:cxnLst>
              <a:rect l="T9" t="T10" r="T11" b="T12"/>
              <a:pathLst>
                <a:path w="1069" h="573">
                  <a:moveTo>
                    <a:pt x="1069" y="573"/>
                  </a:moveTo>
                  <a:lnTo>
                    <a:pt x="534" y="0"/>
                  </a:lnTo>
                  <a:lnTo>
                    <a:pt x="0" y="573"/>
                  </a:lnTo>
                </a:path>
              </a:pathLst>
            </a:custGeom>
            <a:noFill/>
            <a:ln w="28575" cap="sq">
              <a:solidFill>
                <a:srgbClr val="BDBDBD"/>
              </a:solidFill>
              <a:miter lim="800000"/>
              <a:headEnd/>
              <a:tailEnd/>
            </a:ln>
          </p:spPr>
          <p:txBody>
            <a:bodyPr/>
            <a:lstStyle/>
            <a:p>
              <a:endParaRPr lang="en-US"/>
            </a:p>
          </p:txBody>
        </p:sp>
        <p:sp>
          <p:nvSpPr>
            <p:cNvPr id="851986" name="Rectangle 12"/>
            <p:cNvSpPr>
              <a:spLocks noChangeArrowheads="1"/>
            </p:cNvSpPr>
            <p:nvPr/>
          </p:nvSpPr>
          <p:spPr bwMode="grayWhite">
            <a:xfrm>
              <a:off x="5959475" y="3391427"/>
              <a:ext cx="1633538" cy="1365670"/>
            </a:xfrm>
            <a:prstGeom prst="rect">
              <a:avLst/>
            </a:prstGeom>
            <a:solidFill>
              <a:schemeClr val="accent2">
                <a:alpha val="60001"/>
              </a:schemeClr>
            </a:solidFill>
            <a:ln w="9525">
              <a:noFill/>
              <a:miter lim="800000"/>
              <a:headEnd/>
              <a:tailEnd/>
            </a:ln>
          </p:spPr>
          <p:txBody>
            <a:bodyPr/>
            <a:lstStyle/>
            <a:p>
              <a:pPr>
                <a:defRPr/>
              </a:pPr>
              <a:endParaRPr lang="en-US"/>
            </a:p>
          </p:txBody>
        </p:sp>
        <p:sp>
          <p:nvSpPr>
            <p:cNvPr id="66573" name="Rectangle 13"/>
            <p:cNvSpPr>
              <a:spLocks noChangeArrowheads="1"/>
            </p:cNvSpPr>
            <p:nvPr/>
          </p:nvSpPr>
          <p:spPr bwMode="grayWhite">
            <a:xfrm>
              <a:off x="6100789" y="3407711"/>
              <a:ext cx="1305534" cy="1138593"/>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3900">
                  <a:solidFill>
                    <a:srgbClr val="FFFFFF"/>
                  </a:solidFill>
                </a:rPr>
                <a:t>40%</a:t>
              </a:r>
            </a:p>
            <a:p>
              <a:pPr lvl="0" fontAlgn="base">
                <a:spcBef>
                  <a:spcPct val="50000"/>
                </a:spcBef>
                <a:spcAft>
                  <a:spcPct val="0"/>
                </a:spcAft>
              </a:pPr>
              <a:r>
                <a:rPr lang="en-GB" sz="1000">
                  <a:solidFill>
                    <a:srgbClr val="FFFFFF"/>
                  </a:solidFill>
                </a:rPr>
                <a:t>Additional text can appear here in this size.</a:t>
              </a:r>
            </a:p>
          </p:txBody>
        </p:sp>
      </p:grpSp>
    </p:spTree>
    <p:extLst>
      <p:ext uri="{BB962C8B-B14F-4D97-AF65-F5344CB8AC3E}">
        <p14:creationId xmlns:p14="http://schemas.microsoft.com/office/powerpoint/2010/main" val="2824523116"/>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3"/>
          <p:cNvSpPr>
            <a:spLocks noGrp="1" noChangeArrowheads="1"/>
          </p:cNvSpPr>
          <p:nvPr>
            <p:ph type="title"/>
          </p:nvPr>
        </p:nvSpPr>
        <p:spPr/>
        <p:txBody>
          <a:bodyPr/>
          <a:lstStyle/>
          <a:p>
            <a:r>
              <a:rPr lang="en-GB"/>
              <a:t>Main slide heading appears here</a:t>
            </a:r>
            <a:endParaRPr lang="en-GB" dirty="0"/>
          </a:p>
        </p:txBody>
      </p:sp>
      <p:sp>
        <p:nvSpPr>
          <p:cNvPr id="67586" name="Rectangle 2"/>
          <p:cNvSpPr>
            <a:spLocks noGrp="1"/>
          </p:cNvSpPr>
          <p:nvPr>
            <p:ph idx="11"/>
          </p:nvPr>
        </p:nvSpPr>
        <p:spPr>
          <a:xfrm>
            <a:off x="508000" y="1528763"/>
            <a:ext cx="11171238" cy="4830762"/>
          </a:xfrm>
        </p:spPr>
        <p:txBody>
          <a:bodyPr/>
          <a:lstStyle/>
          <a:p>
            <a:r>
              <a:rPr lang="en-GB" dirty="0">
                <a:latin typeface="+mj-lt"/>
              </a:rPr>
              <a:t>Sub headline (optional):</a:t>
            </a:r>
          </a:p>
          <a:p>
            <a:pPr lvl="0"/>
            <a:r>
              <a:rPr lang="en-GB" dirty="0"/>
              <a:t>Sub headline second line written in sentence case. </a:t>
            </a:r>
            <a:endParaRPr lang="en-AU" dirty="0"/>
          </a:p>
        </p:txBody>
      </p:sp>
      <p:grpSp>
        <p:nvGrpSpPr>
          <p:cNvPr id="67591" name="Group 7"/>
          <p:cNvGrpSpPr>
            <a:grpSpLocks/>
          </p:cNvGrpSpPr>
          <p:nvPr/>
        </p:nvGrpSpPr>
        <p:grpSpPr bwMode="auto">
          <a:xfrm>
            <a:off x="4378325" y="3805866"/>
            <a:ext cx="3435350" cy="582930"/>
            <a:chOff x="3166840" y="3127978"/>
            <a:chExt cx="3721100" cy="582991"/>
          </a:xfrm>
        </p:grpSpPr>
        <p:sp>
          <p:nvSpPr>
            <p:cNvPr id="854022" name="AutoShape 19"/>
            <p:cNvSpPr>
              <a:spLocks/>
            </p:cNvSpPr>
            <p:nvPr/>
          </p:nvSpPr>
          <p:spPr bwMode="auto">
            <a:xfrm rot="900000">
              <a:off x="3166840" y="3127978"/>
              <a:ext cx="3721100" cy="90898"/>
            </a:xfrm>
            <a:custGeom>
              <a:avLst/>
              <a:gdLst>
                <a:gd name="T0" fmla="*/ 17 w 1406"/>
                <a:gd name="T1" fmla="*/ 34 h 34"/>
                <a:gd name="T2" fmla="*/ 0 w 1406"/>
                <a:gd name="T3" fmla="*/ 17 h 34"/>
                <a:gd name="T4" fmla="*/ 17 w 1406"/>
                <a:gd name="T5" fmla="*/ 0 h 34"/>
                <a:gd name="T6" fmla="*/ 1389 w 1406"/>
                <a:gd name="T7" fmla="*/ 0 h 34"/>
                <a:gd name="T8" fmla="*/ 1406 w 1406"/>
                <a:gd name="T9" fmla="*/ 17 h 34"/>
                <a:gd name="T10" fmla="*/ 1389 w 1406"/>
                <a:gd name="T11" fmla="*/ 34 h 34"/>
                <a:gd name="T12" fmla="*/ 17 w 1406"/>
                <a:gd name="T13" fmla="*/ 34 h 34"/>
                <a:gd name="T14" fmla="*/ 0 60000 65536"/>
                <a:gd name="T15" fmla="*/ 0 60000 65536"/>
                <a:gd name="T16" fmla="*/ 0 60000 65536"/>
                <a:gd name="T17" fmla="*/ 0 60000 65536"/>
                <a:gd name="T18" fmla="*/ 0 60000 65536"/>
                <a:gd name="T19" fmla="*/ 0 60000 65536"/>
                <a:gd name="T20" fmla="*/ 0 60000 65536"/>
                <a:gd name="T21" fmla="*/ 0 w 1406"/>
                <a:gd name="T22" fmla="*/ 0 h 34"/>
                <a:gd name="T23" fmla="*/ 1406 w 1406"/>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6" h="34">
                  <a:moveTo>
                    <a:pt x="17" y="34"/>
                  </a:moveTo>
                  <a:cubicBezTo>
                    <a:pt x="8" y="34"/>
                    <a:pt x="0" y="27"/>
                    <a:pt x="0" y="17"/>
                  </a:cubicBezTo>
                  <a:cubicBezTo>
                    <a:pt x="0" y="8"/>
                    <a:pt x="8" y="0"/>
                    <a:pt x="17" y="0"/>
                  </a:cubicBezTo>
                  <a:cubicBezTo>
                    <a:pt x="1389" y="0"/>
                    <a:pt x="1389" y="0"/>
                    <a:pt x="1389" y="0"/>
                  </a:cubicBezTo>
                  <a:cubicBezTo>
                    <a:pt x="1398" y="0"/>
                    <a:pt x="1406" y="8"/>
                    <a:pt x="1406" y="17"/>
                  </a:cubicBezTo>
                  <a:cubicBezTo>
                    <a:pt x="1406" y="27"/>
                    <a:pt x="1398" y="34"/>
                    <a:pt x="1389" y="34"/>
                  </a:cubicBezTo>
                  <a:lnTo>
                    <a:pt x="17" y="34"/>
                  </a:lnTo>
                  <a:close/>
                </a:path>
              </a:pathLst>
            </a:custGeom>
            <a:solidFill>
              <a:srgbClr val="BDBDBD"/>
            </a:solidFill>
            <a:ln w="9525">
              <a:noFill/>
              <a:round/>
              <a:headEnd/>
              <a:tailEnd/>
            </a:ln>
          </p:spPr>
          <p:txBody>
            <a:bodyPr/>
            <a:lstStyle/>
            <a:p>
              <a:endParaRPr lang="en-US"/>
            </a:p>
          </p:txBody>
        </p:sp>
        <p:sp>
          <p:nvSpPr>
            <p:cNvPr id="854023" name="AutoShape 20"/>
            <p:cNvSpPr>
              <a:spLocks/>
            </p:cNvSpPr>
            <p:nvPr/>
          </p:nvSpPr>
          <p:spPr bwMode="auto">
            <a:xfrm rot="900000">
              <a:off x="4774519" y="3164281"/>
              <a:ext cx="365500" cy="546688"/>
            </a:xfrm>
            <a:custGeom>
              <a:avLst/>
              <a:gdLst>
                <a:gd name="T0" fmla="*/ 308 w 308"/>
                <a:gd name="T1" fmla="*/ 0 h 459"/>
                <a:gd name="T2" fmla="*/ 154 w 308"/>
                <a:gd name="T3" fmla="*/ 0 h 459"/>
                <a:gd name="T4" fmla="*/ 0 w 308"/>
                <a:gd name="T5" fmla="*/ 0 h 459"/>
                <a:gd name="T6" fmla="*/ 154 w 308"/>
                <a:gd name="T7" fmla="*/ 459 h 459"/>
                <a:gd name="T8" fmla="*/ 308 w 308"/>
                <a:gd name="T9" fmla="*/ 0 h 459"/>
                <a:gd name="T10" fmla="*/ 0 60000 65536"/>
                <a:gd name="T11" fmla="*/ 0 60000 65536"/>
                <a:gd name="T12" fmla="*/ 0 60000 65536"/>
                <a:gd name="T13" fmla="*/ 0 60000 65536"/>
                <a:gd name="T14" fmla="*/ 0 60000 65536"/>
                <a:gd name="T15" fmla="*/ 0 w 308"/>
                <a:gd name="T16" fmla="*/ 0 h 459"/>
                <a:gd name="T17" fmla="*/ 308 w 308"/>
                <a:gd name="T18" fmla="*/ 459 h 459"/>
              </a:gdLst>
              <a:ahLst/>
              <a:cxnLst>
                <a:cxn ang="T10">
                  <a:pos x="T0" y="T1"/>
                </a:cxn>
                <a:cxn ang="T11">
                  <a:pos x="T2" y="T3"/>
                </a:cxn>
                <a:cxn ang="T12">
                  <a:pos x="T4" y="T5"/>
                </a:cxn>
                <a:cxn ang="T13">
                  <a:pos x="T6" y="T7"/>
                </a:cxn>
                <a:cxn ang="T14">
                  <a:pos x="T8" y="T9"/>
                </a:cxn>
              </a:cxnLst>
              <a:rect l="T15" t="T16" r="T17" b="T18"/>
              <a:pathLst>
                <a:path w="308" h="459">
                  <a:moveTo>
                    <a:pt x="308" y="0"/>
                  </a:moveTo>
                  <a:lnTo>
                    <a:pt x="154" y="0"/>
                  </a:lnTo>
                  <a:lnTo>
                    <a:pt x="0" y="0"/>
                  </a:lnTo>
                  <a:lnTo>
                    <a:pt x="154" y="459"/>
                  </a:lnTo>
                  <a:lnTo>
                    <a:pt x="308" y="0"/>
                  </a:lnTo>
                  <a:close/>
                </a:path>
              </a:pathLst>
            </a:custGeom>
            <a:solidFill>
              <a:srgbClr val="BDBDBD"/>
            </a:solidFill>
            <a:ln w="9525">
              <a:noFill/>
              <a:round/>
              <a:headEnd/>
              <a:tailEnd/>
            </a:ln>
          </p:spPr>
          <p:txBody>
            <a:bodyPr/>
            <a:lstStyle/>
            <a:p>
              <a:endParaRPr lang="en-US"/>
            </a:p>
          </p:txBody>
        </p:sp>
      </p:grpSp>
      <p:grpSp>
        <p:nvGrpSpPr>
          <p:cNvPr id="67592" name="Group 8"/>
          <p:cNvGrpSpPr>
            <a:grpSpLocks/>
          </p:cNvGrpSpPr>
          <p:nvPr/>
        </p:nvGrpSpPr>
        <p:grpSpPr bwMode="auto">
          <a:xfrm>
            <a:off x="5853114" y="3043865"/>
            <a:ext cx="504825" cy="1043940"/>
            <a:chOff x="4764088" y="2365375"/>
            <a:chExt cx="546100" cy="1044575"/>
          </a:xfrm>
        </p:grpSpPr>
        <p:sp>
          <p:nvSpPr>
            <p:cNvPr id="67601" name="AutoShape 17"/>
            <p:cNvSpPr>
              <a:spLocks/>
            </p:cNvSpPr>
            <p:nvPr/>
          </p:nvSpPr>
          <p:spPr bwMode="auto">
            <a:xfrm>
              <a:off x="4764088" y="2365375"/>
              <a:ext cx="546100" cy="1044575"/>
            </a:xfrm>
            <a:custGeom>
              <a:avLst/>
              <a:gdLst>
                <a:gd name="T0" fmla="*/ 206 w 206"/>
                <a:gd name="T1" fmla="*/ 0 h 394"/>
                <a:gd name="T2" fmla="*/ 0 w 206"/>
                <a:gd name="T3" fmla="*/ 0 h 394"/>
                <a:gd name="T4" fmla="*/ 0 w 206"/>
                <a:gd name="T5" fmla="*/ 291 h 394"/>
                <a:gd name="T6" fmla="*/ 103 w 206"/>
                <a:gd name="T7" fmla="*/ 394 h 394"/>
                <a:gd name="T8" fmla="*/ 206 w 206"/>
                <a:gd name="T9" fmla="*/ 291 h 394"/>
                <a:gd name="T10" fmla="*/ 206 w 206"/>
                <a:gd name="T11" fmla="*/ 0 h 394"/>
                <a:gd name="T12" fmla="*/ 0 60000 65536"/>
                <a:gd name="T13" fmla="*/ 0 60000 65536"/>
                <a:gd name="T14" fmla="*/ 0 60000 65536"/>
                <a:gd name="T15" fmla="*/ 0 60000 65536"/>
                <a:gd name="T16" fmla="*/ 0 60000 65536"/>
                <a:gd name="T17" fmla="*/ 0 60000 65536"/>
                <a:gd name="T18" fmla="*/ 0 w 206"/>
                <a:gd name="T19" fmla="*/ 0 h 394"/>
                <a:gd name="T20" fmla="*/ 206 w 206"/>
                <a:gd name="T21" fmla="*/ 394 h 394"/>
              </a:gdLst>
              <a:ahLst/>
              <a:cxnLst>
                <a:cxn ang="T12">
                  <a:pos x="T0" y="T1"/>
                </a:cxn>
                <a:cxn ang="T13">
                  <a:pos x="T2" y="T3"/>
                </a:cxn>
                <a:cxn ang="T14">
                  <a:pos x="T4" y="T5"/>
                </a:cxn>
                <a:cxn ang="T15">
                  <a:pos x="T6" y="T7"/>
                </a:cxn>
                <a:cxn ang="T16">
                  <a:pos x="T8" y="T9"/>
                </a:cxn>
                <a:cxn ang="T17">
                  <a:pos x="T10" y="T11"/>
                </a:cxn>
              </a:cxnLst>
              <a:rect l="T18" t="T19" r="T20" b="T21"/>
              <a:pathLst>
                <a:path w="206" h="394">
                  <a:moveTo>
                    <a:pt x="206" y="0"/>
                  </a:moveTo>
                  <a:cubicBezTo>
                    <a:pt x="0" y="0"/>
                    <a:pt x="0" y="0"/>
                    <a:pt x="0" y="0"/>
                  </a:cubicBezTo>
                  <a:cubicBezTo>
                    <a:pt x="0" y="291"/>
                    <a:pt x="0" y="291"/>
                    <a:pt x="0" y="291"/>
                  </a:cubicBezTo>
                  <a:cubicBezTo>
                    <a:pt x="0" y="348"/>
                    <a:pt x="46" y="394"/>
                    <a:pt x="103" y="394"/>
                  </a:cubicBezTo>
                  <a:cubicBezTo>
                    <a:pt x="160" y="394"/>
                    <a:pt x="206" y="348"/>
                    <a:pt x="206" y="291"/>
                  </a:cubicBezTo>
                  <a:lnTo>
                    <a:pt x="206" y="0"/>
                  </a:lnTo>
                  <a:close/>
                </a:path>
              </a:pathLst>
            </a:custGeom>
            <a:solidFill>
              <a:srgbClr val="7F7F7F"/>
            </a:solidFill>
            <a:ln w="9525">
              <a:noFill/>
              <a:round/>
              <a:headEnd/>
              <a:tailEnd/>
            </a:ln>
          </p:spPr>
          <p:txBody>
            <a:bodyPr/>
            <a:lstStyle/>
            <a:p>
              <a:endParaRPr lang="en-US"/>
            </a:p>
          </p:txBody>
        </p:sp>
        <p:sp>
          <p:nvSpPr>
            <p:cNvPr id="67602" name="AutoShape 18"/>
            <p:cNvSpPr>
              <a:spLocks/>
            </p:cNvSpPr>
            <p:nvPr/>
          </p:nvSpPr>
          <p:spPr bwMode="auto">
            <a:xfrm>
              <a:off x="4943095" y="3041886"/>
              <a:ext cx="189384" cy="189216"/>
            </a:xfrm>
            <a:custGeom>
              <a:avLst/>
              <a:gdLst>
                <a:gd name="T0" fmla="*/ 39 w 72"/>
                <a:gd name="T1" fmla="*/ 70 h 72"/>
                <a:gd name="T2" fmla="*/ 70 w 72"/>
                <a:gd name="T3" fmla="*/ 33 h 72"/>
                <a:gd name="T4" fmla="*/ 33 w 72"/>
                <a:gd name="T5" fmla="*/ 2 h 72"/>
                <a:gd name="T6" fmla="*/ 2 w 72"/>
                <a:gd name="T7" fmla="*/ 39 h 72"/>
                <a:gd name="T8" fmla="*/ 39 w 72"/>
                <a:gd name="T9" fmla="*/ 70 h 72"/>
                <a:gd name="T10" fmla="*/ 0 60000 65536"/>
                <a:gd name="T11" fmla="*/ 0 60000 65536"/>
                <a:gd name="T12" fmla="*/ 0 60000 65536"/>
                <a:gd name="T13" fmla="*/ 0 60000 65536"/>
                <a:gd name="T14" fmla="*/ 0 60000 65536"/>
                <a:gd name="T15" fmla="*/ 0 w 72"/>
                <a:gd name="T16" fmla="*/ 0 h 72"/>
                <a:gd name="T17" fmla="*/ 72 w 72"/>
                <a:gd name="T18" fmla="*/ 72 h 72"/>
              </a:gdLst>
              <a:ahLst/>
              <a:cxnLst>
                <a:cxn ang="T10">
                  <a:pos x="T0" y="T1"/>
                </a:cxn>
                <a:cxn ang="T11">
                  <a:pos x="T2" y="T3"/>
                </a:cxn>
                <a:cxn ang="T12">
                  <a:pos x="T4" y="T5"/>
                </a:cxn>
                <a:cxn ang="T13">
                  <a:pos x="T6" y="T7"/>
                </a:cxn>
                <a:cxn ang="T14">
                  <a:pos x="T8" y="T9"/>
                </a:cxn>
              </a:cxnLst>
              <a:rect l="T15" t="T16" r="T17" b="T18"/>
              <a:pathLst>
                <a:path w="72" h="72">
                  <a:moveTo>
                    <a:pt x="39" y="70"/>
                  </a:moveTo>
                  <a:cubicBezTo>
                    <a:pt x="58" y="69"/>
                    <a:pt x="72" y="52"/>
                    <a:pt x="70" y="33"/>
                  </a:cubicBezTo>
                  <a:cubicBezTo>
                    <a:pt x="69" y="14"/>
                    <a:pt x="52" y="0"/>
                    <a:pt x="33" y="2"/>
                  </a:cubicBezTo>
                  <a:cubicBezTo>
                    <a:pt x="14" y="4"/>
                    <a:pt x="0" y="20"/>
                    <a:pt x="2" y="39"/>
                  </a:cubicBezTo>
                </a:path>
              </a:pathLst>
            </a:custGeom>
            <a:solidFill>
              <a:schemeClr val="bg1"/>
            </a:solidFill>
            <a:ln w="9525">
              <a:noFill/>
              <a:round/>
              <a:headEnd/>
              <a:tailEnd/>
            </a:ln>
          </p:spPr>
          <p:txBody>
            <a:bodyPr/>
            <a:lstStyle/>
            <a:p>
              <a:endParaRPr lang="en-US"/>
            </a:p>
          </p:txBody>
        </p:sp>
      </p:grpSp>
      <p:grpSp>
        <p:nvGrpSpPr>
          <p:cNvPr id="67593" name="Group 9"/>
          <p:cNvGrpSpPr>
            <a:grpSpLocks/>
          </p:cNvGrpSpPr>
          <p:nvPr/>
        </p:nvGrpSpPr>
        <p:grpSpPr bwMode="grayWhite">
          <a:xfrm>
            <a:off x="3748089" y="3398196"/>
            <a:ext cx="1508125" cy="2045971"/>
            <a:chOff x="2482850" y="2720975"/>
            <a:chExt cx="1633538" cy="2045646"/>
          </a:xfrm>
        </p:grpSpPr>
        <p:sp>
          <p:nvSpPr>
            <p:cNvPr id="67598" name="AutoShape 14"/>
            <p:cNvSpPr>
              <a:spLocks/>
            </p:cNvSpPr>
            <p:nvPr/>
          </p:nvSpPr>
          <p:spPr bwMode="grayWhite">
            <a:xfrm>
              <a:off x="2661761" y="2720975"/>
              <a:ext cx="1271826" cy="680702"/>
            </a:xfrm>
            <a:custGeom>
              <a:avLst/>
              <a:gdLst>
                <a:gd name="T0" fmla="*/ 1070 w 1070"/>
                <a:gd name="T1" fmla="*/ 573 h 573"/>
                <a:gd name="T2" fmla="*/ 535 w 1070"/>
                <a:gd name="T3" fmla="*/ 0 h 573"/>
                <a:gd name="T4" fmla="*/ 0 w 1070"/>
                <a:gd name="T5" fmla="*/ 573 h 573"/>
                <a:gd name="T6" fmla="*/ 0 60000 65536"/>
                <a:gd name="T7" fmla="*/ 0 60000 65536"/>
                <a:gd name="T8" fmla="*/ 0 60000 65536"/>
                <a:gd name="T9" fmla="*/ 0 w 1070"/>
                <a:gd name="T10" fmla="*/ 0 h 573"/>
                <a:gd name="T11" fmla="*/ 1070 w 1070"/>
                <a:gd name="T12" fmla="*/ 573 h 573"/>
              </a:gdLst>
              <a:ahLst/>
              <a:cxnLst>
                <a:cxn ang="T6">
                  <a:pos x="T0" y="T1"/>
                </a:cxn>
                <a:cxn ang="T7">
                  <a:pos x="T2" y="T3"/>
                </a:cxn>
                <a:cxn ang="T8">
                  <a:pos x="T4" y="T5"/>
                </a:cxn>
              </a:cxnLst>
              <a:rect l="T9" t="T10" r="T11" b="T12"/>
              <a:pathLst>
                <a:path w="1070" h="573">
                  <a:moveTo>
                    <a:pt x="1070" y="573"/>
                  </a:moveTo>
                  <a:lnTo>
                    <a:pt x="535" y="0"/>
                  </a:lnTo>
                  <a:lnTo>
                    <a:pt x="0" y="573"/>
                  </a:lnTo>
                </a:path>
              </a:pathLst>
            </a:custGeom>
            <a:noFill/>
            <a:ln w="28575" cap="sq">
              <a:solidFill>
                <a:srgbClr val="BDBDBD"/>
              </a:solidFill>
              <a:miter lim="800000"/>
              <a:headEnd/>
              <a:tailEnd/>
            </a:ln>
          </p:spPr>
          <p:txBody>
            <a:bodyPr/>
            <a:lstStyle/>
            <a:p>
              <a:endParaRPr lang="en-US"/>
            </a:p>
          </p:txBody>
        </p:sp>
        <p:sp>
          <p:nvSpPr>
            <p:cNvPr id="854029" name="Rectangle 15"/>
            <p:cNvSpPr>
              <a:spLocks noChangeArrowheads="1"/>
            </p:cNvSpPr>
            <p:nvPr/>
          </p:nvSpPr>
          <p:spPr bwMode="grayWhite">
            <a:xfrm>
              <a:off x="2482850" y="3400953"/>
              <a:ext cx="1633538" cy="1365668"/>
            </a:xfrm>
            <a:prstGeom prst="rect">
              <a:avLst/>
            </a:prstGeom>
            <a:solidFill>
              <a:schemeClr val="accent1">
                <a:alpha val="60001"/>
              </a:schemeClr>
            </a:solidFill>
            <a:ln w="9525">
              <a:noFill/>
              <a:miter lim="800000"/>
              <a:headEnd/>
              <a:tailEnd/>
            </a:ln>
          </p:spPr>
          <p:txBody>
            <a:bodyPr/>
            <a:lstStyle/>
            <a:p>
              <a:pPr>
                <a:defRPr/>
              </a:pPr>
              <a:endParaRPr lang="en-US"/>
            </a:p>
          </p:txBody>
        </p:sp>
        <p:sp>
          <p:nvSpPr>
            <p:cNvPr id="67600" name="Rectangle 16"/>
            <p:cNvSpPr>
              <a:spLocks noChangeArrowheads="1"/>
            </p:cNvSpPr>
            <p:nvPr/>
          </p:nvSpPr>
          <p:spPr bwMode="grayWhite">
            <a:xfrm>
              <a:off x="2621571" y="3417236"/>
              <a:ext cx="1305534" cy="1138592"/>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3900" dirty="0">
                  <a:solidFill>
                    <a:srgbClr val="FFFFFF"/>
                  </a:solidFill>
                </a:rPr>
                <a:t>40%</a:t>
              </a:r>
            </a:p>
            <a:p>
              <a:pPr lvl="0" fontAlgn="base">
                <a:spcBef>
                  <a:spcPct val="50000"/>
                </a:spcBef>
                <a:spcAft>
                  <a:spcPct val="0"/>
                </a:spcAft>
              </a:pPr>
              <a:r>
                <a:rPr lang="en-GB" sz="1000" dirty="0">
                  <a:solidFill>
                    <a:srgbClr val="FFFFFF"/>
                  </a:solidFill>
                </a:rPr>
                <a:t>Additional text can appear here in this size.</a:t>
              </a:r>
            </a:p>
          </p:txBody>
        </p:sp>
      </p:grpSp>
      <p:grpSp>
        <p:nvGrpSpPr>
          <p:cNvPr id="67594" name="Group 10"/>
          <p:cNvGrpSpPr>
            <a:grpSpLocks/>
          </p:cNvGrpSpPr>
          <p:nvPr/>
        </p:nvGrpSpPr>
        <p:grpSpPr bwMode="grayWhite">
          <a:xfrm>
            <a:off x="6956426" y="4314502"/>
            <a:ext cx="1508125" cy="2045023"/>
            <a:chOff x="5959475" y="3636963"/>
            <a:chExt cx="1633538" cy="2044700"/>
          </a:xfrm>
        </p:grpSpPr>
        <p:sp>
          <p:nvSpPr>
            <p:cNvPr id="67595" name="AutoShape 11"/>
            <p:cNvSpPr>
              <a:spLocks/>
            </p:cNvSpPr>
            <p:nvPr/>
          </p:nvSpPr>
          <p:spPr bwMode="grayWhite">
            <a:xfrm>
              <a:off x="6142276" y="3636963"/>
              <a:ext cx="1270531" cy="680702"/>
            </a:xfrm>
            <a:custGeom>
              <a:avLst/>
              <a:gdLst>
                <a:gd name="T0" fmla="*/ 1069 w 1069"/>
                <a:gd name="T1" fmla="*/ 573 h 573"/>
                <a:gd name="T2" fmla="*/ 534 w 1069"/>
                <a:gd name="T3" fmla="*/ 0 h 573"/>
                <a:gd name="T4" fmla="*/ 0 w 1069"/>
                <a:gd name="T5" fmla="*/ 573 h 573"/>
                <a:gd name="T6" fmla="*/ 0 60000 65536"/>
                <a:gd name="T7" fmla="*/ 0 60000 65536"/>
                <a:gd name="T8" fmla="*/ 0 60000 65536"/>
                <a:gd name="T9" fmla="*/ 0 w 1069"/>
                <a:gd name="T10" fmla="*/ 0 h 573"/>
                <a:gd name="T11" fmla="*/ 1069 w 1069"/>
                <a:gd name="T12" fmla="*/ 573 h 573"/>
              </a:gdLst>
              <a:ahLst/>
              <a:cxnLst>
                <a:cxn ang="T6">
                  <a:pos x="T0" y="T1"/>
                </a:cxn>
                <a:cxn ang="T7">
                  <a:pos x="T2" y="T3"/>
                </a:cxn>
                <a:cxn ang="T8">
                  <a:pos x="T4" y="T5"/>
                </a:cxn>
              </a:cxnLst>
              <a:rect l="T9" t="T10" r="T11" b="T12"/>
              <a:pathLst>
                <a:path w="1069" h="573">
                  <a:moveTo>
                    <a:pt x="1069" y="573"/>
                  </a:moveTo>
                  <a:lnTo>
                    <a:pt x="534" y="0"/>
                  </a:lnTo>
                  <a:lnTo>
                    <a:pt x="0" y="573"/>
                  </a:lnTo>
                </a:path>
              </a:pathLst>
            </a:custGeom>
            <a:noFill/>
            <a:ln w="28575" cap="sq">
              <a:solidFill>
                <a:srgbClr val="BDBDBD"/>
              </a:solidFill>
              <a:miter lim="800000"/>
              <a:headEnd/>
              <a:tailEnd/>
            </a:ln>
          </p:spPr>
          <p:txBody>
            <a:bodyPr/>
            <a:lstStyle/>
            <a:p>
              <a:endParaRPr lang="en-US"/>
            </a:p>
          </p:txBody>
        </p:sp>
        <p:sp>
          <p:nvSpPr>
            <p:cNvPr id="67596" name="Rectangle 12"/>
            <p:cNvSpPr>
              <a:spLocks noChangeArrowheads="1"/>
            </p:cNvSpPr>
            <p:nvPr/>
          </p:nvSpPr>
          <p:spPr bwMode="grayWhite">
            <a:xfrm>
              <a:off x="5959475" y="4317665"/>
              <a:ext cx="1633538" cy="1363998"/>
            </a:xfrm>
            <a:prstGeom prst="rect">
              <a:avLst/>
            </a:prstGeom>
            <a:solidFill>
              <a:schemeClr val="accent2"/>
            </a:solidFill>
            <a:ln w="9525">
              <a:noFill/>
              <a:miter lim="800000"/>
              <a:headEnd/>
              <a:tailEnd/>
            </a:ln>
          </p:spPr>
          <p:txBody>
            <a:bodyPr/>
            <a:lstStyle/>
            <a:p>
              <a:pPr fontAlgn="base">
                <a:spcBef>
                  <a:spcPct val="0"/>
                </a:spcBef>
                <a:spcAft>
                  <a:spcPct val="0"/>
                </a:spcAft>
              </a:pPr>
              <a:endParaRPr lang="en-GB"/>
            </a:p>
          </p:txBody>
        </p:sp>
        <p:sp>
          <p:nvSpPr>
            <p:cNvPr id="67597" name="Rectangle 13"/>
            <p:cNvSpPr>
              <a:spLocks noChangeArrowheads="1"/>
            </p:cNvSpPr>
            <p:nvPr/>
          </p:nvSpPr>
          <p:spPr bwMode="grayWhite">
            <a:xfrm>
              <a:off x="6100789" y="4333224"/>
              <a:ext cx="1305534" cy="1138593"/>
            </a:xfrm>
            <a:prstGeom prst="rect">
              <a:avLst/>
            </a:prstGeom>
            <a:noFill/>
            <a:ln w="6350">
              <a:noFill/>
              <a:miter lim="800000"/>
              <a:headEnd/>
              <a:tailEnd/>
            </a:ln>
          </p:spPr>
          <p:txBody>
            <a:bodyPr lIns="0" tIns="0" rIns="0" bIns="0">
              <a:spAutoFit/>
            </a:bodyPr>
            <a:lstStyle/>
            <a:p>
              <a:pPr lvl="0" fontAlgn="base">
                <a:spcBef>
                  <a:spcPct val="50000"/>
                </a:spcBef>
                <a:spcAft>
                  <a:spcPct val="0"/>
                </a:spcAft>
              </a:pPr>
              <a:r>
                <a:rPr lang="en-GB" sz="3900">
                  <a:solidFill>
                    <a:srgbClr val="FFFFFF"/>
                  </a:solidFill>
                </a:rPr>
                <a:t>60%</a:t>
              </a:r>
            </a:p>
            <a:p>
              <a:pPr lvl="0" fontAlgn="base">
                <a:spcBef>
                  <a:spcPct val="50000"/>
                </a:spcBef>
                <a:spcAft>
                  <a:spcPct val="0"/>
                </a:spcAft>
              </a:pPr>
              <a:r>
                <a:rPr lang="en-GB" sz="1000">
                  <a:solidFill>
                    <a:srgbClr val="FFFFFF"/>
                  </a:solidFill>
                </a:rPr>
                <a:t>Additional text can appear here in this size.</a:t>
              </a:r>
            </a:p>
          </p:txBody>
        </p:sp>
      </p:grpSp>
    </p:spTree>
    <p:extLst>
      <p:ext uri="{BB962C8B-B14F-4D97-AF65-F5344CB8AC3E}">
        <p14:creationId xmlns:p14="http://schemas.microsoft.com/office/powerpoint/2010/main" val="863809169"/>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p:txBody>
          <a:bodyPr/>
          <a:lstStyle/>
          <a:p>
            <a:r>
              <a:rPr lang="en-GB"/>
              <a:t>Puzzle (4 parts)</a:t>
            </a:r>
          </a:p>
        </p:txBody>
      </p:sp>
      <p:sp>
        <p:nvSpPr>
          <p:cNvPr id="60" name="AutoShape 4"/>
          <p:cNvSpPr>
            <a:spLocks/>
          </p:cNvSpPr>
          <p:nvPr/>
        </p:nvSpPr>
        <p:spPr bwMode="gray">
          <a:xfrm>
            <a:off x="8923339" y="3772447"/>
            <a:ext cx="1376363" cy="1729740"/>
          </a:xfrm>
          <a:custGeom>
            <a:avLst/>
            <a:gdLst>
              <a:gd name="T0" fmla="*/ 1076 w 1845"/>
              <a:gd name="T1" fmla="*/ 22 h 2316"/>
              <a:gd name="T2" fmla="*/ 1160 w 1845"/>
              <a:gd name="T3" fmla="*/ 65 h 2316"/>
              <a:gd name="T4" fmla="*/ 1189 w 1845"/>
              <a:gd name="T5" fmla="*/ 89 h 2316"/>
              <a:gd name="T6" fmla="*/ 1206 w 1845"/>
              <a:gd name="T7" fmla="*/ 118 h 2316"/>
              <a:gd name="T8" fmla="*/ 1211 w 1845"/>
              <a:gd name="T9" fmla="*/ 224 h 2316"/>
              <a:gd name="T10" fmla="*/ 1164 w 1845"/>
              <a:gd name="T11" fmla="*/ 332 h 2316"/>
              <a:gd name="T12" fmla="*/ 1201 w 1845"/>
              <a:gd name="T13" fmla="*/ 405 h 2316"/>
              <a:gd name="T14" fmla="*/ 1425 w 1845"/>
              <a:gd name="T15" fmla="*/ 416 h 2316"/>
              <a:gd name="T16" fmla="*/ 1756 w 1845"/>
              <a:gd name="T17" fmla="*/ 336 h 2316"/>
              <a:gd name="T18" fmla="*/ 1829 w 1845"/>
              <a:gd name="T19" fmla="*/ 596 h 2316"/>
              <a:gd name="T20" fmla="*/ 1832 w 1845"/>
              <a:gd name="T21" fmla="*/ 848 h 2316"/>
              <a:gd name="T22" fmla="*/ 1727 w 1845"/>
              <a:gd name="T23" fmla="*/ 846 h 2316"/>
              <a:gd name="T24" fmla="*/ 1564 w 1845"/>
              <a:gd name="T25" fmla="*/ 839 h 2316"/>
              <a:gd name="T26" fmla="*/ 1441 w 1845"/>
              <a:gd name="T27" fmla="*/ 1005 h 2316"/>
              <a:gd name="T28" fmla="*/ 1429 w 1845"/>
              <a:gd name="T29" fmla="*/ 1268 h 2316"/>
              <a:gd name="T30" fmla="*/ 1509 w 1845"/>
              <a:gd name="T31" fmla="*/ 1435 h 2316"/>
              <a:gd name="T32" fmla="*/ 1659 w 1845"/>
              <a:gd name="T33" fmla="*/ 1470 h 2316"/>
              <a:gd name="T34" fmla="*/ 1771 w 1845"/>
              <a:gd name="T35" fmla="*/ 1411 h 2316"/>
              <a:gd name="T36" fmla="*/ 1845 w 1845"/>
              <a:gd name="T37" fmla="*/ 1493 h 2316"/>
              <a:gd name="T38" fmla="*/ 1797 w 1845"/>
              <a:gd name="T39" fmla="*/ 1850 h 2316"/>
              <a:gd name="T40" fmla="*/ 1530 w 1845"/>
              <a:gd name="T41" fmla="*/ 1920 h 2316"/>
              <a:gd name="T42" fmla="*/ 1271 w 1845"/>
              <a:gd name="T43" fmla="*/ 1897 h 2316"/>
              <a:gd name="T44" fmla="*/ 1133 w 1845"/>
              <a:gd name="T45" fmla="*/ 1914 h 2316"/>
              <a:gd name="T46" fmla="*/ 1137 w 1845"/>
              <a:gd name="T47" fmla="*/ 2017 h 2316"/>
              <a:gd name="T48" fmla="*/ 1199 w 1845"/>
              <a:gd name="T49" fmla="*/ 2143 h 2316"/>
              <a:gd name="T50" fmla="*/ 1188 w 1845"/>
              <a:gd name="T51" fmla="*/ 2220 h 2316"/>
              <a:gd name="T52" fmla="*/ 1142 w 1845"/>
              <a:gd name="T53" fmla="*/ 2267 h 2316"/>
              <a:gd name="T54" fmla="*/ 924 w 1845"/>
              <a:gd name="T55" fmla="*/ 2316 h 2316"/>
              <a:gd name="T56" fmla="*/ 727 w 1845"/>
              <a:gd name="T57" fmla="*/ 2279 h 2316"/>
              <a:gd name="T58" fmla="*/ 637 w 1845"/>
              <a:gd name="T59" fmla="*/ 2196 h 2316"/>
              <a:gd name="T60" fmla="*/ 643 w 1845"/>
              <a:gd name="T61" fmla="*/ 2074 h 2316"/>
              <a:gd name="T62" fmla="*/ 688 w 1845"/>
              <a:gd name="T63" fmla="*/ 1962 h 2316"/>
              <a:gd name="T64" fmla="*/ 670 w 1845"/>
              <a:gd name="T65" fmla="*/ 1929 h 2316"/>
              <a:gd name="T66" fmla="*/ 639 w 1845"/>
              <a:gd name="T67" fmla="*/ 1911 h 2316"/>
              <a:gd name="T68" fmla="*/ 463 w 1845"/>
              <a:gd name="T69" fmla="*/ 1900 h 2316"/>
              <a:gd name="T70" fmla="*/ 243 w 1845"/>
              <a:gd name="T71" fmla="*/ 1936 h 2316"/>
              <a:gd name="T72" fmla="*/ 34 w 1845"/>
              <a:gd name="T73" fmla="*/ 1796 h 2316"/>
              <a:gd name="T74" fmla="*/ 6 w 1845"/>
              <a:gd name="T75" fmla="*/ 1518 h 2316"/>
              <a:gd name="T76" fmla="*/ 110 w 1845"/>
              <a:gd name="T77" fmla="*/ 1468 h 2316"/>
              <a:gd name="T78" fmla="*/ 281 w 1845"/>
              <a:gd name="T79" fmla="*/ 1481 h 2316"/>
              <a:gd name="T80" fmla="*/ 399 w 1845"/>
              <a:gd name="T81" fmla="*/ 1330 h 2316"/>
              <a:gd name="T82" fmla="*/ 415 w 1845"/>
              <a:gd name="T83" fmla="*/ 1052 h 2316"/>
              <a:gd name="T84" fmla="*/ 344 w 1845"/>
              <a:gd name="T85" fmla="*/ 890 h 2316"/>
              <a:gd name="T86" fmla="*/ 215 w 1845"/>
              <a:gd name="T87" fmla="*/ 841 h 2316"/>
              <a:gd name="T88" fmla="*/ 83 w 1845"/>
              <a:gd name="T89" fmla="*/ 903 h 2316"/>
              <a:gd name="T90" fmla="*/ 0 w 1845"/>
              <a:gd name="T91" fmla="*/ 857 h 2316"/>
              <a:gd name="T92" fmla="*/ 32 w 1845"/>
              <a:gd name="T93" fmla="*/ 536 h 2316"/>
              <a:gd name="T94" fmla="*/ 296 w 1845"/>
              <a:gd name="T95" fmla="*/ 393 h 2316"/>
              <a:gd name="T96" fmla="*/ 671 w 1845"/>
              <a:gd name="T97" fmla="*/ 421 h 2316"/>
              <a:gd name="T98" fmla="*/ 718 w 1845"/>
              <a:gd name="T99" fmla="*/ 381 h 2316"/>
              <a:gd name="T100" fmla="*/ 661 w 1845"/>
              <a:gd name="T101" fmla="*/ 213 h 2316"/>
              <a:gd name="T102" fmla="*/ 650 w 1845"/>
              <a:gd name="T103" fmla="*/ 110 h 2316"/>
              <a:gd name="T104" fmla="*/ 717 w 1845"/>
              <a:gd name="T105" fmla="*/ 41 h 2316"/>
              <a:gd name="T106" fmla="*/ 909 w 1845"/>
              <a:gd name="T107" fmla="*/ 0 h 231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45"/>
              <a:gd name="T163" fmla="*/ 0 h 2316"/>
              <a:gd name="T164" fmla="*/ 1845 w 1845"/>
              <a:gd name="T165" fmla="*/ 2316 h 231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45" h="2316">
                <a:moveTo>
                  <a:pt x="909" y="0"/>
                </a:moveTo>
                <a:lnTo>
                  <a:pt x="950" y="1"/>
                </a:lnTo>
                <a:lnTo>
                  <a:pt x="989" y="5"/>
                </a:lnTo>
                <a:lnTo>
                  <a:pt x="1026" y="10"/>
                </a:lnTo>
                <a:lnTo>
                  <a:pt x="1060" y="17"/>
                </a:lnTo>
                <a:lnTo>
                  <a:pt x="1076" y="22"/>
                </a:lnTo>
                <a:lnTo>
                  <a:pt x="1091" y="27"/>
                </a:lnTo>
                <a:lnTo>
                  <a:pt x="1104" y="33"/>
                </a:lnTo>
                <a:lnTo>
                  <a:pt x="1119" y="40"/>
                </a:lnTo>
                <a:lnTo>
                  <a:pt x="1132" y="45"/>
                </a:lnTo>
                <a:lnTo>
                  <a:pt x="1145" y="51"/>
                </a:lnTo>
                <a:lnTo>
                  <a:pt x="1160" y="65"/>
                </a:lnTo>
                <a:lnTo>
                  <a:pt x="1176" y="78"/>
                </a:lnTo>
                <a:lnTo>
                  <a:pt x="1178" y="80"/>
                </a:lnTo>
                <a:lnTo>
                  <a:pt x="1182" y="82"/>
                </a:lnTo>
                <a:lnTo>
                  <a:pt x="1186" y="84"/>
                </a:lnTo>
                <a:lnTo>
                  <a:pt x="1188" y="87"/>
                </a:lnTo>
                <a:lnTo>
                  <a:pt x="1189" y="89"/>
                </a:lnTo>
                <a:lnTo>
                  <a:pt x="1189" y="90"/>
                </a:lnTo>
                <a:lnTo>
                  <a:pt x="1191" y="94"/>
                </a:lnTo>
                <a:lnTo>
                  <a:pt x="1191" y="95"/>
                </a:lnTo>
                <a:lnTo>
                  <a:pt x="1192" y="97"/>
                </a:lnTo>
                <a:lnTo>
                  <a:pt x="1199" y="106"/>
                </a:lnTo>
                <a:lnTo>
                  <a:pt x="1206" y="118"/>
                </a:lnTo>
                <a:lnTo>
                  <a:pt x="1214" y="132"/>
                </a:lnTo>
                <a:lnTo>
                  <a:pt x="1220" y="146"/>
                </a:lnTo>
                <a:lnTo>
                  <a:pt x="1222" y="160"/>
                </a:lnTo>
                <a:lnTo>
                  <a:pt x="1221" y="180"/>
                </a:lnTo>
                <a:lnTo>
                  <a:pt x="1217" y="202"/>
                </a:lnTo>
                <a:lnTo>
                  <a:pt x="1211" y="224"/>
                </a:lnTo>
                <a:lnTo>
                  <a:pt x="1203" y="246"/>
                </a:lnTo>
                <a:lnTo>
                  <a:pt x="1195" y="267"/>
                </a:lnTo>
                <a:lnTo>
                  <a:pt x="1189" y="280"/>
                </a:lnTo>
                <a:lnTo>
                  <a:pt x="1181" y="297"/>
                </a:lnTo>
                <a:lnTo>
                  <a:pt x="1171" y="314"/>
                </a:lnTo>
                <a:lnTo>
                  <a:pt x="1164" y="332"/>
                </a:lnTo>
                <a:lnTo>
                  <a:pt x="1158" y="348"/>
                </a:lnTo>
                <a:lnTo>
                  <a:pt x="1156" y="363"/>
                </a:lnTo>
                <a:lnTo>
                  <a:pt x="1161" y="377"/>
                </a:lnTo>
                <a:lnTo>
                  <a:pt x="1171" y="388"/>
                </a:lnTo>
                <a:lnTo>
                  <a:pt x="1184" y="398"/>
                </a:lnTo>
                <a:lnTo>
                  <a:pt x="1201" y="405"/>
                </a:lnTo>
                <a:lnTo>
                  <a:pt x="1221" y="410"/>
                </a:lnTo>
                <a:lnTo>
                  <a:pt x="1243" y="414"/>
                </a:lnTo>
                <a:lnTo>
                  <a:pt x="1265" y="416"/>
                </a:lnTo>
                <a:lnTo>
                  <a:pt x="1321" y="419"/>
                </a:lnTo>
                <a:lnTo>
                  <a:pt x="1374" y="419"/>
                </a:lnTo>
                <a:lnTo>
                  <a:pt x="1425" y="416"/>
                </a:lnTo>
                <a:lnTo>
                  <a:pt x="1479" y="411"/>
                </a:lnTo>
                <a:lnTo>
                  <a:pt x="1528" y="402"/>
                </a:lnTo>
                <a:lnTo>
                  <a:pt x="1575" y="390"/>
                </a:lnTo>
                <a:lnTo>
                  <a:pt x="1620" y="375"/>
                </a:lnTo>
                <a:lnTo>
                  <a:pt x="1710" y="348"/>
                </a:lnTo>
                <a:lnTo>
                  <a:pt x="1756" y="336"/>
                </a:lnTo>
                <a:lnTo>
                  <a:pt x="1773" y="390"/>
                </a:lnTo>
                <a:lnTo>
                  <a:pt x="1790" y="447"/>
                </a:lnTo>
                <a:lnTo>
                  <a:pt x="1798" y="472"/>
                </a:lnTo>
                <a:lnTo>
                  <a:pt x="1806" y="500"/>
                </a:lnTo>
                <a:lnTo>
                  <a:pt x="1821" y="559"/>
                </a:lnTo>
                <a:lnTo>
                  <a:pt x="1829" y="596"/>
                </a:lnTo>
                <a:lnTo>
                  <a:pt x="1834" y="638"/>
                </a:lnTo>
                <a:lnTo>
                  <a:pt x="1838" y="680"/>
                </a:lnTo>
                <a:lnTo>
                  <a:pt x="1840" y="728"/>
                </a:lnTo>
                <a:lnTo>
                  <a:pt x="1840" y="768"/>
                </a:lnTo>
                <a:lnTo>
                  <a:pt x="1838" y="808"/>
                </a:lnTo>
                <a:lnTo>
                  <a:pt x="1832" y="848"/>
                </a:lnTo>
                <a:lnTo>
                  <a:pt x="1821" y="885"/>
                </a:lnTo>
                <a:lnTo>
                  <a:pt x="1801" y="879"/>
                </a:lnTo>
                <a:lnTo>
                  <a:pt x="1783" y="871"/>
                </a:lnTo>
                <a:lnTo>
                  <a:pt x="1766" y="863"/>
                </a:lnTo>
                <a:lnTo>
                  <a:pt x="1748" y="854"/>
                </a:lnTo>
                <a:lnTo>
                  <a:pt x="1727" y="846"/>
                </a:lnTo>
                <a:lnTo>
                  <a:pt x="1703" y="837"/>
                </a:lnTo>
                <a:lnTo>
                  <a:pt x="1676" y="830"/>
                </a:lnTo>
                <a:lnTo>
                  <a:pt x="1648" y="824"/>
                </a:lnTo>
                <a:lnTo>
                  <a:pt x="1620" y="824"/>
                </a:lnTo>
                <a:lnTo>
                  <a:pt x="1595" y="828"/>
                </a:lnTo>
                <a:lnTo>
                  <a:pt x="1564" y="839"/>
                </a:lnTo>
                <a:lnTo>
                  <a:pt x="1536" y="856"/>
                </a:lnTo>
                <a:lnTo>
                  <a:pt x="1511" y="878"/>
                </a:lnTo>
                <a:lnTo>
                  <a:pt x="1489" y="904"/>
                </a:lnTo>
                <a:lnTo>
                  <a:pt x="1470" y="935"/>
                </a:lnTo>
                <a:lnTo>
                  <a:pt x="1455" y="969"/>
                </a:lnTo>
                <a:lnTo>
                  <a:pt x="1441" y="1005"/>
                </a:lnTo>
                <a:lnTo>
                  <a:pt x="1431" y="1045"/>
                </a:lnTo>
                <a:lnTo>
                  <a:pt x="1425" y="1087"/>
                </a:lnTo>
                <a:lnTo>
                  <a:pt x="1422" y="1131"/>
                </a:lnTo>
                <a:lnTo>
                  <a:pt x="1421" y="1176"/>
                </a:lnTo>
                <a:lnTo>
                  <a:pt x="1423" y="1222"/>
                </a:lnTo>
                <a:lnTo>
                  <a:pt x="1429" y="1268"/>
                </a:lnTo>
                <a:lnTo>
                  <a:pt x="1438" y="1303"/>
                </a:lnTo>
                <a:lnTo>
                  <a:pt x="1449" y="1339"/>
                </a:lnTo>
                <a:lnTo>
                  <a:pt x="1463" y="1370"/>
                </a:lnTo>
                <a:lnTo>
                  <a:pt x="1479" y="1400"/>
                </a:lnTo>
                <a:lnTo>
                  <a:pt x="1492" y="1417"/>
                </a:lnTo>
                <a:lnTo>
                  <a:pt x="1509" y="1435"/>
                </a:lnTo>
                <a:lnTo>
                  <a:pt x="1530" y="1452"/>
                </a:lnTo>
                <a:lnTo>
                  <a:pt x="1554" y="1467"/>
                </a:lnTo>
                <a:lnTo>
                  <a:pt x="1581" y="1476"/>
                </a:lnTo>
                <a:lnTo>
                  <a:pt x="1610" y="1480"/>
                </a:lnTo>
                <a:lnTo>
                  <a:pt x="1635" y="1478"/>
                </a:lnTo>
                <a:lnTo>
                  <a:pt x="1659" y="1470"/>
                </a:lnTo>
                <a:lnTo>
                  <a:pt x="1681" y="1459"/>
                </a:lnTo>
                <a:lnTo>
                  <a:pt x="1702" y="1448"/>
                </a:lnTo>
                <a:lnTo>
                  <a:pt x="1721" y="1437"/>
                </a:lnTo>
                <a:lnTo>
                  <a:pt x="1737" y="1429"/>
                </a:lnTo>
                <a:lnTo>
                  <a:pt x="1754" y="1419"/>
                </a:lnTo>
                <a:lnTo>
                  <a:pt x="1771" y="1411"/>
                </a:lnTo>
                <a:lnTo>
                  <a:pt x="1790" y="1404"/>
                </a:lnTo>
                <a:lnTo>
                  <a:pt x="1812" y="1400"/>
                </a:lnTo>
                <a:lnTo>
                  <a:pt x="1837" y="1400"/>
                </a:lnTo>
                <a:lnTo>
                  <a:pt x="1843" y="1430"/>
                </a:lnTo>
                <a:lnTo>
                  <a:pt x="1845" y="1462"/>
                </a:lnTo>
                <a:lnTo>
                  <a:pt x="1845" y="1493"/>
                </a:lnTo>
                <a:lnTo>
                  <a:pt x="1840" y="1557"/>
                </a:lnTo>
                <a:lnTo>
                  <a:pt x="1837" y="1616"/>
                </a:lnTo>
                <a:lnTo>
                  <a:pt x="1832" y="1675"/>
                </a:lnTo>
                <a:lnTo>
                  <a:pt x="1825" y="1729"/>
                </a:lnTo>
                <a:lnTo>
                  <a:pt x="1814" y="1783"/>
                </a:lnTo>
                <a:lnTo>
                  <a:pt x="1797" y="1850"/>
                </a:lnTo>
                <a:lnTo>
                  <a:pt x="1778" y="1916"/>
                </a:lnTo>
                <a:lnTo>
                  <a:pt x="1760" y="1983"/>
                </a:lnTo>
                <a:lnTo>
                  <a:pt x="1705" y="1966"/>
                </a:lnTo>
                <a:lnTo>
                  <a:pt x="1649" y="1950"/>
                </a:lnTo>
                <a:lnTo>
                  <a:pt x="1592" y="1935"/>
                </a:lnTo>
                <a:lnTo>
                  <a:pt x="1530" y="1920"/>
                </a:lnTo>
                <a:lnTo>
                  <a:pt x="1464" y="1910"/>
                </a:lnTo>
                <a:lnTo>
                  <a:pt x="1425" y="1906"/>
                </a:lnTo>
                <a:lnTo>
                  <a:pt x="1384" y="1902"/>
                </a:lnTo>
                <a:lnTo>
                  <a:pt x="1339" y="1901"/>
                </a:lnTo>
                <a:lnTo>
                  <a:pt x="1292" y="1899"/>
                </a:lnTo>
                <a:lnTo>
                  <a:pt x="1271" y="1897"/>
                </a:lnTo>
                <a:lnTo>
                  <a:pt x="1225" y="1895"/>
                </a:lnTo>
                <a:lnTo>
                  <a:pt x="1201" y="1895"/>
                </a:lnTo>
                <a:lnTo>
                  <a:pt x="1180" y="1896"/>
                </a:lnTo>
                <a:lnTo>
                  <a:pt x="1160" y="1900"/>
                </a:lnTo>
                <a:lnTo>
                  <a:pt x="1144" y="1906"/>
                </a:lnTo>
                <a:lnTo>
                  <a:pt x="1133" y="1914"/>
                </a:lnTo>
                <a:lnTo>
                  <a:pt x="1127" y="1927"/>
                </a:lnTo>
                <a:lnTo>
                  <a:pt x="1125" y="1941"/>
                </a:lnTo>
                <a:lnTo>
                  <a:pt x="1125" y="1958"/>
                </a:lnTo>
                <a:lnTo>
                  <a:pt x="1127" y="1975"/>
                </a:lnTo>
                <a:lnTo>
                  <a:pt x="1130" y="1991"/>
                </a:lnTo>
                <a:lnTo>
                  <a:pt x="1137" y="2017"/>
                </a:lnTo>
                <a:lnTo>
                  <a:pt x="1147" y="2039"/>
                </a:lnTo>
                <a:lnTo>
                  <a:pt x="1158" y="2060"/>
                </a:lnTo>
                <a:lnTo>
                  <a:pt x="1171" y="2082"/>
                </a:lnTo>
                <a:lnTo>
                  <a:pt x="1183" y="2105"/>
                </a:lnTo>
                <a:lnTo>
                  <a:pt x="1192" y="2125"/>
                </a:lnTo>
                <a:lnTo>
                  <a:pt x="1199" y="2143"/>
                </a:lnTo>
                <a:lnTo>
                  <a:pt x="1204" y="2160"/>
                </a:lnTo>
                <a:lnTo>
                  <a:pt x="1204" y="2178"/>
                </a:lnTo>
                <a:lnTo>
                  <a:pt x="1200" y="2198"/>
                </a:lnTo>
                <a:lnTo>
                  <a:pt x="1192" y="2217"/>
                </a:lnTo>
                <a:lnTo>
                  <a:pt x="1191" y="2219"/>
                </a:lnTo>
                <a:lnTo>
                  <a:pt x="1188" y="2220"/>
                </a:lnTo>
                <a:lnTo>
                  <a:pt x="1184" y="2220"/>
                </a:lnTo>
                <a:lnTo>
                  <a:pt x="1183" y="2221"/>
                </a:lnTo>
                <a:lnTo>
                  <a:pt x="1176" y="2232"/>
                </a:lnTo>
                <a:lnTo>
                  <a:pt x="1165" y="2245"/>
                </a:lnTo>
                <a:lnTo>
                  <a:pt x="1153" y="2258"/>
                </a:lnTo>
                <a:lnTo>
                  <a:pt x="1142" y="2267"/>
                </a:lnTo>
                <a:lnTo>
                  <a:pt x="1115" y="2282"/>
                </a:lnTo>
                <a:lnTo>
                  <a:pt x="1082" y="2294"/>
                </a:lnTo>
                <a:lnTo>
                  <a:pt x="1047" y="2304"/>
                </a:lnTo>
                <a:lnTo>
                  <a:pt x="1007" y="2311"/>
                </a:lnTo>
                <a:lnTo>
                  <a:pt x="965" y="2315"/>
                </a:lnTo>
                <a:lnTo>
                  <a:pt x="924" y="2316"/>
                </a:lnTo>
                <a:lnTo>
                  <a:pt x="881" y="2315"/>
                </a:lnTo>
                <a:lnTo>
                  <a:pt x="840" y="2310"/>
                </a:lnTo>
                <a:lnTo>
                  <a:pt x="801" y="2304"/>
                </a:lnTo>
                <a:lnTo>
                  <a:pt x="766" y="2294"/>
                </a:lnTo>
                <a:lnTo>
                  <a:pt x="745" y="2287"/>
                </a:lnTo>
                <a:lnTo>
                  <a:pt x="727" y="2279"/>
                </a:lnTo>
                <a:lnTo>
                  <a:pt x="711" y="2271"/>
                </a:lnTo>
                <a:lnTo>
                  <a:pt x="694" y="2260"/>
                </a:lnTo>
                <a:lnTo>
                  <a:pt x="677" y="2248"/>
                </a:lnTo>
                <a:lnTo>
                  <a:pt x="661" y="2232"/>
                </a:lnTo>
                <a:lnTo>
                  <a:pt x="647" y="2214"/>
                </a:lnTo>
                <a:lnTo>
                  <a:pt x="637" y="2196"/>
                </a:lnTo>
                <a:lnTo>
                  <a:pt x="630" y="2180"/>
                </a:lnTo>
                <a:lnTo>
                  <a:pt x="626" y="2163"/>
                </a:lnTo>
                <a:lnTo>
                  <a:pt x="626" y="2146"/>
                </a:lnTo>
                <a:lnTo>
                  <a:pt x="630" y="2125"/>
                </a:lnTo>
                <a:lnTo>
                  <a:pt x="634" y="2102"/>
                </a:lnTo>
                <a:lnTo>
                  <a:pt x="643" y="2074"/>
                </a:lnTo>
                <a:lnTo>
                  <a:pt x="653" y="2049"/>
                </a:lnTo>
                <a:lnTo>
                  <a:pt x="662" y="2026"/>
                </a:lnTo>
                <a:lnTo>
                  <a:pt x="673" y="2002"/>
                </a:lnTo>
                <a:lnTo>
                  <a:pt x="679" y="1987"/>
                </a:lnTo>
                <a:lnTo>
                  <a:pt x="685" y="1974"/>
                </a:lnTo>
                <a:lnTo>
                  <a:pt x="688" y="1962"/>
                </a:lnTo>
                <a:lnTo>
                  <a:pt x="687" y="1948"/>
                </a:lnTo>
                <a:lnTo>
                  <a:pt x="679" y="1934"/>
                </a:lnTo>
                <a:lnTo>
                  <a:pt x="679" y="1933"/>
                </a:lnTo>
                <a:lnTo>
                  <a:pt x="678" y="1931"/>
                </a:lnTo>
                <a:lnTo>
                  <a:pt x="677" y="1929"/>
                </a:lnTo>
                <a:lnTo>
                  <a:pt x="670" y="1929"/>
                </a:lnTo>
                <a:lnTo>
                  <a:pt x="665" y="1924"/>
                </a:lnTo>
                <a:lnTo>
                  <a:pt x="664" y="1922"/>
                </a:lnTo>
                <a:lnTo>
                  <a:pt x="661" y="1920"/>
                </a:lnTo>
                <a:lnTo>
                  <a:pt x="660" y="1919"/>
                </a:lnTo>
                <a:lnTo>
                  <a:pt x="657" y="1918"/>
                </a:lnTo>
                <a:lnTo>
                  <a:pt x="639" y="1911"/>
                </a:lnTo>
                <a:lnTo>
                  <a:pt x="615" y="1906"/>
                </a:lnTo>
                <a:lnTo>
                  <a:pt x="588" y="1902"/>
                </a:lnTo>
                <a:lnTo>
                  <a:pt x="558" y="1900"/>
                </a:lnTo>
                <a:lnTo>
                  <a:pt x="526" y="1899"/>
                </a:lnTo>
                <a:lnTo>
                  <a:pt x="493" y="1899"/>
                </a:lnTo>
                <a:lnTo>
                  <a:pt x="463" y="1900"/>
                </a:lnTo>
                <a:lnTo>
                  <a:pt x="434" y="1901"/>
                </a:lnTo>
                <a:lnTo>
                  <a:pt x="408" y="1902"/>
                </a:lnTo>
                <a:lnTo>
                  <a:pt x="364" y="1908"/>
                </a:lnTo>
                <a:lnTo>
                  <a:pt x="322" y="1916"/>
                </a:lnTo>
                <a:lnTo>
                  <a:pt x="281" y="1927"/>
                </a:lnTo>
                <a:lnTo>
                  <a:pt x="243" y="1936"/>
                </a:lnTo>
                <a:lnTo>
                  <a:pt x="167" y="1959"/>
                </a:lnTo>
                <a:lnTo>
                  <a:pt x="89" y="1983"/>
                </a:lnTo>
                <a:lnTo>
                  <a:pt x="76" y="1939"/>
                </a:lnTo>
                <a:lnTo>
                  <a:pt x="62" y="1892"/>
                </a:lnTo>
                <a:lnTo>
                  <a:pt x="48" y="1845"/>
                </a:lnTo>
                <a:lnTo>
                  <a:pt x="34" y="1796"/>
                </a:lnTo>
                <a:lnTo>
                  <a:pt x="22" y="1745"/>
                </a:lnTo>
                <a:lnTo>
                  <a:pt x="13" y="1692"/>
                </a:lnTo>
                <a:lnTo>
                  <a:pt x="6" y="1636"/>
                </a:lnTo>
                <a:lnTo>
                  <a:pt x="5" y="1576"/>
                </a:lnTo>
                <a:lnTo>
                  <a:pt x="5" y="1547"/>
                </a:lnTo>
                <a:lnTo>
                  <a:pt x="6" y="1518"/>
                </a:lnTo>
                <a:lnTo>
                  <a:pt x="10" y="1488"/>
                </a:lnTo>
                <a:lnTo>
                  <a:pt x="16" y="1460"/>
                </a:lnTo>
                <a:lnTo>
                  <a:pt x="25" y="1434"/>
                </a:lnTo>
                <a:lnTo>
                  <a:pt x="54" y="1443"/>
                </a:lnTo>
                <a:lnTo>
                  <a:pt x="83" y="1456"/>
                </a:lnTo>
                <a:lnTo>
                  <a:pt x="110" y="1468"/>
                </a:lnTo>
                <a:lnTo>
                  <a:pt x="138" y="1479"/>
                </a:lnTo>
                <a:lnTo>
                  <a:pt x="166" y="1488"/>
                </a:lnTo>
                <a:lnTo>
                  <a:pt x="194" y="1495"/>
                </a:lnTo>
                <a:lnTo>
                  <a:pt x="223" y="1496"/>
                </a:lnTo>
                <a:lnTo>
                  <a:pt x="255" y="1491"/>
                </a:lnTo>
                <a:lnTo>
                  <a:pt x="281" y="1481"/>
                </a:lnTo>
                <a:lnTo>
                  <a:pt x="307" y="1465"/>
                </a:lnTo>
                <a:lnTo>
                  <a:pt x="331" y="1445"/>
                </a:lnTo>
                <a:lnTo>
                  <a:pt x="352" y="1420"/>
                </a:lnTo>
                <a:lnTo>
                  <a:pt x="370" y="1395"/>
                </a:lnTo>
                <a:lnTo>
                  <a:pt x="385" y="1368"/>
                </a:lnTo>
                <a:lnTo>
                  <a:pt x="399" y="1330"/>
                </a:lnTo>
                <a:lnTo>
                  <a:pt x="412" y="1289"/>
                </a:lnTo>
                <a:lnTo>
                  <a:pt x="419" y="1243"/>
                </a:lnTo>
                <a:lnTo>
                  <a:pt x="424" y="1195"/>
                </a:lnTo>
                <a:lnTo>
                  <a:pt x="424" y="1146"/>
                </a:lnTo>
                <a:lnTo>
                  <a:pt x="421" y="1099"/>
                </a:lnTo>
                <a:lnTo>
                  <a:pt x="415" y="1052"/>
                </a:lnTo>
                <a:lnTo>
                  <a:pt x="406" y="1008"/>
                </a:lnTo>
                <a:lnTo>
                  <a:pt x="392" y="969"/>
                </a:lnTo>
                <a:lnTo>
                  <a:pt x="384" y="949"/>
                </a:lnTo>
                <a:lnTo>
                  <a:pt x="373" y="929"/>
                </a:lnTo>
                <a:lnTo>
                  <a:pt x="359" y="909"/>
                </a:lnTo>
                <a:lnTo>
                  <a:pt x="344" y="890"/>
                </a:lnTo>
                <a:lnTo>
                  <a:pt x="326" y="873"/>
                </a:lnTo>
                <a:lnTo>
                  <a:pt x="306" y="858"/>
                </a:lnTo>
                <a:lnTo>
                  <a:pt x="283" y="847"/>
                </a:lnTo>
                <a:lnTo>
                  <a:pt x="258" y="840"/>
                </a:lnTo>
                <a:lnTo>
                  <a:pt x="232" y="839"/>
                </a:lnTo>
                <a:lnTo>
                  <a:pt x="215" y="841"/>
                </a:lnTo>
                <a:lnTo>
                  <a:pt x="201" y="845"/>
                </a:lnTo>
                <a:lnTo>
                  <a:pt x="188" y="851"/>
                </a:lnTo>
                <a:lnTo>
                  <a:pt x="174" y="858"/>
                </a:lnTo>
                <a:lnTo>
                  <a:pt x="134" y="876"/>
                </a:lnTo>
                <a:lnTo>
                  <a:pt x="96" y="896"/>
                </a:lnTo>
                <a:lnTo>
                  <a:pt x="83" y="903"/>
                </a:lnTo>
                <a:lnTo>
                  <a:pt x="68" y="910"/>
                </a:lnTo>
                <a:lnTo>
                  <a:pt x="50" y="915"/>
                </a:lnTo>
                <a:lnTo>
                  <a:pt x="31" y="919"/>
                </a:lnTo>
                <a:lnTo>
                  <a:pt x="9" y="919"/>
                </a:lnTo>
                <a:lnTo>
                  <a:pt x="3" y="888"/>
                </a:lnTo>
                <a:lnTo>
                  <a:pt x="0" y="857"/>
                </a:lnTo>
                <a:lnTo>
                  <a:pt x="0" y="825"/>
                </a:lnTo>
                <a:lnTo>
                  <a:pt x="5" y="762"/>
                </a:lnTo>
                <a:lnTo>
                  <a:pt x="9" y="702"/>
                </a:lnTo>
                <a:lnTo>
                  <a:pt x="14" y="644"/>
                </a:lnTo>
                <a:lnTo>
                  <a:pt x="21" y="589"/>
                </a:lnTo>
                <a:lnTo>
                  <a:pt x="32" y="536"/>
                </a:lnTo>
                <a:lnTo>
                  <a:pt x="49" y="469"/>
                </a:lnTo>
                <a:lnTo>
                  <a:pt x="67" y="400"/>
                </a:lnTo>
                <a:lnTo>
                  <a:pt x="86" y="336"/>
                </a:lnTo>
                <a:lnTo>
                  <a:pt x="188" y="365"/>
                </a:lnTo>
                <a:lnTo>
                  <a:pt x="241" y="380"/>
                </a:lnTo>
                <a:lnTo>
                  <a:pt x="296" y="393"/>
                </a:lnTo>
                <a:lnTo>
                  <a:pt x="354" y="404"/>
                </a:lnTo>
                <a:lnTo>
                  <a:pt x="414" y="413"/>
                </a:lnTo>
                <a:lnTo>
                  <a:pt x="479" y="418"/>
                </a:lnTo>
                <a:lnTo>
                  <a:pt x="547" y="420"/>
                </a:lnTo>
                <a:lnTo>
                  <a:pt x="655" y="420"/>
                </a:lnTo>
                <a:lnTo>
                  <a:pt x="671" y="421"/>
                </a:lnTo>
                <a:lnTo>
                  <a:pt x="684" y="420"/>
                </a:lnTo>
                <a:lnTo>
                  <a:pt x="701" y="413"/>
                </a:lnTo>
                <a:lnTo>
                  <a:pt x="707" y="408"/>
                </a:lnTo>
                <a:lnTo>
                  <a:pt x="711" y="404"/>
                </a:lnTo>
                <a:lnTo>
                  <a:pt x="716" y="394"/>
                </a:lnTo>
                <a:lnTo>
                  <a:pt x="718" y="381"/>
                </a:lnTo>
                <a:lnTo>
                  <a:pt x="720" y="366"/>
                </a:lnTo>
                <a:lnTo>
                  <a:pt x="718" y="340"/>
                </a:lnTo>
                <a:lnTo>
                  <a:pt x="713" y="315"/>
                </a:lnTo>
                <a:lnTo>
                  <a:pt x="705" y="293"/>
                </a:lnTo>
                <a:lnTo>
                  <a:pt x="683" y="252"/>
                </a:lnTo>
                <a:lnTo>
                  <a:pt x="661" y="213"/>
                </a:lnTo>
                <a:lnTo>
                  <a:pt x="653" y="196"/>
                </a:lnTo>
                <a:lnTo>
                  <a:pt x="647" y="180"/>
                </a:lnTo>
                <a:lnTo>
                  <a:pt x="642" y="163"/>
                </a:lnTo>
                <a:lnTo>
                  <a:pt x="640" y="147"/>
                </a:lnTo>
                <a:lnTo>
                  <a:pt x="643" y="129"/>
                </a:lnTo>
                <a:lnTo>
                  <a:pt x="650" y="110"/>
                </a:lnTo>
                <a:lnTo>
                  <a:pt x="657" y="100"/>
                </a:lnTo>
                <a:lnTo>
                  <a:pt x="661" y="94"/>
                </a:lnTo>
                <a:lnTo>
                  <a:pt x="671" y="80"/>
                </a:lnTo>
                <a:lnTo>
                  <a:pt x="682" y="68"/>
                </a:lnTo>
                <a:lnTo>
                  <a:pt x="696" y="55"/>
                </a:lnTo>
                <a:lnTo>
                  <a:pt x="717" y="41"/>
                </a:lnTo>
                <a:lnTo>
                  <a:pt x="744" y="29"/>
                </a:lnTo>
                <a:lnTo>
                  <a:pt x="774" y="20"/>
                </a:lnTo>
                <a:lnTo>
                  <a:pt x="806" y="11"/>
                </a:lnTo>
                <a:lnTo>
                  <a:pt x="838" y="5"/>
                </a:lnTo>
                <a:lnTo>
                  <a:pt x="869" y="1"/>
                </a:lnTo>
                <a:lnTo>
                  <a:pt x="909" y="0"/>
                </a:lnTo>
                <a:close/>
              </a:path>
            </a:pathLst>
          </a:custGeom>
          <a:solidFill>
            <a:schemeClr val="bg2"/>
          </a:solidFill>
          <a:ln w="12700">
            <a:solidFill>
              <a:schemeClr val="bg1"/>
            </a:solidFill>
            <a:round/>
            <a:headEnd/>
            <a:tailEnd/>
          </a:ln>
        </p:spPr>
        <p:txBody>
          <a:bodyPr anchor="ctr"/>
          <a:lstStyle/>
          <a:p>
            <a:endParaRPr lang="en-US"/>
          </a:p>
        </p:txBody>
      </p:sp>
      <p:sp>
        <p:nvSpPr>
          <p:cNvPr id="68613" name="Rectangle 5"/>
          <p:cNvSpPr>
            <a:spLocks noChangeArrowheads="1"/>
          </p:cNvSpPr>
          <p:nvPr/>
        </p:nvSpPr>
        <p:spPr bwMode="gray">
          <a:xfrm>
            <a:off x="9129712" y="4157257"/>
            <a:ext cx="966788" cy="965834"/>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rgbClr val="FFFFFF"/>
                </a:solidFill>
              </a:rPr>
              <a:t>Text</a:t>
            </a:r>
          </a:p>
        </p:txBody>
      </p:sp>
      <p:sp>
        <p:nvSpPr>
          <p:cNvPr id="63" name="AutoShape 6"/>
          <p:cNvSpPr>
            <a:spLocks/>
          </p:cNvSpPr>
          <p:nvPr/>
        </p:nvSpPr>
        <p:spPr bwMode="gray">
          <a:xfrm>
            <a:off x="7480302" y="3949612"/>
            <a:ext cx="1728787" cy="1375410"/>
          </a:xfrm>
          <a:custGeom>
            <a:avLst/>
            <a:gdLst>
              <a:gd name="T0" fmla="*/ 1856 w 2316"/>
              <a:gd name="T1" fmla="*/ 47 h 1841"/>
              <a:gd name="T2" fmla="*/ 1920 w 2316"/>
              <a:gd name="T3" fmla="*/ 315 h 1841"/>
              <a:gd name="T4" fmla="*/ 1895 w 2316"/>
              <a:gd name="T5" fmla="*/ 598 h 1841"/>
              <a:gd name="T6" fmla="*/ 1929 w 2316"/>
              <a:gd name="T7" fmla="*/ 718 h 1841"/>
              <a:gd name="T8" fmla="*/ 2034 w 2316"/>
              <a:gd name="T9" fmla="*/ 698 h 1841"/>
              <a:gd name="T10" fmla="*/ 2176 w 2316"/>
              <a:gd name="T11" fmla="*/ 640 h 1841"/>
              <a:gd name="T12" fmla="*/ 2223 w 2316"/>
              <a:gd name="T13" fmla="*/ 662 h 1841"/>
              <a:gd name="T14" fmla="*/ 2267 w 2316"/>
              <a:gd name="T15" fmla="*/ 707 h 1841"/>
              <a:gd name="T16" fmla="*/ 2309 w 2316"/>
              <a:gd name="T17" fmla="*/ 821 h 1841"/>
              <a:gd name="T18" fmla="*/ 2296 w 2316"/>
              <a:gd name="T19" fmla="*/ 1073 h 1841"/>
              <a:gd name="T20" fmla="*/ 2255 w 2316"/>
              <a:gd name="T21" fmla="*/ 1152 h 1841"/>
              <a:gd name="T22" fmla="*/ 2133 w 2316"/>
              <a:gd name="T23" fmla="*/ 1218 h 1841"/>
              <a:gd name="T24" fmla="*/ 1987 w 2316"/>
              <a:gd name="T25" fmla="*/ 1165 h 1841"/>
              <a:gd name="T26" fmla="*/ 1917 w 2316"/>
              <a:gd name="T27" fmla="*/ 1186 h 1841"/>
              <a:gd name="T28" fmla="*/ 1901 w 2316"/>
              <a:gd name="T29" fmla="*/ 1430 h 1841"/>
              <a:gd name="T30" fmla="*/ 1970 w 2316"/>
              <a:gd name="T31" fmla="*/ 1708 h 1841"/>
              <a:gd name="T32" fmla="*/ 1677 w 2316"/>
              <a:gd name="T33" fmla="*/ 1831 h 1841"/>
              <a:gd name="T34" fmla="*/ 1432 w 2316"/>
              <a:gd name="T35" fmla="*/ 1817 h 1841"/>
              <a:gd name="T36" fmla="*/ 1493 w 2316"/>
              <a:gd name="T37" fmla="*/ 1645 h 1841"/>
              <a:gd name="T38" fmla="*/ 1437 w 2316"/>
              <a:gd name="T39" fmla="*/ 1506 h 1841"/>
              <a:gd name="T40" fmla="*/ 1418 w 2316"/>
              <a:gd name="T41" fmla="*/ 1490 h 1841"/>
              <a:gd name="T42" fmla="*/ 1404 w 2316"/>
              <a:gd name="T43" fmla="*/ 1482 h 1841"/>
              <a:gd name="T44" fmla="*/ 1353 w 2316"/>
              <a:gd name="T45" fmla="*/ 1451 h 1841"/>
              <a:gd name="T46" fmla="*/ 1138 w 2316"/>
              <a:gd name="T47" fmla="*/ 1421 h 1841"/>
              <a:gd name="T48" fmla="*/ 922 w 2316"/>
              <a:gd name="T49" fmla="*/ 1473 h 1841"/>
              <a:gd name="T50" fmla="*/ 853 w 2316"/>
              <a:gd name="T51" fmla="*/ 1548 h 1841"/>
              <a:gd name="T52" fmla="*/ 857 w 2316"/>
              <a:gd name="T53" fmla="*/ 1667 h 1841"/>
              <a:gd name="T54" fmla="*/ 913 w 2316"/>
              <a:gd name="T55" fmla="*/ 1787 h 1841"/>
              <a:gd name="T56" fmla="*/ 841 w 2316"/>
              <a:gd name="T57" fmla="*/ 1840 h 1841"/>
              <a:gd name="T58" fmla="*/ 464 w 2316"/>
              <a:gd name="T59" fmla="*/ 1793 h 1841"/>
              <a:gd name="T60" fmla="*/ 388 w 2316"/>
              <a:gd name="T61" fmla="*/ 1563 h 1841"/>
              <a:gd name="T62" fmla="*/ 420 w 2316"/>
              <a:gd name="T63" fmla="*/ 1266 h 1841"/>
              <a:gd name="T64" fmla="*/ 404 w 2316"/>
              <a:gd name="T65" fmla="*/ 1134 h 1841"/>
              <a:gd name="T66" fmla="*/ 284 w 2316"/>
              <a:gd name="T67" fmla="*/ 1141 h 1841"/>
              <a:gd name="T68" fmla="*/ 151 w 2316"/>
              <a:gd name="T69" fmla="*/ 1202 h 1841"/>
              <a:gd name="T70" fmla="*/ 41 w 2316"/>
              <a:gd name="T71" fmla="*/ 1125 h 1841"/>
              <a:gd name="T72" fmla="*/ 0 w 2316"/>
              <a:gd name="T73" fmla="*/ 923 h 1841"/>
              <a:gd name="T74" fmla="*/ 39 w 2316"/>
              <a:gd name="T75" fmla="*/ 721 h 1841"/>
              <a:gd name="T76" fmla="*/ 102 w 2316"/>
              <a:gd name="T77" fmla="*/ 645 h 1841"/>
              <a:gd name="T78" fmla="*/ 239 w 2316"/>
              <a:gd name="T79" fmla="*/ 639 h 1841"/>
              <a:gd name="T80" fmla="*/ 378 w 2316"/>
              <a:gd name="T81" fmla="*/ 679 h 1841"/>
              <a:gd name="T82" fmla="*/ 417 w 2316"/>
              <a:gd name="T83" fmla="*/ 562 h 1841"/>
              <a:gd name="T84" fmla="*/ 409 w 2316"/>
              <a:gd name="T85" fmla="*/ 359 h 1841"/>
              <a:gd name="T86" fmla="*/ 335 w 2316"/>
              <a:gd name="T87" fmla="*/ 85 h 1841"/>
              <a:gd name="T88" fmla="*/ 657 w 2316"/>
              <a:gd name="T89" fmla="*/ 5 h 1841"/>
              <a:gd name="T90" fmla="*/ 880 w 2316"/>
              <a:gd name="T91" fmla="*/ 20 h 1841"/>
              <a:gd name="T92" fmla="*/ 846 w 2316"/>
              <a:gd name="T93" fmla="*/ 115 h 1841"/>
              <a:gd name="T94" fmla="*/ 832 w 2316"/>
              <a:gd name="T95" fmla="*/ 269 h 1841"/>
              <a:gd name="T96" fmla="*/ 920 w 2316"/>
              <a:gd name="T97" fmla="*/ 364 h 1841"/>
              <a:gd name="T98" fmla="*/ 1002 w 2316"/>
              <a:gd name="T99" fmla="*/ 402 h 1841"/>
              <a:gd name="T100" fmla="*/ 1244 w 2316"/>
              <a:gd name="T101" fmla="*/ 416 h 1841"/>
              <a:gd name="T102" fmla="*/ 1440 w 2316"/>
              <a:gd name="T103" fmla="*/ 328 h 1841"/>
              <a:gd name="T104" fmla="*/ 1469 w 2316"/>
              <a:gd name="T105" fmla="*/ 188 h 1841"/>
              <a:gd name="T106" fmla="*/ 1410 w 2316"/>
              <a:gd name="T107" fmla="*/ 73 h 1841"/>
              <a:gd name="T108" fmla="*/ 1409 w 2316"/>
              <a:gd name="T109" fmla="*/ 1 h 18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16"/>
              <a:gd name="T166" fmla="*/ 0 h 1841"/>
              <a:gd name="T167" fmla="*/ 2316 w 2316"/>
              <a:gd name="T168" fmla="*/ 1841 h 18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16" h="1841">
                <a:moveTo>
                  <a:pt x="1493" y="0"/>
                </a:moveTo>
                <a:lnTo>
                  <a:pt x="1572" y="2"/>
                </a:lnTo>
                <a:lnTo>
                  <a:pt x="1648" y="8"/>
                </a:lnTo>
                <a:lnTo>
                  <a:pt x="1721" y="18"/>
                </a:lnTo>
                <a:lnTo>
                  <a:pt x="1789" y="31"/>
                </a:lnTo>
                <a:lnTo>
                  <a:pt x="1856" y="47"/>
                </a:lnTo>
                <a:lnTo>
                  <a:pt x="1920" y="65"/>
                </a:lnTo>
                <a:lnTo>
                  <a:pt x="1982" y="85"/>
                </a:lnTo>
                <a:lnTo>
                  <a:pt x="1965" y="140"/>
                </a:lnTo>
                <a:lnTo>
                  <a:pt x="1948" y="196"/>
                </a:lnTo>
                <a:lnTo>
                  <a:pt x="1934" y="253"/>
                </a:lnTo>
                <a:lnTo>
                  <a:pt x="1920" y="315"/>
                </a:lnTo>
                <a:lnTo>
                  <a:pt x="1909" y="381"/>
                </a:lnTo>
                <a:lnTo>
                  <a:pt x="1903" y="433"/>
                </a:lnTo>
                <a:lnTo>
                  <a:pt x="1901" y="490"/>
                </a:lnTo>
                <a:lnTo>
                  <a:pt x="1897" y="553"/>
                </a:lnTo>
                <a:lnTo>
                  <a:pt x="1896" y="575"/>
                </a:lnTo>
                <a:lnTo>
                  <a:pt x="1895" y="598"/>
                </a:lnTo>
                <a:lnTo>
                  <a:pt x="1895" y="646"/>
                </a:lnTo>
                <a:lnTo>
                  <a:pt x="1896" y="667"/>
                </a:lnTo>
                <a:lnTo>
                  <a:pt x="1901" y="686"/>
                </a:lnTo>
                <a:lnTo>
                  <a:pt x="1907" y="701"/>
                </a:lnTo>
                <a:lnTo>
                  <a:pt x="1917" y="712"/>
                </a:lnTo>
                <a:lnTo>
                  <a:pt x="1929" y="718"/>
                </a:lnTo>
                <a:lnTo>
                  <a:pt x="1945" y="720"/>
                </a:lnTo>
                <a:lnTo>
                  <a:pt x="1962" y="720"/>
                </a:lnTo>
                <a:lnTo>
                  <a:pt x="1978" y="719"/>
                </a:lnTo>
                <a:lnTo>
                  <a:pt x="1993" y="715"/>
                </a:lnTo>
                <a:lnTo>
                  <a:pt x="2014" y="708"/>
                </a:lnTo>
                <a:lnTo>
                  <a:pt x="2034" y="698"/>
                </a:lnTo>
                <a:lnTo>
                  <a:pt x="2051" y="688"/>
                </a:lnTo>
                <a:lnTo>
                  <a:pt x="2072" y="676"/>
                </a:lnTo>
                <a:lnTo>
                  <a:pt x="2114" y="654"/>
                </a:lnTo>
                <a:lnTo>
                  <a:pt x="2135" y="646"/>
                </a:lnTo>
                <a:lnTo>
                  <a:pt x="2155" y="641"/>
                </a:lnTo>
                <a:lnTo>
                  <a:pt x="2176" y="640"/>
                </a:lnTo>
                <a:lnTo>
                  <a:pt x="2198" y="643"/>
                </a:lnTo>
                <a:lnTo>
                  <a:pt x="2220" y="653"/>
                </a:lnTo>
                <a:lnTo>
                  <a:pt x="2221" y="654"/>
                </a:lnTo>
                <a:lnTo>
                  <a:pt x="2222" y="657"/>
                </a:lnTo>
                <a:lnTo>
                  <a:pt x="2222" y="660"/>
                </a:lnTo>
                <a:lnTo>
                  <a:pt x="2223" y="662"/>
                </a:lnTo>
                <a:lnTo>
                  <a:pt x="2233" y="667"/>
                </a:lnTo>
                <a:lnTo>
                  <a:pt x="2242" y="674"/>
                </a:lnTo>
                <a:lnTo>
                  <a:pt x="2250" y="684"/>
                </a:lnTo>
                <a:lnTo>
                  <a:pt x="2257" y="693"/>
                </a:lnTo>
                <a:lnTo>
                  <a:pt x="2264" y="699"/>
                </a:lnTo>
                <a:lnTo>
                  <a:pt x="2267" y="707"/>
                </a:lnTo>
                <a:lnTo>
                  <a:pt x="2272" y="715"/>
                </a:lnTo>
                <a:lnTo>
                  <a:pt x="2278" y="726"/>
                </a:lnTo>
                <a:lnTo>
                  <a:pt x="2285" y="742"/>
                </a:lnTo>
                <a:lnTo>
                  <a:pt x="2294" y="761"/>
                </a:lnTo>
                <a:lnTo>
                  <a:pt x="2301" y="783"/>
                </a:lnTo>
                <a:lnTo>
                  <a:pt x="2309" y="821"/>
                </a:lnTo>
                <a:lnTo>
                  <a:pt x="2315" y="861"/>
                </a:lnTo>
                <a:lnTo>
                  <a:pt x="2316" y="904"/>
                </a:lnTo>
                <a:lnTo>
                  <a:pt x="2316" y="948"/>
                </a:lnTo>
                <a:lnTo>
                  <a:pt x="2312" y="991"/>
                </a:lnTo>
                <a:lnTo>
                  <a:pt x="2306" y="1033"/>
                </a:lnTo>
                <a:lnTo>
                  <a:pt x="2296" y="1073"/>
                </a:lnTo>
                <a:lnTo>
                  <a:pt x="2283" y="1110"/>
                </a:lnTo>
                <a:lnTo>
                  <a:pt x="2266" y="1141"/>
                </a:lnTo>
                <a:lnTo>
                  <a:pt x="2264" y="1144"/>
                </a:lnTo>
                <a:lnTo>
                  <a:pt x="2261" y="1147"/>
                </a:lnTo>
                <a:lnTo>
                  <a:pt x="2257" y="1150"/>
                </a:lnTo>
                <a:lnTo>
                  <a:pt x="2255" y="1152"/>
                </a:lnTo>
                <a:lnTo>
                  <a:pt x="2245" y="1165"/>
                </a:lnTo>
                <a:lnTo>
                  <a:pt x="2219" y="1192"/>
                </a:lnTo>
                <a:lnTo>
                  <a:pt x="2201" y="1204"/>
                </a:lnTo>
                <a:lnTo>
                  <a:pt x="2183" y="1213"/>
                </a:lnTo>
                <a:lnTo>
                  <a:pt x="2163" y="1218"/>
                </a:lnTo>
                <a:lnTo>
                  <a:pt x="2133" y="1218"/>
                </a:lnTo>
                <a:lnTo>
                  <a:pt x="2105" y="1212"/>
                </a:lnTo>
                <a:lnTo>
                  <a:pt x="2077" y="1202"/>
                </a:lnTo>
                <a:lnTo>
                  <a:pt x="2051" y="1191"/>
                </a:lnTo>
                <a:lnTo>
                  <a:pt x="2026" y="1181"/>
                </a:lnTo>
                <a:lnTo>
                  <a:pt x="2001" y="1172"/>
                </a:lnTo>
                <a:lnTo>
                  <a:pt x="1987" y="1165"/>
                </a:lnTo>
                <a:lnTo>
                  <a:pt x="1976" y="1159"/>
                </a:lnTo>
                <a:lnTo>
                  <a:pt x="1964" y="1157"/>
                </a:lnTo>
                <a:lnTo>
                  <a:pt x="1951" y="1157"/>
                </a:lnTo>
                <a:lnTo>
                  <a:pt x="1936" y="1162"/>
                </a:lnTo>
                <a:lnTo>
                  <a:pt x="1925" y="1173"/>
                </a:lnTo>
                <a:lnTo>
                  <a:pt x="1917" y="1186"/>
                </a:lnTo>
                <a:lnTo>
                  <a:pt x="1911" y="1204"/>
                </a:lnTo>
                <a:lnTo>
                  <a:pt x="1906" y="1224"/>
                </a:lnTo>
                <a:lnTo>
                  <a:pt x="1901" y="1268"/>
                </a:lnTo>
                <a:lnTo>
                  <a:pt x="1900" y="1324"/>
                </a:lnTo>
                <a:lnTo>
                  <a:pt x="1900" y="1378"/>
                </a:lnTo>
                <a:lnTo>
                  <a:pt x="1901" y="1430"/>
                </a:lnTo>
                <a:lnTo>
                  <a:pt x="1907" y="1481"/>
                </a:lnTo>
                <a:lnTo>
                  <a:pt x="1917" y="1528"/>
                </a:lnTo>
                <a:lnTo>
                  <a:pt x="1929" y="1574"/>
                </a:lnTo>
                <a:lnTo>
                  <a:pt x="1942" y="1619"/>
                </a:lnTo>
                <a:lnTo>
                  <a:pt x="1957" y="1663"/>
                </a:lnTo>
                <a:lnTo>
                  <a:pt x="1970" y="1708"/>
                </a:lnTo>
                <a:lnTo>
                  <a:pt x="1982" y="1756"/>
                </a:lnTo>
                <a:lnTo>
                  <a:pt x="1922" y="1773"/>
                </a:lnTo>
                <a:lnTo>
                  <a:pt x="1858" y="1791"/>
                </a:lnTo>
                <a:lnTo>
                  <a:pt x="1793" y="1809"/>
                </a:lnTo>
                <a:lnTo>
                  <a:pt x="1724" y="1825"/>
                </a:lnTo>
                <a:lnTo>
                  <a:pt x="1677" y="1831"/>
                </a:lnTo>
                <a:lnTo>
                  <a:pt x="1627" y="1835"/>
                </a:lnTo>
                <a:lnTo>
                  <a:pt x="1575" y="1836"/>
                </a:lnTo>
                <a:lnTo>
                  <a:pt x="1515" y="1836"/>
                </a:lnTo>
                <a:lnTo>
                  <a:pt x="1486" y="1832"/>
                </a:lnTo>
                <a:lnTo>
                  <a:pt x="1458" y="1828"/>
                </a:lnTo>
                <a:lnTo>
                  <a:pt x="1432" y="1817"/>
                </a:lnTo>
                <a:lnTo>
                  <a:pt x="1446" y="1782"/>
                </a:lnTo>
                <a:lnTo>
                  <a:pt x="1459" y="1752"/>
                </a:lnTo>
                <a:lnTo>
                  <a:pt x="1471" y="1720"/>
                </a:lnTo>
                <a:lnTo>
                  <a:pt x="1480" y="1696"/>
                </a:lnTo>
                <a:lnTo>
                  <a:pt x="1487" y="1671"/>
                </a:lnTo>
                <a:lnTo>
                  <a:pt x="1493" y="1645"/>
                </a:lnTo>
                <a:lnTo>
                  <a:pt x="1494" y="1618"/>
                </a:lnTo>
                <a:lnTo>
                  <a:pt x="1491" y="1590"/>
                </a:lnTo>
                <a:lnTo>
                  <a:pt x="1482" y="1566"/>
                </a:lnTo>
                <a:lnTo>
                  <a:pt x="1470" y="1544"/>
                </a:lnTo>
                <a:lnTo>
                  <a:pt x="1454" y="1524"/>
                </a:lnTo>
                <a:lnTo>
                  <a:pt x="1437" y="1506"/>
                </a:lnTo>
                <a:lnTo>
                  <a:pt x="1435" y="1504"/>
                </a:lnTo>
                <a:lnTo>
                  <a:pt x="1431" y="1497"/>
                </a:lnTo>
                <a:lnTo>
                  <a:pt x="1429" y="1494"/>
                </a:lnTo>
                <a:lnTo>
                  <a:pt x="1426" y="1493"/>
                </a:lnTo>
                <a:lnTo>
                  <a:pt x="1423" y="1493"/>
                </a:lnTo>
                <a:lnTo>
                  <a:pt x="1418" y="1490"/>
                </a:lnTo>
                <a:lnTo>
                  <a:pt x="1417" y="1489"/>
                </a:lnTo>
                <a:lnTo>
                  <a:pt x="1415" y="1487"/>
                </a:lnTo>
                <a:lnTo>
                  <a:pt x="1415" y="1484"/>
                </a:lnTo>
                <a:lnTo>
                  <a:pt x="1414" y="1483"/>
                </a:lnTo>
                <a:lnTo>
                  <a:pt x="1406" y="1483"/>
                </a:lnTo>
                <a:lnTo>
                  <a:pt x="1404" y="1482"/>
                </a:lnTo>
                <a:lnTo>
                  <a:pt x="1403" y="1479"/>
                </a:lnTo>
                <a:lnTo>
                  <a:pt x="1403" y="1476"/>
                </a:lnTo>
                <a:lnTo>
                  <a:pt x="1402" y="1475"/>
                </a:lnTo>
                <a:lnTo>
                  <a:pt x="1395" y="1475"/>
                </a:lnTo>
                <a:lnTo>
                  <a:pt x="1375" y="1460"/>
                </a:lnTo>
                <a:lnTo>
                  <a:pt x="1353" y="1451"/>
                </a:lnTo>
                <a:lnTo>
                  <a:pt x="1329" y="1444"/>
                </a:lnTo>
                <a:lnTo>
                  <a:pt x="1302" y="1437"/>
                </a:lnTo>
                <a:lnTo>
                  <a:pt x="1266" y="1430"/>
                </a:lnTo>
                <a:lnTo>
                  <a:pt x="1225" y="1423"/>
                </a:lnTo>
                <a:lnTo>
                  <a:pt x="1182" y="1421"/>
                </a:lnTo>
                <a:lnTo>
                  <a:pt x="1138" y="1421"/>
                </a:lnTo>
                <a:lnTo>
                  <a:pt x="1094" y="1423"/>
                </a:lnTo>
                <a:lnTo>
                  <a:pt x="1051" y="1430"/>
                </a:lnTo>
                <a:lnTo>
                  <a:pt x="1013" y="1437"/>
                </a:lnTo>
                <a:lnTo>
                  <a:pt x="976" y="1447"/>
                </a:lnTo>
                <a:lnTo>
                  <a:pt x="946" y="1460"/>
                </a:lnTo>
                <a:lnTo>
                  <a:pt x="922" y="1473"/>
                </a:lnTo>
                <a:lnTo>
                  <a:pt x="902" y="1489"/>
                </a:lnTo>
                <a:lnTo>
                  <a:pt x="885" y="1505"/>
                </a:lnTo>
                <a:lnTo>
                  <a:pt x="869" y="1521"/>
                </a:lnTo>
                <a:lnTo>
                  <a:pt x="864" y="1527"/>
                </a:lnTo>
                <a:lnTo>
                  <a:pt x="859" y="1537"/>
                </a:lnTo>
                <a:lnTo>
                  <a:pt x="853" y="1548"/>
                </a:lnTo>
                <a:lnTo>
                  <a:pt x="849" y="1556"/>
                </a:lnTo>
                <a:lnTo>
                  <a:pt x="841" y="1583"/>
                </a:lnTo>
                <a:lnTo>
                  <a:pt x="837" y="1610"/>
                </a:lnTo>
                <a:lnTo>
                  <a:pt x="840" y="1627"/>
                </a:lnTo>
                <a:lnTo>
                  <a:pt x="845" y="1640"/>
                </a:lnTo>
                <a:lnTo>
                  <a:pt x="857" y="1667"/>
                </a:lnTo>
                <a:lnTo>
                  <a:pt x="868" y="1695"/>
                </a:lnTo>
                <a:lnTo>
                  <a:pt x="880" y="1720"/>
                </a:lnTo>
                <a:lnTo>
                  <a:pt x="888" y="1736"/>
                </a:lnTo>
                <a:lnTo>
                  <a:pt x="898" y="1752"/>
                </a:lnTo>
                <a:lnTo>
                  <a:pt x="907" y="1769"/>
                </a:lnTo>
                <a:lnTo>
                  <a:pt x="913" y="1787"/>
                </a:lnTo>
                <a:lnTo>
                  <a:pt x="918" y="1808"/>
                </a:lnTo>
                <a:lnTo>
                  <a:pt x="919" y="1832"/>
                </a:lnTo>
                <a:lnTo>
                  <a:pt x="901" y="1840"/>
                </a:lnTo>
                <a:lnTo>
                  <a:pt x="881" y="1841"/>
                </a:lnTo>
                <a:lnTo>
                  <a:pt x="860" y="1841"/>
                </a:lnTo>
                <a:lnTo>
                  <a:pt x="841" y="1840"/>
                </a:lnTo>
                <a:lnTo>
                  <a:pt x="780" y="1840"/>
                </a:lnTo>
                <a:lnTo>
                  <a:pt x="719" y="1837"/>
                </a:lnTo>
                <a:lnTo>
                  <a:pt x="660" y="1832"/>
                </a:lnTo>
                <a:lnTo>
                  <a:pt x="604" y="1825"/>
                </a:lnTo>
                <a:lnTo>
                  <a:pt x="532" y="1810"/>
                </a:lnTo>
                <a:lnTo>
                  <a:pt x="464" y="1793"/>
                </a:lnTo>
                <a:lnTo>
                  <a:pt x="398" y="1774"/>
                </a:lnTo>
                <a:lnTo>
                  <a:pt x="335" y="1756"/>
                </a:lnTo>
                <a:lnTo>
                  <a:pt x="350" y="1703"/>
                </a:lnTo>
                <a:lnTo>
                  <a:pt x="364" y="1656"/>
                </a:lnTo>
                <a:lnTo>
                  <a:pt x="377" y="1610"/>
                </a:lnTo>
                <a:lnTo>
                  <a:pt x="388" y="1563"/>
                </a:lnTo>
                <a:lnTo>
                  <a:pt x="399" y="1514"/>
                </a:lnTo>
                <a:lnTo>
                  <a:pt x="408" y="1460"/>
                </a:lnTo>
                <a:lnTo>
                  <a:pt x="414" y="1405"/>
                </a:lnTo>
                <a:lnTo>
                  <a:pt x="417" y="1348"/>
                </a:lnTo>
                <a:lnTo>
                  <a:pt x="419" y="1287"/>
                </a:lnTo>
                <a:lnTo>
                  <a:pt x="420" y="1266"/>
                </a:lnTo>
                <a:lnTo>
                  <a:pt x="422" y="1223"/>
                </a:lnTo>
                <a:lnTo>
                  <a:pt x="422" y="1201"/>
                </a:lnTo>
                <a:lnTo>
                  <a:pt x="421" y="1180"/>
                </a:lnTo>
                <a:lnTo>
                  <a:pt x="419" y="1162"/>
                </a:lnTo>
                <a:lnTo>
                  <a:pt x="413" y="1146"/>
                </a:lnTo>
                <a:lnTo>
                  <a:pt x="404" y="1134"/>
                </a:lnTo>
                <a:lnTo>
                  <a:pt x="392" y="1125"/>
                </a:lnTo>
                <a:lnTo>
                  <a:pt x="371" y="1120"/>
                </a:lnTo>
                <a:lnTo>
                  <a:pt x="350" y="1120"/>
                </a:lnTo>
                <a:lnTo>
                  <a:pt x="329" y="1124"/>
                </a:lnTo>
                <a:lnTo>
                  <a:pt x="305" y="1131"/>
                </a:lnTo>
                <a:lnTo>
                  <a:pt x="284" y="1141"/>
                </a:lnTo>
                <a:lnTo>
                  <a:pt x="262" y="1152"/>
                </a:lnTo>
                <a:lnTo>
                  <a:pt x="239" y="1164"/>
                </a:lnTo>
                <a:lnTo>
                  <a:pt x="217" y="1178"/>
                </a:lnTo>
                <a:lnTo>
                  <a:pt x="193" y="1190"/>
                </a:lnTo>
                <a:lnTo>
                  <a:pt x="172" y="1198"/>
                </a:lnTo>
                <a:lnTo>
                  <a:pt x="151" y="1202"/>
                </a:lnTo>
                <a:lnTo>
                  <a:pt x="128" y="1200"/>
                </a:lnTo>
                <a:lnTo>
                  <a:pt x="106" y="1191"/>
                </a:lnTo>
                <a:lnTo>
                  <a:pt x="86" y="1178"/>
                </a:lnTo>
                <a:lnTo>
                  <a:pt x="68" y="1162"/>
                </a:lnTo>
                <a:lnTo>
                  <a:pt x="54" y="1144"/>
                </a:lnTo>
                <a:lnTo>
                  <a:pt x="41" y="1125"/>
                </a:lnTo>
                <a:lnTo>
                  <a:pt x="32" y="1107"/>
                </a:lnTo>
                <a:lnTo>
                  <a:pt x="19" y="1077"/>
                </a:lnTo>
                <a:lnTo>
                  <a:pt x="11" y="1041"/>
                </a:lnTo>
                <a:lnTo>
                  <a:pt x="5" y="1004"/>
                </a:lnTo>
                <a:lnTo>
                  <a:pt x="1" y="963"/>
                </a:lnTo>
                <a:lnTo>
                  <a:pt x="0" y="923"/>
                </a:lnTo>
                <a:lnTo>
                  <a:pt x="1" y="882"/>
                </a:lnTo>
                <a:lnTo>
                  <a:pt x="6" y="842"/>
                </a:lnTo>
                <a:lnTo>
                  <a:pt x="12" y="804"/>
                </a:lnTo>
                <a:lnTo>
                  <a:pt x="21" y="769"/>
                </a:lnTo>
                <a:lnTo>
                  <a:pt x="32" y="738"/>
                </a:lnTo>
                <a:lnTo>
                  <a:pt x="39" y="721"/>
                </a:lnTo>
                <a:lnTo>
                  <a:pt x="46" y="708"/>
                </a:lnTo>
                <a:lnTo>
                  <a:pt x="54" y="697"/>
                </a:lnTo>
                <a:lnTo>
                  <a:pt x="62" y="686"/>
                </a:lnTo>
                <a:lnTo>
                  <a:pt x="73" y="673"/>
                </a:lnTo>
                <a:lnTo>
                  <a:pt x="88" y="658"/>
                </a:lnTo>
                <a:lnTo>
                  <a:pt x="102" y="645"/>
                </a:lnTo>
                <a:lnTo>
                  <a:pt x="119" y="635"/>
                </a:lnTo>
                <a:lnTo>
                  <a:pt x="139" y="628"/>
                </a:lnTo>
                <a:lnTo>
                  <a:pt x="159" y="625"/>
                </a:lnTo>
                <a:lnTo>
                  <a:pt x="184" y="625"/>
                </a:lnTo>
                <a:lnTo>
                  <a:pt x="212" y="630"/>
                </a:lnTo>
                <a:lnTo>
                  <a:pt x="239" y="639"/>
                </a:lnTo>
                <a:lnTo>
                  <a:pt x="287" y="658"/>
                </a:lnTo>
                <a:lnTo>
                  <a:pt x="312" y="669"/>
                </a:lnTo>
                <a:lnTo>
                  <a:pt x="338" y="681"/>
                </a:lnTo>
                <a:lnTo>
                  <a:pt x="352" y="684"/>
                </a:lnTo>
                <a:lnTo>
                  <a:pt x="365" y="684"/>
                </a:lnTo>
                <a:lnTo>
                  <a:pt x="378" y="679"/>
                </a:lnTo>
                <a:lnTo>
                  <a:pt x="389" y="668"/>
                </a:lnTo>
                <a:lnTo>
                  <a:pt x="399" y="653"/>
                </a:lnTo>
                <a:lnTo>
                  <a:pt x="406" y="634"/>
                </a:lnTo>
                <a:lnTo>
                  <a:pt x="411" y="612"/>
                </a:lnTo>
                <a:lnTo>
                  <a:pt x="415" y="587"/>
                </a:lnTo>
                <a:lnTo>
                  <a:pt x="417" y="562"/>
                </a:lnTo>
                <a:lnTo>
                  <a:pt x="419" y="535"/>
                </a:lnTo>
                <a:lnTo>
                  <a:pt x="419" y="482"/>
                </a:lnTo>
                <a:lnTo>
                  <a:pt x="417" y="456"/>
                </a:lnTo>
                <a:lnTo>
                  <a:pt x="416" y="432"/>
                </a:lnTo>
                <a:lnTo>
                  <a:pt x="415" y="411"/>
                </a:lnTo>
                <a:lnTo>
                  <a:pt x="409" y="359"/>
                </a:lnTo>
                <a:lnTo>
                  <a:pt x="399" y="310"/>
                </a:lnTo>
                <a:lnTo>
                  <a:pt x="387" y="262"/>
                </a:lnTo>
                <a:lnTo>
                  <a:pt x="372" y="217"/>
                </a:lnTo>
                <a:lnTo>
                  <a:pt x="359" y="172"/>
                </a:lnTo>
                <a:lnTo>
                  <a:pt x="346" y="129"/>
                </a:lnTo>
                <a:lnTo>
                  <a:pt x="335" y="85"/>
                </a:lnTo>
                <a:lnTo>
                  <a:pt x="383" y="73"/>
                </a:lnTo>
                <a:lnTo>
                  <a:pt x="434" y="57"/>
                </a:lnTo>
                <a:lnTo>
                  <a:pt x="488" y="40"/>
                </a:lnTo>
                <a:lnTo>
                  <a:pt x="543" y="24"/>
                </a:lnTo>
                <a:lnTo>
                  <a:pt x="600" y="12"/>
                </a:lnTo>
                <a:lnTo>
                  <a:pt x="657" y="5"/>
                </a:lnTo>
                <a:lnTo>
                  <a:pt x="696" y="3"/>
                </a:lnTo>
                <a:lnTo>
                  <a:pt x="736" y="3"/>
                </a:lnTo>
                <a:lnTo>
                  <a:pt x="776" y="5"/>
                </a:lnTo>
                <a:lnTo>
                  <a:pt x="830" y="7"/>
                </a:lnTo>
                <a:lnTo>
                  <a:pt x="857" y="12"/>
                </a:lnTo>
                <a:lnTo>
                  <a:pt x="880" y="20"/>
                </a:lnTo>
                <a:lnTo>
                  <a:pt x="882" y="31"/>
                </a:lnTo>
                <a:lnTo>
                  <a:pt x="880" y="40"/>
                </a:lnTo>
                <a:lnTo>
                  <a:pt x="875" y="50"/>
                </a:lnTo>
                <a:lnTo>
                  <a:pt x="869" y="57"/>
                </a:lnTo>
                <a:lnTo>
                  <a:pt x="864" y="65"/>
                </a:lnTo>
                <a:lnTo>
                  <a:pt x="846" y="115"/>
                </a:lnTo>
                <a:lnTo>
                  <a:pt x="836" y="141"/>
                </a:lnTo>
                <a:lnTo>
                  <a:pt x="829" y="168"/>
                </a:lnTo>
                <a:lnTo>
                  <a:pt x="824" y="194"/>
                </a:lnTo>
                <a:lnTo>
                  <a:pt x="823" y="222"/>
                </a:lnTo>
                <a:lnTo>
                  <a:pt x="826" y="250"/>
                </a:lnTo>
                <a:lnTo>
                  <a:pt x="832" y="269"/>
                </a:lnTo>
                <a:lnTo>
                  <a:pt x="842" y="286"/>
                </a:lnTo>
                <a:lnTo>
                  <a:pt x="864" y="320"/>
                </a:lnTo>
                <a:lnTo>
                  <a:pt x="876" y="332"/>
                </a:lnTo>
                <a:lnTo>
                  <a:pt x="892" y="345"/>
                </a:lnTo>
                <a:lnTo>
                  <a:pt x="910" y="357"/>
                </a:lnTo>
                <a:lnTo>
                  <a:pt x="920" y="364"/>
                </a:lnTo>
                <a:lnTo>
                  <a:pt x="929" y="368"/>
                </a:lnTo>
                <a:lnTo>
                  <a:pt x="940" y="374"/>
                </a:lnTo>
                <a:lnTo>
                  <a:pt x="953" y="381"/>
                </a:lnTo>
                <a:lnTo>
                  <a:pt x="966" y="389"/>
                </a:lnTo>
                <a:lnTo>
                  <a:pt x="980" y="396"/>
                </a:lnTo>
                <a:lnTo>
                  <a:pt x="1002" y="402"/>
                </a:lnTo>
                <a:lnTo>
                  <a:pt x="1026" y="407"/>
                </a:lnTo>
                <a:lnTo>
                  <a:pt x="1049" y="411"/>
                </a:lnTo>
                <a:lnTo>
                  <a:pt x="1098" y="418"/>
                </a:lnTo>
                <a:lnTo>
                  <a:pt x="1148" y="421"/>
                </a:lnTo>
                <a:lnTo>
                  <a:pt x="1196" y="421"/>
                </a:lnTo>
                <a:lnTo>
                  <a:pt x="1244" y="416"/>
                </a:lnTo>
                <a:lnTo>
                  <a:pt x="1289" y="407"/>
                </a:lnTo>
                <a:lnTo>
                  <a:pt x="1330" y="395"/>
                </a:lnTo>
                <a:lnTo>
                  <a:pt x="1369" y="381"/>
                </a:lnTo>
                <a:lnTo>
                  <a:pt x="1402" y="361"/>
                </a:lnTo>
                <a:lnTo>
                  <a:pt x="1423" y="346"/>
                </a:lnTo>
                <a:lnTo>
                  <a:pt x="1440" y="328"/>
                </a:lnTo>
                <a:lnTo>
                  <a:pt x="1454" y="309"/>
                </a:lnTo>
                <a:lnTo>
                  <a:pt x="1466" y="287"/>
                </a:lnTo>
                <a:lnTo>
                  <a:pt x="1475" y="261"/>
                </a:lnTo>
                <a:lnTo>
                  <a:pt x="1479" y="236"/>
                </a:lnTo>
                <a:lnTo>
                  <a:pt x="1476" y="211"/>
                </a:lnTo>
                <a:lnTo>
                  <a:pt x="1469" y="188"/>
                </a:lnTo>
                <a:lnTo>
                  <a:pt x="1459" y="166"/>
                </a:lnTo>
                <a:lnTo>
                  <a:pt x="1448" y="144"/>
                </a:lnTo>
                <a:lnTo>
                  <a:pt x="1437" y="124"/>
                </a:lnTo>
                <a:lnTo>
                  <a:pt x="1429" y="108"/>
                </a:lnTo>
                <a:lnTo>
                  <a:pt x="1419" y="91"/>
                </a:lnTo>
                <a:lnTo>
                  <a:pt x="1410" y="73"/>
                </a:lnTo>
                <a:lnTo>
                  <a:pt x="1403" y="53"/>
                </a:lnTo>
                <a:lnTo>
                  <a:pt x="1400" y="31"/>
                </a:lnTo>
                <a:lnTo>
                  <a:pt x="1398" y="8"/>
                </a:lnTo>
                <a:lnTo>
                  <a:pt x="1403" y="3"/>
                </a:lnTo>
                <a:lnTo>
                  <a:pt x="1407" y="2"/>
                </a:lnTo>
                <a:lnTo>
                  <a:pt x="1409" y="1"/>
                </a:lnTo>
                <a:lnTo>
                  <a:pt x="1493" y="0"/>
                </a:lnTo>
                <a:close/>
              </a:path>
            </a:pathLst>
          </a:custGeom>
          <a:solidFill>
            <a:schemeClr val="accent1"/>
          </a:solidFill>
          <a:ln w="12700">
            <a:solidFill>
              <a:schemeClr val="bg1"/>
            </a:solidFill>
            <a:round/>
            <a:headEnd/>
            <a:tailEnd/>
          </a:ln>
        </p:spPr>
        <p:txBody>
          <a:bodyPr anchor="ctr"/>
          <a:lstStyle/>
          <a:p>
            <a:endParaRPr lang="en-US"/>
          </a:p>
        </p:txBody>
      </p:sp>
      <p:sp>
        <p:nvSpPr>
          <p:cNvPr id="68615" name="Rectangle 7"/>
          <p:cNvSpPr>
            <a:spLocks noChangeArrowheads="1"/>
          </p:cNvSpPr>
          <p:nvPr/>
        </p:nvSpPr>
        <p:spPr bwMode="gray">
          <a:xfrm>
            <a:off x="7861302" y="4157257"/>
            <a:ext cx="966787" cy="965834"/>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rgbClr val="FFFFFF"/>
                </a:solidFill>
              </a:rPr>
              <a:t>Text</a:t>
            </a:r>
          </a:p>
        </p:txBody>
      </p:sp>
      <p:sp>
        <p:nvSpPr>
          <p:cNvPr id="66" name="AutoShape 8"/>
          <p:cNvSpPr>
            <a:spLocks/>
          </p:cNvSpPr>
          <p:nvPr/>
        </p:nvSpPr>
        <p:spPr bwMode="gray">
          <a:xfrm>
            <a:off x="8747127" y="2684691"/>
            <a:ext cx="1730375" cy="1377316"/>
          </a:xfrm>
          <a:custGeom>
            <a:avLst/>
            <a:gdLst>
              <a:gd name="T0" fmla="*/ 1825 w 2318"/>
              <a:gd name="T1" fmla="*/ 43 h 1845"/>
              <a:gd name="T2" fmla="*/ 1959 w 2318"/>
              <a:gd name="T3" fmla="*/ 161 h 1845"/>
              <a:gd name="T4" fmla="*/ 1895 w 2318"/>
              <a:gd name="T5" fmla="*/ 545 h 1845"/>
              <a:gd name="T6" fmla="*/ 1900 w 2318"/>
              <a:gd name="T7" fmla="*/ 685 h 1845"/>
              <a:gd name="T8" fmla="*/ 1984 w 2318"/>
              <a:gd name="T9" fmla="*/ 716 h 1845"/>
              <a:gd name="T10" fmla="*/ 2106 w 2318"/>
              <a:gd name="T11" fmla="*/ 661 h 1845"/>
              <a:gd name="T12" fmla="*/ 2204 w 2318"/>
              <a:gd name="T13" fmla="*/ 648 h 1845"/>
              <a:gd name="T14" fmla="*/ 2282 w 2318"/>
              <a:gd name="T15" fmla="*/ 735 h 1845"/>
              <a:gd name="T16" fmla="*/ 2318 w 2318"/>
              <a:gd name="T17" fmla="*/ 930 h 1845"/>
              <a:gd name="T18" fmla="*/ 2275 w 2318"/>
              <a:gd name="T19" fmla="*/ 1130 h 1845"/>
              <a:gd name="T20" fmla="*/ 2256 w 2318"/>
              <a:gd name="T21" fmla="*/ 1156 h 1845"/>
              <a:gd name="T22" fmla="*/ 2122 w 2318"/>
              <a:gd name="T23" fmla="*/ 1216 h 1845"/>
              <a:gd name="T24" fmla="*/ 1991 w 2318"/>
              <a:gd name="T25" fmla="*/ 1166 h 1845"/>
              <a:gd name="T26" fmla="*/ 1916 w 2318"/>
              <a:gd name="T27" fmla="*/ 1187 h 1845"/>
              <a:gd name="T28" fmla="*/ 1898 w 2318"/>
              <a:gd name="T29" fmla="*/ 1357 h 1845"/>
              <a:gd name="T30" fmla="*/ 1934 w 2318"/>
              <a:gd name="T31" fmla="*/ 1596 h 1845"/>
              <a:gd name="T32" fmla="*/ 1875 w 2318"/>
              <a:gd name="T33" fmla="*/ 1788 h 1845"/>
              <a:gd name="T34" fmla="*/ 1540 w 2318"/>
              <a:gd name="T35" fmla="*/ 1839 h 1845"/>
              <a:gd name="T36" fmla="*/ 1455 w 2318"/>
              <a:gd name="T37" fmla="*/ 1761 h 1845"/>
              <a:gd name="T38" fmla="*/ 1478 w 2318"/>
              <a:gd name="T39" fmla="*/ 1559 h 1845"/>
              <a:gd name="T40" fmla="*/ 1337 w 2318"/>
              <a:gd name="T41" fmla="*/ 1448 h 1845"/>
              <a:gd name="T42" fmla="*/ 1079 w 2318"/>
              <a:gd name="T43" fmla="*/ 1425 h 1845"/>
              <a:gd name="T44" fmla="*/ 886 w 2318"/>
              <a:gd name="T45" fmla="*/ 1503 h 1845"/>
              <a:gd name="T46" fmla="*/ 844 w 2318"/>
              <a:gd name="T47" fmla="*/ 1637 h 1845"/>
              <a:gd name="T48" fmla="*/ 903 w 2318"/>
              <a:gd name="T49" fmla="*/ 1762 h 1845"/>
              <a:gd name="T50" fmla="*/ 821 w 2318"/>
              <a:gd name="T51" fmla="*/ 1844 h 1845"/>
              <a:gd name="T52" fmla="*/ 398 w 2318"/>
              <a:gd name="T53" fmla="*/ 1777 h 1845"/>
              <a:gd name="T54" fmla="*/ 412 w 2318"/>
              <a:gd name="T55" fmla="*/ 1422 h 1845"/>
              <a:gd name="T56" fmla="*/ 420 w 2318"/>
              <a:gd name="T57" fmla="*/ 1186 h 1845"/>
              <a:gd name="T58" fmla="*/ 364 w 2318"/>
              <a:gd name="T59" fmla="*/ 1122 h 1845"/>
              <a:gd name="T60" fmla="*/ 250 w 2318"/>
              <a:gd name="T61" fmla="*/ 1162 h 1845"/>
              <a:gd name="T62" fmla="*/ 148 w 2318"/>
              <a:gd name="T63" fmla="*/ 1206 h 1845"/>
              <a:gd name="T64" fmla="*/ 64 w 2318"/>
              <a:gd name="T65" fmla="*/ 1160 h 1845"/>
              <a:gd name="T66" fmla="*/ 56 w 2318"/>
              <a:gd name="T67" fmla="*/ 1145 h 1845"/>
              <a:gd name="T68" fmla="*/ 21 w 2318"/>
              <a:gd name="T69" fmla="*/ 1076 h 1845"/>
              <a:gd name="T70" fmla="*/ 7 w 2318"/>
              <a:gd name="T71" fmla="*/ 830 h 1845"/>
              <a:gd name="T72" fmla="*/ 78 w 2318"/>
              <a:gd name="T73" fmla="*/ 665 h 1845"/>
              <a:gd name="T74" fmla="*/ 217 w 2318"/>
              <a:gd name="T75" fmla="*/ 634 h 1845"/>
              <a:gd name="T76" fmla="*/ 340 w 2318"/>
              <a:gd name="T77" fmla="*/ 682 h 1845"/>
              <a:gd name="T78" fmla="*/ 407 w 2318"/>
              <a:gd name="T79" fmla="*/ 633 h 1845"/>
              <a:gd name="T80" fmla="*/ 415 w 2318"/>
              <a:gd name="T81" fmla="*/ 458 h 1845"/>
              <a:gd name="T82" fmla="*/ 357 w 2318"/>
              <a:gd name="T83" fmla="*/ 169 h 1845"/>
              <a:gd name="T84" fmla="*/ 536 w 2318"/>
              <a:gd name="T85" fmla="*/ 28 h 1845"/>
              <a:gd name="T86" fmla="*/ 816 w 2318"/>
              <a:gd name="T87" fmla="*/ 7 h 1845"/>
              <a:gd name="T88" fmla="*/ 868 w 2318"/>
              <a:gd name="T89" fmla="*/ 61 h 1845"/>
              <a:gd name="T90" fmla="*/ 821 w 2318"/>
              <a:gd name="T91" fmla="*/ 220 h 1845"/>
              <a:gd name="T92" fmla="*/ 878 w 2318"/>
              <a:gd name="T93" fmla="*/ 338 h 1845"/>
              <a:gd name="T94" fmla="*/ 894 w 2318"/>
              <a:gd name="T95" fmla="*/ 347 h 1845"/>
              <a:gd name="T96" fmla="*/ 908 w 2318"/>
              <a:gd name="T97" fmla="*/ 358 h 1845"/>
              <a:gd name="T98" fmla="*/ 935 w 2318"/>
              <a:gd name="T99" fmla="*/ 376 h 1845"/>
              <a:gd name="T100" fmla="*/ 1180 w 2318"/>
              <a:gd name="T101" fmla="*/ 421 h 1845"/>
              <a:gd name="T102" fmla="*/ 1377 w 2318"/>
              <a:gd name="T103" fmla="*/ 381 h 1845"/>
              <a:gd name="T104" fmla="*/ 1441 w 2318"/>
              <a:gd name="T105" fmla="*/ 326 h 1845"/>
              <a:gd name="T106" fmla="*/ 1477 w 2318"/>
              <a:gd name="T107" fmla="*/ 218 h 1845"/>
              <a:gd name="T108" fmla="*/ 1436 w 2318"/>
              <a:gd name="T109" fmla="*/ 122 h 1845"/>
              <a:gd name="T110" fmla="*/ 1417 w 2318"/>
              <a:gd name="T111" fmla="*/ 87 h 18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18"/>
              <a:gd name="T169" fmla="*/ 0 h 1845"/>
              <a:gd name="T170" fmla="*/ 2318 w 2318"/>
              <a:gd name="T171" fmla="*/ 1845 h 18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18" h="1845">
                <a:moveTo>
                  <a:pt x="1478" y="0"/>
                </a:moveTo>
                <a:lnTo>
                  <a:pt x="1553" y="1"/>
                </a:lnTo>
                <a:lnTo>
                  <a:pt x="1626" y="6"/>
                </a:lnTo>
                <a:lnTo>
                  <a:pt x="1696" y="16"/>
                </a:lnTo>
                <a:lnTo>
                  <a:pt x="1763" y="28"/>
                </a:lnTo>
                <a:lnTo>
                  <a:pt x="1825" y="43"/>
                </a:lnTo>
                <a:lnTo>
                  <a:pt x="1883" y="57"/>
                </a:lnTo>
                <a:lnTo>
                  <a:pt x="1910" y="65"/>
                </a:lnTo>
                <a:lnTo>
                  <a:pt x="1935" y="71"/>
                </a:lnTo>
                <a:lnTo>
                  <a:pt x="1959" y="78"/>
                </a:lnTo>
                <a:lnTo>
                  <a:pt x="1979" y="89"/>
                </a:lnTo>
                <a:lnTo>
                  <a:pt x="1959" y="161"/>
                </a:lnTo>
                <a:lnTo>
                  <a:pt x="1939" y="230"/>
                </a:lnTo>
                <a:lnTo>
                  <a:pt x="1922" y="300"/>
                </a:lnTo>
                <a:lnTo>
                  <a:pt x="1911" y="358"/>
                </a:lnTo>
                <a:lnTo>
                  <a:pt x="1904" y="418"/>
                </a:lnTo>
                <a:lnTo>
                  <a:pt x="1898" y="480"/>
                </a:lnTo>
                <a:lnTo>
                  <a:pt x="1895" y="545"/>
                </a:lnTo>
                <a:lnTo>
                  <a:pt x="1894" y="569"/>
                </a:lnTo>
                <a:lnTo>
                  <a:pt x="1894" y="593"/>
                </a:lnTo>
                <a:lnTo>
                  <a:pt x="1893" y="618"/>
                </a:lnTo>
                <a:lnTo>
                  <a:pt x="1894" y="643"/>
                </a:lnTo>
                <a:lnTo>
                  <a:pt x="1896" y="666"/>
                </a:lnTo>
                <a:lnTo>
                  <a:pt x="1900" y="685"/>
                </a:lnTo>
                <a:lnTo>
                  <a:pt x="1906" y="701"/>
                </a:lnTo>
                <a:lnTo>
                  <a:pt x="1915" y="711"/>
                </a:lnTo>
                <a:lnTo>
                  <a:pt x="1931" y="718"/>
                </a:lnTo>
                <a:lnTo>
                  <a:pt x="1948" y="722"/>
                </a:lnTo>
                <a:lnTo>
                  <a:pt x="1966" y="721"/>
                </a:lnTo>
                <a:lnTo>
                  <a:pt x="1984" y="716"/>
                </a:lnTo>
                <a:lnTo>
                  <a:pt x="2002" y="710"/>
                </a:lnTo>
                <a:lnTo>
                  <a:pt x="2019" y="702"/>
                </a:lnTo>
                <a:lnTo>
                  <a:pt x="2035" y="695"/>
                </a:lnTo>
                <a:lnTo>
                  <a:pt x="2049" y="688"/>
                </a:lnTo>
                <a:lnTo>
                  <a:pt x="2078" y="674"/>
                </a:lnTo>
                <a:lnTo>
                  <a:pt x="2106" y="661"/>
                </a:lnTo>
                <a:lnTo>
                  <a:pt x="2123" y="652"/>
                </a:lnTo>
                <a:lnTo>
                  <a:pt x="2140" y="645"/>
                </a:lnTo>
                <a:lnTo>
                  <a:pt x="2156" y="639"/>
                </a:lnTo>
                <a:lnTo>
                  <a:pt x="2172" y="638"/>
                </a:lnTo>
                <a:lnTo>
                  <a:pt x="2187" y="640"/>
                </a:lnTo>
                <a:lnTo>
                  <a:pt x="2204" y="648"/>
                </a:lnTo>
                <a:lnTo>
                  <a:pt x="2221" y="657"/>
                </a:lnTo>
                <a:lnTo>
                  <a:pt x="2237" y="668"/>
                </a:lnTo>
                <a:lnTo>
                  <a:pt x="2248" y="680"/>
                </a:lnTo>
                <a:lnTo>
                  <a:pt x="2259" y="694"/>
                </a:lnTo>
                <a:lnTo>
                  <a:pt x="2268" y="707"/>
                </a:lnTo>
                <a:lnTo>
                  <a:pt x="2282" y="735"/>
                </a:lnTo>
                <a:lnTo>
                  <a:pt x="2294" y="767"/>
                </a:lnTo>
                <a:lnTo>
                  <a:pt x="2304" y="802"/>
                </a:lnTo>
                <a:lnTo>
                  <a:pt x="2310" y="839"/>
                </a:lnTo>
                <a:lnTo>
                  <a:pt x="2315" y="875"/>
                </a:lnTo>
                <a:lnTo>
                  <a:pt x="2318" y="910"/>
                </a:lnTo>
                <a:lnTo>
                  <a:pt x="2318" y="930"/>
                </a:lnTo>
                <a:lnTo>
                  <a:pt x="2314" y="965"/>
                </a:lnTo>
                <a:lnTo>
                  <a:pt x="2309" y="1003"/>
                </a:lnTo>
                <a:lnTo>
                  <a:pt x="2302" y="1041"/>
                </a:lnTo>
                <a:lnTo>
                  <a:pt x="2296" y="1072"/>
                </a:lnTo>
                <a:lnTo>
                  <a:pt x="2286" y="1103"/>
                </a:lnTo>
                <a:lnTo>
                  <a:pt x="2275" y="1130"/>
                </a:lnTo>
                <a:lnTo>
                  <a:pt x="2274" y="1132"/>
                </a:lnTo>
                <a:lnTo>
                  <a:pt x="2271" y="1133"/>
                </a:lnTo>
                <a:lnTo>
                  <a:pt x="2264" y="1140"/>
                </a:lnTo>
                <a:lnTo>
                  <a:pt x="2262" y="1144"/>
                </a:lnTo>
                <a:lnTo>
                  <a:pt x="2260" y="1149"/>
                </a:lnTo>
                <a:lnTo>
                  <a:pt x="2256" y="1156"/>
                </a:lnTo>
                <a:lnTo>
                  <a:pt x="2238" y="1176"/>
                </a:lnTo>
                <a:lnTo>
                  <a:pt x="2217" y="1194"/>
                </a:lnTo>
                <a:lnTo>
                  <a:pt x="2193" y="1209"/>
                </a:lnTo>
                <a:lnTo>
                  <a:pt x="2168" y="1217"/>
                </a:lnTo>
                <a:lnTo>
                  <a:pt x="2145" y="1218"/>
                </a:lnTo>
                <a:lnTo>
                  <a:pt x="2122" y="1216"/>
                </a:lnTo>
                <a:lnTo>
                  <a:pt x="2097" y="1210"/>
                </a:lnTo>
                <a:lnTo>
                  <a:pt x="2074" y="1203"/>
                </a:lnTo>
                <a:lnTo>
                  <a:pt x="2052" y="1194"/>
                </a:lnTo>
                <a:lnTo>
                  <a:pt x="2038" y="1188"/>
                </a:lnTo>
                <a:lnTo>
                  <a:pt x="2023" y="1181"/>
                </a:lnTo>
                <a:lnTo>
                  <a:pt x="1991" y="1166"/>
                </a:lnTo>
                <a:lnTo>
                  <a:pt x="1976" y="1161"/>
                </a:lnTo>
                <a:lnTo>
                  <a:pt x="1960" y="1159"/>
                </a:lnTo>
                <a:lnTo>
                  <a:pt x="1946" y="1160"/>
                </a:lnTo>
                <a:lnTo>
                  <a:pt x="1933" y="1165"/>
                </a:lnTo>
                <a:lnTo>
                  <a:pt x="1922" y="1176"/>
                </a:lnTo>
                <a:lnTo>
                  <a:pt x="1916" y="1187"/>
                </a:lnTo>
                <a:lnTo>
                  <a:pt x="1912" y="1198"/>
                </a:lnTo>
                <a:lnTo>
                  <a:pt x="1910" y="1210"/>
                </a:lnTo>
                <a:lnTo>
                  <a:pt x="1903" y="1243"/>
                </a:lnTo>
                <a:lnTo>
                  <a:pt x="1899" y="1279"/>
                </a:lnTo>
                <a:lnTo>
                  <a:pt x="1898" y="1318"/>
                </a:lnTo>
                <a:lnTo>
                  <a:pt x="1898" y="1357"/>
                </a:lnTo>
                <a:lnTo>
                  <a:pt x="1900" y="1396"/>
                </a:lnTo>
                <a:lnTo>
                  <a:pt x="1903" y="1431"/>
                </a:lnTo>
                <a:lnTo>
                  <a:pt x="1906" y="1463"/>
                </a:lnTo>
                <a:lnTo>
                  <a:pt x="1914" y="1510"/>
                </a:lnTo>
                <a:lnTo>
                  <a:pt x="1923" y="1554"/>
                </a:lnTo>
                <a:lnTo>
                  <a:pt x="1934" y="1596"/>
                </a:lnTo>
                <a:lnTo>
                  <a:pt x="1946" y="1636"/>
                </a:lnTo>
                <a:lnTo>
                  <a:pt x="1959" y="1675"/>
                </a:lnTo>
                <a:lnTo>
                  <a:pt x="1970" y="1714"/>
                </a:lnTo>
                <a:lnTo>
                  <a:pt x="1979" y="1755"/>
                </a:lnTo>
                <a:lnTo>
                  <a:pt x="1928" y="1771"/>
                </a:lnTo>
                <a:lnTo>
                  <a:pt x="1875" y="1788"/>
                </a:lnTo>
                <a:lnTo>
                  <a:pt x="1820" y="1804"/>
                </a:lnTo>
                <a:lnTo>
                  <a:pt x="1761" y="1818"/>
                </a:lnTo>
                <a:lnTo>
                  <a:pt x="1702" y="1829"/>
                </a:lnTo>
                <a:lnTo>
                  <a:pt x="1638" y="1838"/>
                </a:lnTo>
                <a:lnTo>
                  <a:pt x="1573" y="1840"/>
                </a:lnTo>
                <a:lnTo>
                  <a:pt x="1540" y="1839"/>
                </a:lnTo>
                <a:lnTo>
                  <a:pt x="1508" y="1837"/>
                </a:lnTo>
                <a:lnTo>
                  <a:pt x="1479" y="1833"/>
                </a:lnTo>
                <a:lnTo>
                  <a:pt x="1452" y="1827"/>
                </a:lnTo>
                <a:lnTo>
                  <a:pt x="1430" y="1817"/>
                </a:lnTo>
                <a:lnTo>
                  <a:pt x="1441" y="1789"/>
                </a:lnTo>
                <a:lnTo>
                  <a:pt x="1455" y="1761"/>
                </a:lnTo>
                <a:lnTo>
                  <a:pt x="1479" y="1705"/>
                </a:lnTo>
                <a:lnTo>
                  <a:pt x="1488" y="1676"/>
                </a:lnTo>
                <a:lnTo>
                  <a:pt x="1492" y="1646"/>
                </a:lnTo>
                <a:lnTo>
                  <a:pt x="1494" y="1615"/>
                </a:lnTo>
                <a:lnTo>
                  <a:pt x="1488" y="1582"/>
                </a:lnTo>
                <a:lnTo>
                  <a:pt x="1478" y="1559"/>
                </a:lnTo>
                <a:lnTo>
                  <a:pt x="1464" y="1536"/>
                </a:lnTo>
                <a:lnTo>
                  <a:pt x="1446" y="1515"/>
                </a:lnTo>
                <a:lnTo>
                  <a:pt x="1427" y="1497"/>
                </a:lnTo>
                <a:lnTo>
                  <a:pt x="1407" y="1482"/>
                </a:lnTo>
                <a:lnTo>
                  <a:pt x="1374" y="1463"/>
                </a:lnTo>
                <a:lnTo>
                  <a:pt x="1337" y="1448"/>
                </a:lnTo>
                <a:lnTo>
                  <a:pt x="1295" y="1436"/>
                </a:lnTo>
                <a:lnTo>
                  <a:pt x="1252" y="1428"/>
                </a:lnTo>
                <a:lnTo>
                  <a:pt x="1206" y="1423"/>
                </a:lnTo>
                <a:lnTo>
                  <a:pt x="1161" y="1422"/>
                </a:lnTo>
                <a:lnTo>
                  <a:pt x="1120" y="1423"/>
                </a:lnTo>
                <a:lnTo>
                  <a:pt x="1079" y="1425"/>
                </a:lnTo>
                <a:lnTo>
                  <a:pt x="1041" y="1431"/>
                </a:lnTo>
                <a:lnTo>
                  <a:pt x="1004" y="1440"/>
                </a:lnTo>
                <a:lnTo>
                  <a:pt x="970" y="1452"/>
                </a:lnTo>
                <a:lnTo>
                  <a:pt x="939" y="1465"/>
                </a:lnTo>
                <a:lnTo>
                  <a:pt x="911" y="1482"/>
                </a:lnTo>
                <a:lnTo>
                  <a:pt x="886" y="1503"/>
                </a:lnTo>
                <a:lnTo>
                  <a:pt x="866" y="1526"/>
                </a:lnTo>
                <a:lnTo>
                  <a:pt x="850" y="1552"/>
                </a:lnTo>
                <a:lnTo>
                  <a:pt x="846" y="1563"/>
                </a:lnTo>
                <a:lnTo>
                  <a:pt x="840" y="1588"/>
                </a:lnTo>
                <a:lnTo>
                  <a:pt x="839" y="1614"/>
                </a:lnTo>
                <a:lnTo>
                  <a:pt x="844" y="1637"/>
                </a:lnTo>
                <a:lnTo>
                  <a:pt x="850" y="1659"/>
                </a:lnTo>
                <a:lnTo>
                  <a:pt x="858" y="1678"/>
                </a:lnTo>
                <a:lnTo>
                  <a:pt x="869" y="1699"/>
                </a:lnTo>
                <a:lnTo>
                  <a:pt x="882" y="1720"/>
                </a:lnTo>
                <a:lnTo>
                  <a:pt x="892" y="1740"/>
                </a:lnTo>
                <a:lnTo>
                  <a:pt x="903" y="1762"/>
                </a:lnTo>
                <a:lnTo>
                  <a:pt x="911" y="1784"/>
                </a:lnTo>
                <a:lnTo>
                  <a:pt x="916" y="1809"/>
                </a:lnTo>
                <a:lnTo>
                  <a:pt x="916" y="1835"/>
                </a:lnTo>
                <a:lnTo>
                  <a:pt x="884" y="1843"/>
                </a:lnTo>
                <a:lnTo>
                  <a:pt x="854" y="1845"/>
                </a:lnTo>
                <a:lnTo>
                  <a:pt x="821" y="1844"/>
                </a:lnTo>
                <a:lnTo>
                  <a:pt x="790" y="1843"/>
                </a:lnTo>
                <a:lnTo>
                  <a:pt x="680" y="1834"/>
                </a:lnTo>
                <a:lnTo>
                  <a:pt x="605" y="1824"/>
                </a:lnTo>
                <a:lnTo>
                  <a:pt x="532" y="1811"/>
                </a:lnTo>
                <a:lnTo>
                  <a:pt x="464" y="1795"/>
                </a:lnTo>
                <a:lnTo>
                  <a:pt x="398" y="1777"/>
                </a:lnTo>
                <a:lnTo>
                  <a:pt x="336" y="1755"/>
                </a:lnTo>
                <a:lnTo>
                  <a:pt x="357" y="1683"/>
                </a:lnTo>
                <a:lnTo>
                  <a:pt x="376" y="1611"/>
                </a:lnTo>
                <a:lnTo>
                  <a:pt x="394" y="1540"/>
                </a:lnTo>
                <a:lnTo>
                  <a:pt x="404" y="1482"/>
                </a:lnTo>
                <a:lnTo>
                  <a:pt x="412" y="1422"/>
                </a:lnTo>
                <a:lnTo>
                  <a:pt x="418" y="1358"/>
                </a:lnTo>
                <a:lnTo>
                  <a:pt x="420" y="1290"/>
                </a:lnTo>
                <a:lnTo>
                  <a:pt x="420" y="1271"/>
                </a:lnTo>
                <a:lnTo>
                  <a:pt x="422" y="1250"/>
                </a:lnTo>
                <a:lnTo>
                  <a:pt x="422" y="1206"/>
                </a:lnTo>
                <a:lnTo>
                  <a:pt x="420" y="1186"/>
                </a:lnTo>
                <a:lnTo>
                  <a:pt x="418" y="1167"/>
                </a:lnTo>
                <a:lnTo>
                  <a:pt x="413" y="1150"/>
                </a:lnTo>
                <a:lnTo>
                  <a:pt x="407" y="1138"/>
                </a:lnTo>
                <a:lnTo>
                  <a:pt x="397" y="1130"/>
                </a:lnTo>
                <a:lnTo>
                  <a:pt x="381" y="1123"/>
                </a:lnTo>
                <a:lnTo>
                  <a:pt x="364" y="1122"/>
                </a:lnTo>
                <a:lnTo>
                  <a:pt x="346" y="1125"/>
                </a:lnTo>
                <a:lnTo>
                  <a:pt x="328" y="1130"/>
                </a:lnTo>
                <a:lnTo>
                  <a:pt x="307" y="1134"/>
                </a:lnTo>
                <a:lnTo>
                  <a:pt x="288" y="1143"/>
                </a:lnTo>
                <a:lnTo>
                  <a:pt x="267" y="1153"/>
                </a:lnTo>
                <a:lnTo>
                  <a:pt x="250" y="1162"/>
                </a:lnTo>
                <a:lnTo>
                  <a:pt x="232" y="1173"/>
                </a:lnTo>
                <a:lnTo>
                  <a:pt x="213" y="1183"/>
                </a:lnTo>
                <a:lnTo>
                  <a:pt x="196" y="1192"/>
                </a:lnTo>
                <a:lnTo>
                  <a:pt x="178" y="1199"/>
                </a:lnTo>
                <a:lnTo>
                  <a:pt x="161" y="1204"/>
                </a:lnTo>
                <a:lnTo>
                  <a:pt x="148" y="1206"/>
                </a:lnTo>
                <a:lnTo>
                  <a:pt x="133" y="1204"/>
                </a:lnTo>
                <a:lnTo>
                  <a:pt x="117" y="1198"/>
                </a:lnTo>
                <a:lnTo>
                  <a:pt x="100" y="1188"/>
                </a:lnTo>
                <a:lnTo>
                  <a:pt x="86" y="1178"/>
                </a:lnTo>
                <a:lnTo>
                  <a:pt x="72" y="1168"/>
                </a:lnTo>
                <a:lnTo>
                  <a:pt x="64" y="1160"/>
                </a:lnTo>
                <a:lnTo>
                  <a:pt x="63" y="1158"/>
                </a:lnTo>
                <a:lnTo>
                  <a:pt x="61" y="1156"/>
                </a:lnTo>
                <a:lnTo>
                  <a:pt x="61" y="1153"/>
                </a:lnTo>
                <a:lnTo>
                  <a:pt x="60" y="1151"/>
                </a:lnTo>
                <a:lnTo>
                  <a:pt x="59" y="1149"/>
                </a:lnTo>
                <a:lnTo>
                  <a:pt x="56" y="1145"/>
                </a:lnTo>
                <a:lnTo>
                  <a:pt x="53" y="1143"/>
                </a:lnTo>
                <a:lnTo>
                  <a:pt x="50" y="1140"/>
                </a:lnTo>
                <a:lnTo>
                  <a:pt x="48" y="1137"/>
                </a:lnTo>
                <a:lnTo>
                  <a:pt x="37" y="1119"/>
                </a:lnTo>
                <a:lnTo>
                  <a:pt x="28" y="1099"/>
                </a:lnTo>
                <a:lnTo>
                  <a:pt x="21" y="1076"/>
                </a:lnTo>
                <a:lnTo>
                  <a:pt x="11" y="1038"/>
                </a:lnTo>
                <a:lnTo>
                  <a:pt x="4" y="997"/>
                </a:lnTo>
                <a:lnTo>
                  <a:pt x="0" y="955"/>
                </a:lnTo>
                <a:lnTo>
                  <a:pt x="0" y="913"/>
                </a:lnTo>
                <a:lnTo>
                  <a:pt x="2" y="870"/>
                </a:lnTo>
                <a:lnTo>
                  <a:pt x="7" y="830"/>
                </a:lnTo>
                <a:lnTo>
                  <a:pt x="15" y="791"/>
                </a:lnTo>
                <a:lnTo>
                  <a:pt x="26" y="755"/>
                </a:lnTo>
                <a:lnTo>
                  <a:pt x="39" y="723"/>
                </a:lnTo>
                <a:lnTo>
                  <a:pt x="55" y="695"/>
                </a:lnTo>
                <a:lnTo>
                  <a:pt x="66" y="679"/>
                </a:lnTo>
                <a:lnTo>
                  <a:pt x="78" y="665"/>
                </a:lnTo>
                <a:lnTo>
                  <a:pt x="91" y="654"/>
                </a:lnTo>
                <a:lnTo>
                  <a:pt x="114" y="638"/>
                </a:lnTo>
                <a:lnTo>
                  <a:pt x="138" y="629"/>
                </a:lnTo>
                <a:lnTo>
                  <a:pt x="162" y="626"/>
                </a:lnTo>
                <a:lnTo>
                  <a:pt x="189" y="628"/>
                </a:lnTo>
                <a:lnTo>
                  <a:pt x="217" y="634"/>
                </a:lnTo>
                <a:lnTo>
                  <a:pt x="245" y="643"/>
                </a:lnTo>
                <a:lnTo>
                  <a:pt x="269" y="651"/>
                </a:lnTo>
                <a:lnTo>
                  <a:pt x="294" y="661"/>
                </a:lnTo>
                <a:lnTo>
                  <a:pt x="308" y="668"/>
                </a:lnTo>
                <a:lnTo>
                  <a:pt x="324" y="676"/>
                </a:lnTo>
                <a:lnTo>
                  <a:pt x="340" y="682"/>
                </a:lnTo>
                <a:lnTo>
                  <a:pt x="356" y="685"/>
                </a:lnTo>
                <a:lnTo>
                  <a:pt x="370" y="684"/>
                </a:lnTo>
                <a:lnTo>
                  <a:pt x="383" y="678"/>
                </a:lnTo>
                <a:lnTo>
                  <a:pt x="392" y="666"/>
                </a:lnTo>
                <a:lnTo>
                  <a:pt x="401" y="651"/>
                </a:lnTo>
                <a:lnTo>
                  <a:pt x="407" y="633"/>
                </a:lnTo>
                <a:lnTo>
                  <a:pt x="411" y="614"/>
                </a:lnTo>
                <a:lnTo>
                  <a:pt x="413" y="592"/>
                </a:lnTo>
                <a:lnTo>
                  <a:pt x="415" y="571"/>
                </a:lnTo>
                <a:lnTo>
                  <a:pt x="417" y="549"/>
                </a:lnTo>
                <a:lnTo>
                  <a:pt x="417" y="503"/>
                </a:lnTo>
                <a:lnTo>
                  <a:pt x="415" y="458"/>
                </a:lnTo>
                <a:lnTo>
                  <a:pt x="413" y="415"/>
                </a:lnTo>
                <a:lnTo>
                  <a:pt x="409" y="376"/>
                </a:lnTo>
                <a:lnTo>
                  <a:pt x="402" y="330"/>
                </a:lnTo>
                <a:lnTo>
                  <a:pt x="392" y="287"/>
                </a:lnTo>
                <a:lnTo>
                  <a:pt x="381" y="247"/>
                </a:lnTo>
                <a:lnTo>
                  <a:pt x="357" y="169"/>
                </a:lnTo>
                <a:lnTo>
                  <a:pt x="346" y="128"/>
                </a:lnTo>
                <a:lnTo>
                  <a:pt x="336" y="85"/>
                </a:lnTo>
                <a:lnTo>
                  <a:pt x="384" y="73"/>
                </a:lnTo>
                <a:lnTo>
                  <a:pt x="432" y="59"/>
                </a:lnTo>
                <a:lnTo>
                  <a:pt x="484" y="43"/>
                </a:lnTo>
                <a:lnTo>
                  <a:pt x="536" y="28"/>
                </a:lnTo>
                <a:lnTo>
                  <a:pt x="589" y="16"/>
                </a:lnTo>
                <a:lnTo>
                  <a:pt x="632" y="10"/>
                </a:lnTo>
                <a:lnTo>
                  <a:pt x="678" y="5"/>
                </a:lnTo>
                <a:lnTo>
                  <a:pt x="726" y="4"/>
                </a:lnTo>
                <a:lnTo>
                  <a:pt x="772" y="5"/>
                </a:lnTo>
                <a:lnTo>
                  <a:pt x="816" y="7"/>
                </a:lnTo>
                <a:lnTo>
                  <a:pt x="829" y="9"/>
                </a:lnTo>
                <a:lnTo>
                  <a:pt x="845" y="10"/>
                </a:lnTo>
                <a:lnTo>
                  <a:pt x="858" y="12"/>
                </a:lnTo>
                <a:lnTo>
                  <a:pt x="872" y="17"/>
                </a:lnTo>
                <a:lnTo>
                  <a:pt x="882" y="27"/>
                </a:lnTo>
                <a:lnTo>
                  <a:pt x="868" y="61"/>
                </a:lnTo>
                <a:lnTo>
                  <a:pt x="856" y="94"/>
                </a:lnTo>
                <a:lnTo>
                  <a:pt x="843" y="127"/>
                </a:lnTo>
                <a:lnTo>
                  <a:pt x="835" y="147"/>
                </a:lnTo>
                <a:lnTo>
                  <a:pt x="828" y="171"/>
                </a:lnTo>
                <a:lnTo>
                  <a:pt x="823" y="195"/>
                </a:lnTo>
                <a:lnTo>
                  <a:pt x="821" y="220"/>
                </a:lnTo>
                <a:lnTo>
                  <a:pt x="823" y="250"/>
                </a:lnTo>
                <a:lnTo>
                  <a:pt x="830" y="265"/>
                </a:lnTo>
                <a:lnTo>
                  <a:pt x="839" y="280"/>
                </a:lnTo>
                <a:lnTo>
                  <a:pt x="851" y="302"/>
                </a:lnTo>
                <a:lnTo>
                  <a:pt x="863" y="323"/>
                </a:lnTo>
                <a:lnTo>
                  <a:pt x="878" y="338"/>
                </a:lnTo>
                <a:lnTo>
                  <a:pt x="880" y="340"/>
                </a:lnTo>
                <a:lnTo>
                  <a:pt x="884" y="342"/>
                </a:lnTo>
                <a:lnTo>
                  <a:pt x="886" y="342"/>
                </a:lnTo>
                <a:lnTo>
                  <a:pt x="890" y="345"/>
                </a:lnTo>
                <a:lnTo>
                  <a:pt x="892" y="346"/>
                </a:lnTo>
                <a:lnTo>
                  <a:pt x="894" y="347"/>
                </a:lnTo>
                <a:lnTo>
                  <a:pt x="895" y="349"/>
                </a:lnTo>
                <a:lnTo>
                  <a:pt x="895" y="352"/>
                </a:lnTo>
                <a:lnTo>
                  <a:pt x="896" y="353"/>
                </a:lnTo>
                <a:lnTo>
                  <a:pt x="901" y="356"/>
                </a:lnTo>
                <a:lnTo>
                  <a:pt x="903" y="356"/>
                </a:lnTo>
                <a:lnTo>
                  <a:pt x="908" y="358"/>
                </a:lnTo>
                <a:lnTo>
                  <a:pt x="911" y="360"/>
                </a:lnTo>
                <a:lnTo>
                  <a:pt x="914" y="363"/>
                </a:lnTo>
                <a:lnTo>
                  <a:pt x="917" y="366"/>
                </a:lnTo>
                <a:lnTo>
                  <a:pt x="919" y="369"/>
                </a:lnTo>
                <a:lnTo>
                  <a:pt x="928" y="373"/>
                </a:lnTo>
                <a:lnTo>
                  <a:pt x="935" y="376"/>
                </a:lnTo>
                <a:lnTo>
                  <a:pt x="969" y="392"/>
                </a:lnTo>
                <a:lnTo>
                  <a:pt x="1007" y="404"/>
                </a:lnTo>
                <a:lnTo>
                  <a:pt x="1048" y="413"/>
                </a:lnTo>
                <a:lnTo>
                  <a:pt x="1091" y="419"/>
                </a:lnTo>
                <a:lnTo>
                  <a:pt x="1136" y="421"/>
                </a:lnTo>
                <a:lnTo>
                  <a:pt x="1180" y="421"/>
                </a:lnTo>
                <a:lnTo>
                  <a:pt x="1224" y="418"/>
                </a:lnTo>
                <a:lnTo>
                  <a:pt x="1265" y="412"/>
                </a:lnTo>
                <a:lnTo>
                  <a:pt x="1304" y="403"/>
                </a:lnTo>
                <a:lnTo>
                  <a:pt x="1329" y="397"/>
                </a:lnTo>
                <a:lnTo>
                  <a:pt x="1355" y="390"/>
                </a:lnTo>
                <a:lnTo>
                  <a:pt x="1377" y="381"/>
                </a:lnTo>
                <a:lnTo>
                  <a:pt x="1388" y="374"/>
                </a:lnTo>
                <a:lnTo>
                  <a:pt x="1400" y="365"/>
                </a:lnTo>
                <a:lnTo>
                  <a:pt x="1413" y="356"/>
                </a:lnTo>
                <a:lnTo>
                  <a:pt x="1426" y="345"/>
                </a:lnTo>
                <a:lnTo>
                  <a:pt x="1435" y="335"/>
                </a:lnTo>
                <a:lnTo>
                  <a:pt x="1441" y="326"/>
                </a:lnTo>
                <a:lnTo>
                  <a:pt x="1452" y="311"/>
                </a:lnTo>
                <a:lnTo>
                  <a:pt x="1463" y="292"/>
                </a:lnTo>
                <a:lnTo>
                  <a:pt x="1472" y="273"/>
                </a:lnTo>
                <a:lnTo>
                  <a:pt x="1477" y="253"/>
                </a:lnTo>
                <a:lnTo>
                  <a:pt x="1478" y="234"/>
                </a:lnTo>
                <a:lnTo>
                  <a:pt x="1477" y="218"/>
                </a:lnTo>
                <a:lnTo>
                  <a:pt x="1473" y="206"/>
                </a:lnTo>
                <a:lnTo>
                  <a:pt x="1463" y="182"/>
                </a:lnTo>
                <a:lnTo>
                  <a:pt x="1457" y="169"/>
                </a:lnTo>
                <a:lnTo>
                  <a:pt x="1451" y="154"/>
                </a:lnTo>
                <a:lnTo>
                  <a:pt x="1444" y="136"/>
                </a:lnTo>
                <a:lnTo>
                  <a:pt x="1436" y="122"/>
                </a:lnTo>
                <a:lnTo>
                  <a:pt x="1430" y="112"/>
                </a:lnTo>
                <a:lnTo>
                  <a:pt x="1429" y="111"/>
                </a:lnTo>
                <a:lnTo>
                  <a:pt x="1428" y="108"/>
                </a:lnTo>
                <a:lnTo>
                  <a:pt x="1428" y="106"/>
                </a:lnTo>
                <a:lnTo>
                  <a:pt x="1427" y="104"/>
                </a:lnTo>
                <a:lnTo>
                  <a:pt x="1417" y="87"/>
                </a:lnTo>
                <a:lnTo>
                  <a:pt x="1407" y="68"/>
                </a:lnTo>
                <a:lnTo>
                  <a:pt x="1401" y="48"/>
                </a:lnTo>
                <a:lnTo>
                  <a:pt x="1398" y="27"/>
                </a:lnTo>
                <a:lnTo>
                  <a:pt x="1400" y="4"/>
                </a:lnTo>
                <a:lnTo>
                  <a:pt x="1478" y="0"/>
                </a:lnTo>
                <a:close/>
              </a:path>
            </a:pathLst>
          </a:custGeom>
          <a:solidFill>
            <a:schemeClr val="tx2"/>
          </a:solidFill>
          <a:ln w="12700">
            <a:solidFill>
              <a:schemeClr val="bg1"/>
            </a:solidFill>
            <a:round/>
            <a:headEnd/>
            <a:tailEnd/>
          </a:ln>
        </p:spPr>
        <p:txBody>
          <a:bodyPr anchor="ctr"/>
          <a:lstStyle/>
          <a:p>
            <a:endParaRPr lang="en-US">
              <a:solidFill>
                <a:schemeClr val="tx2"/>
              </a:solidFill>
            </a:endParaRPr>
          </a:p>
        </p:txBody>
      </p:sp>
      <p:sp>
        <p:nvSpPr>
          <p:cNvPr id="68617" name="Rectangle 9"/>
          <p:cNvSpPr>
            <a:spLocks noChangeArrowheads="1"/>
          </p:cNvSpPr>
          <p:nvPr/>
        </p:nvSpPr>
        <p:spPr bwMode="gray">
          <a:xfrm>
            <a:off x="9129712" y="2886621"/>
            <a:ext cx="966788" cy="965836"/>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chemeClr val="bg1"/>
                </a:solidFill>
              </a:rPr>
              <a:t>Text</a:t>
            </a:r>
          </a:p>
        </p:txBody>
      </p:sp>
      <p:sp>
        <p:nvSpPr>
          <p:cNvPr id="69" name="AutoShape 10"/>
          <p:cNvSpPr>
            <a:spLocks/>
          </p:cNvSpPr>
          <p:nvPr/>
        </p:nvSpPr>
        <p:spPr bwMode="gray">
          <a:xfrm>
            <a:off x="7658102" y="2505621"/>
            <a:ext cx="1374775" cy="1731646"/>
          </a:xfrm>
          <a:custGeom>
            <a:avLst/>
            <a:gdLst>
              <a:gd name="T0" fmla="*/ 1089 w 1843"/>
              <a:gd name="T1" fmla="*/ 28 h 2318"/>
              <a:gd name="T2" fmla="*/ 1214 w 1843"/>
              <a:gd name="T3" fmla="*/ 132 h 2318"/>
              <a:gd name="T4" fmla="*/ 1192 w 1843"/>
              <a:gd name="T5" fmla="*/ 269 h 2318"/>
              <a:gd name="T6" fmla="*/ 1158 w 1843"/>
              <a:gd name="T7" fmla="*/ 350 h 2318"/>
              <a:gd name="T8" fmla="*/ 1177 w 1843"/>
              <a:gd name="T9" fmla="*/ 395 h 2318"/>
              <a:gd name="T10" fmla="*/ 1292 w 1843"/>
              <a:gd name="T11" fmla="*/ 418 h 2318"/>
              <a:gd name="T12" fmla="*/ 1591 w 1843"/>
              <a:gd name="T13" fmla="*/ 384 h 2318"/>
              <a:gd name="T14" fmla="*/ 1792 w 1843"/>
              <a:gd name="T15" fmla="*/ 456 h 2318"/>
              <a:gd name="T16" fmla="*/ 1837 w 1843"/>
              <a:gd name="T17" fmla="*/ 792 h 2318"/>
              <a:gd name="T18" fmla="*/ 1775 w 1843"/>
              <a:gd name="T19" fmla="*/ 869 h 2318"/>
              <a:gd name="T20" fmla="*/ 1641 w 1843"/>
              <a:gd name="T21" fmla="*/ 826 h 2318"/>
              <a:gd name="T22" fmla="*/ 1550 w 1843"/>
              <a:gd name="T23" fmla="*/ 849 h 2318"/>
              <a:gd name="T24" fmla="*/ 1495 w 1843"/>
              <a:gd name="T25" fmla="*/ 893 h 2318"/>
              <a:gd name="T26" fmla="*/ 1456 w 1843"/>
              <a:gd name="T27" fmla="*/ 956 h 2318"/>
              <a:gd name="T28" fmla="*/ 1423 w 1843"/>
              <a:gd name="T29" fmla="*/ 1106 h 2318"/>
              <a:gd name="T30" fmla="*/ 1444 w 1843"/>
              <a:gd name="T31" fmla="*/ 1333 h 2318"/>
              <a:gd name="T32" fmla="*/ 1476 w 1843"/>
              <a:gd name="T33" fmla="*/ 1394 h 2318"/>
              <a:gd name="T34" fmla="*/ 1518 w 1843"/>
              <a:gd name="T35" fmla="*/ 1448 h 2318"/>
              <a:gd name="T36" fmla="*/ 1553 w 1843"/>
              <a:gd name="T37" fmla="*/ 1467 h 2318"/>
              <a:gd name="T38" fmla="*/ 1680 w 1843"/>
              <a:gd name="T39" fmla="*/ 1459 h 2318"/>
              <a:gd name="T40" fmla="*/ 1786 w 1843"/>
              <a:gd name="T41" fmla="*/ 1405 h 2318"/>
              <a:gd name="T42" fmla="*/ 1842 w 1843"/>
              <a:gd name="T43" fmla="*/ 1560 h 2318"/>
              <a:gd name="T44" fmla="*/ 1776 w 1843"/>
              <a:gd name="T45" fmla="*/ 1916 h 2318"/>
              <a:gd name="T46" fmla="*/ 1610 w 1843"/>
              <a:gd name="T47" fmla="*/ 1943 h 2318"/>
              <a:gd name="T48" fmla="*/ 1343 w 1843"/>
              <a:gd name="T49" fmla="*/ 1899 h 2318"/>
              <a:gd name="T50" fmla="*/ 1169 w 1843"/>
              <a:gd name="T51" fmla="*/ 1899 h 2318"/>
              <a:gd name="T52" fmla="*/ 1124 w 1843"/>
              <a:gd name="T53" fmla="*/ 1970 h 2318"/>
              <a:gd name="T54" fmla="*/ 1171 w 1843"/>
              <a:gd name="T55" fmla="*/ 2081 h 2318"/>
              <a:gd name="T56" fmla="*/ 1199 w 1843"/>
              <a:gd name="T57" fmla="*/ 2197 h 2318"/>
              <a:gd name="T58" fmla="*/ 1069 w 1843"/>
              <a:gd name="T59" fmla="*/ 2299 h 2318"/>
              <a:gd name="T60" fmla="*/ 830 w 1843"/>
              <a:gd name="T61" fmla="*/ 2312 h 2318"/>
              <a:gd name="T62" fmla="*/ 692 w 1843"/>
              <a:gd name="T63" fmla="*/ 2261 h 2318"/>
              <a:gd name="T64" fmla="*/ 628 w 1843"/>
              <a:gd name="T65" fmla="*/ 2178 h 2318"/>
              <a:gd name="T66" fmla="*/ 657 w 1843"/>
              <a:gd name="T67" fmla="*/ 2033 h 2318"/>
              <a:gd name="T68" fmla="*/ 672 w 1843"/>
              <a:gd name="T69" fmla="*/ 1929 h 2318"/>
              <a:gd name="T70" fmla="*/ 503 w 1843"/>
              <a:gd name="T71" fmla="*/ 1901 h 2318"/>
              <a:gd name="T72" fmla="*/ 195 w 1843"/>
              <a:gd name="T73" fmla="*/ 1952 h 2318"/>
              <a:gd name="T74" fmla="*/ 25 w 1843"/>
              <a:gd name="T75" fmla="*/ 1772 h 2318"/>
              <a:gd name="T76" fmla="*/ 6 w 1843"/>
              <a:gd name="T77" fmla="*/ 1515 h 2318"/>
              <a:gd name="T78" fmla="*/ 81 w 1843"/>
              <a:gd name="T79" fmla="*/ 1456 h 2318"/>
              <a:gd name="T80" fmla="*/ 255 w 1843"/>
              <a:gd name="T81" fmla="*/ 1490 h 2318"/>
              <a:gd name="T82" fmla="*/ 353 w 1843"/>
              <a:gd name="T83" fmla="*/ 1419 h 2318"/>
              <a:gd name="T84" fmla="*/ 374 w 1843"/>
              <a:gd name="T85" fmla="*/ 1391 h 2318"/>
              <a:gd name="T86" fmla="*/ 418 w 1843"/>
              <a:gd name="T87" fmla="*/ 1241 h 2318"/>
              <a:gd name="T88" fmla="*/ 404 w 1843"/>
              <a:gd name="T89" fmla="*/ 1006 h 2318"/>
              <a:gd name="T90" fmla="*/ 370 w 1843"/>
              <a:gd name="T91" fmla="*/ 927 h 2318"/>
              <a:gd name="T92" fmla="*/ 363 w 1843"/>
              <a:gd name="T93" fmla="*/ 914 h 2318"/>
              <a:gd name="T94" fmla="*/ 260 w 1843"/>
              <a:gd name="T95" fmla="*/ 842 h 2318"/>
              <a:gd name="T96" fmla="*/ 146 w 1843"/>
              <a:gd name="T97" fmla="*/ 870 h 2318"/>
              <a:gd name="T98" fmla="*/ 28 w 1843"/>
              <a:gd name="T99" fmla="*/ 918 h 2318"/>
              <a:gd name="T100" fmla="*/ 25 w 1843"/>
              <a:gd name="T101" fmla="*/ 574 h 2318"/>
              <a:gd name="T102" fmla="*/ 81 w 1843"/>
              <a:gd name="T103" fmla="*/ 351 h 2318"/>
              <a:gd name="T104" fmla="*/ 465 w 1843"/>
              <a:gd name="T105" fmla="*/ 418 h 2318"/>
              <a:gd name="T106" fmla="*/ 709 w 1843"/>
              <a:gd name="T107" fmla="*/ 402 h 2318"/>
              <a:gd name="T108" fmla="*/ 707 w 1843"/>
              <a:gd name="T109" fmla="*/ 304 h 2318"/>
              <a:gd name="T110" fmla="*/ 642 w 1843"/>
              <a:gd name="T111" fmla="*/ 165 h 2318"/>
              <a:gd name="T112" fmla="*/ 696 w 1843"/>
              <a:gd name="T113" fmla="*/ 57 h 2318"/>
              <a:gd name="T114" fmla="*/ 896 w 1843"/>
              <a:gd name="T115" fmla="*/ 0 h 231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43"/>
              <a:gd name="T175" fmla="*/ 0 h 2318"/>
              <a:gd name="T176" fmla="*/ 1843 w 1843"/>
              <a:gd name="T177" fmla="*/ 2318 h 231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43" h="2318">
                <a:moveTo>
                  <a:pt x="896" y="0"/>
                </a:moveTo>
                <a:lnTo>
                  <a:pt x="946" y="0"/>
                </a:lnTo>
                <a:lnTo>
                  <a:pt x="981" y="3"/>
                </a:lnTo>
                <a:lnTo>
                  <a:pt x="1018" y="9"/>
                </a:lnTo>
                <a:lnTo>
                  <a:pt x="1053" y="17"/>
                </a:lnTo>
                <a:lnTo>
                  <a:pt x="1089" y="28"/>
                </a:lnTo>
                <a:lnTo>
                  <a:pt x="1122" y="42"/>
                </a:lnTo>
                <a:lnTo>
                  <a:pt x="1147" y="56"/>
                </a:lnTo>
                <a:lnTo>
                  <a:pt x="1169" y="71"/>
                </a:lnTo>
                <a:lnTo>
                  <a:pt x="1187" y="90"/>
                </a:lnTo>
                <a:lnTo>
                  <a:pt x="1203" y="110"/>
                </a:lnTo>
                <a:lnTo>
                  <a:pt x="1214" y="132"/>
                </a:lnTo>
                <a:lnTo>
                  <a:pt x="1218" y="158"/>
                </a:lnTo>
                <a:lnTo>
                  <a:pt x="1218" y="180"/>
                </a:lnTo>
                <a:lnTo>
                  <a:pt x="1214" y="203"/>
                </a:lnTo>
                <a:lnTo>
                  <a:pt x="1208" y="227"/>
                </a:lnTo>
                <a:lnTo>
                  <a:pt x="1199" y="249"/>
                </a:lnTo>
                <a:lnTo>
                  <a:pt x="1192" y="269"/>
                </a:lnTo>
                <a:lnTo>
                  <a:pt x="1187" y="281"/>
                </a:lnTo>
                <a:lnTo>
                  <a:pt x="1181" y="292"/>
                </a:lnTo>
                <a:lnTo>
                  <a:pt x="1176" y="305"/>
                </a:lnTo>
                <a:lnTo>
                  <a:pt x="1172" y="318"/>
                </a:lnTo>
                <a:lnTo>
                  <a:pt x="1163" y="340"/>
                </a:lnTo>
                <a:lnTo>
                  <a:pt x="1158" y="350"/>
                </a:lnTo>
                <a:lnTo>
                  <a:pt x="1156" y="361"/>
                </a:lnTo>
                <a:lnTo>
                  <a:pt x="1158" y="373"/>
                </a:lnTo>
                <a:lnTo>
                  <a:pt x="1160" y="378"/>
                </a:lnTo>
                <a:lnTo>
                  <a:pt x="1165" y="384"/>
                </a:lnTo>
                <a:lnTo>
                  <a:pt x="1171" y="390"/>
                </a:lnTo>
                <a:lnTo>
                  <a:pt x="1177" y="395"/>
                </a:lnTo>
                <a:lnTo>
                  <a:pt x="1192" y="404"/>
                </a:lnTo>
                <a:lnTo>
                  <a:pt x="1210" y="410"/>
                </a:lnTo>
                <a:lnTo>
                  <a:pt x="1231" y="413"/>
                </a:lnTo>
                <a:lnTo>
                  <a:pt x="1253" y="416"/>
                </a:lnTo>
                <a:lnTo>
                  <a:pt x="1273" y="417"/>
                </a:lnTo>
                <a:lnTo>
                  <a:pt x="1292" y="418"/>
                </a:lnTo>
                <a:lnTo>
                  <a:pt x="1349" y="420"/>
                </a:lnTo>
                <a:lnTo>
                  <a:pt x="1403" y="417"/>
                </a:lnTo>
                <a:lnTo>
                  <a:pt x="1453" y="412"/>
                </a:lnTo>
                <a:lnTo>
                  <a:pt x="1502" y="405"/>
                </a:lnTo>
                <a:lnTo>
                  <a:pt x="1547" y="395"/>
                </a:lnTo>
                <a:lnTo>
                  <a:pt x="1591" y="384"/>
                </a:lnTo>
                <a:lnTo>
                  <a:pt x="1633" y="372"/>
                </a:lnTo>
                <a:lnTo>
                  <a:pt x="1675" y="360"/>
                </a:lnTo>
                <a:lnTo>
                  <a:pt x="1715" y="346"/>
                </a:lnTo>
                <a:lnTo>
                  <a:pt x="1756" y="334"/>
                </a:lnTo>
                <a:lnTo>
                  <a:pt x="1772" y="394"/>
                </a:lnTo>
                <a:lnTo>
                  <a:pt x="1792" y="456"/>
                </a:lnTo>
                <a:lnTo>
                  <a:pt x="1810" y="521"/>
                </a:lnTo>
                <a:lnTo>
                  <a:pt x="1826" y="587"/>
                </a:lnTo>
                <a:lnTo>
                  <a:pt x="1831" y="623"/>
                </a:lnTo>
                <a:lnTo>
                  <a:pt x="1834" y="660"/>
                </a:lnTo>
                <a:lnTo>
                  <a:pt x="1837" y="698"/>
                </a:lnTo>
                <a:lnTo>
                  <a:pt x="1837" y="792"/>
                </a:lnTo>
                <a:lnTo>
                  <a:pt x="1835" y="817"/>
                </a:lnTo>
                <a:lnTo>
                  <a:pt x="1833" y="842"/>
                </a:lnTo>
                <a:lnTo>
                  <a:pt x="1827" y="864"/>
                </a:lnTo>
                <a:lnTo>
                  <a:pt x="1818" y="883"/>
                </a:lnTo>
                <a:lnTo>
                  <a:pt x="1795" y="877"/>
                </a:lnTo>
                <a:lnTo>
                  <a:pt x="1775" y="869"/>
                </a:lnTo>
                <a:lnTo>
                  <a:pt x="1755" y="859"/>
                </a:lnTo>
                <a:lnTo>
                  <a:pt x="1736" y="850"/>
                </a:lnTo>
                <a:lnTo>
                  <a:pt x="1714" y="842"/>
                </a:lnTo>
                <a:lnTo>
                  <a:pt x="1691" y="834"/>
                </a:lnTo>
                <a:lnTo>
                  <a:pt x="1665" y="830"/>
                </a:lnTo>
                <a:lnTo>
                  <a:pt x="1641" y="826"/>
                </a:lnTo>
                <a:lnTo>
                  <a:pt x="1616" y="826"/>
                </a:lnTo>
                <a:lnTo>
                  <a:pt x="1593" y="827"/>
                </a:lnTo>
                <a:lnTo>
                  <a:pt x="1573" y="833"/>
                </a:lnTo>
                <a:lnTo>
                  <a:pt x="1562" y="838"/>
                </a:lnTo>
                <a:lnTo>
                  <a:pt x="1554" y="844"/>
                </a:lnTo>
                <a:lnTo>
                  <a:pt x="1550" y="849"/>
                </a:lnTo>
                <a:lnTo>
                  <a:pt x="1547" y="850"/>
                </a:lnTo>
                <a:lnTo>
                  <a:pt x="1543" y="850"/>
                </a:lnTo>
                <a:lnTo>
                  <a:pt x="1540" y="852"/>
                </a:lnTo>
                <a:lnTo>
                  <a:pt x="1537" y="853"/>
                </a:lnTo>
                <a:lnTo>
                  <a:pt x="1515" y="871"/>
                </a:lnTo>
                <a:lnTo>
                  <a:pt x="1495" y="893"/>
                </a:lnTo>
                <a:lnTo>
                  <a:pt x="1478" y="917"/>
                </a:lnTo>
                <a:lnTo>
                  <a:pt x="1464" y="942"/>
                </a:lnTo>
                <a:lnTo>
                  <a:pt x="1462" y="945"/>
                </a:lnTo>
                <a:lnTo>
                  <a:pt x="1461" y="949"/>
                </a:lnTo>
                <a:lnTo>
                  <a:pt x="1457" y="953"/>
                </a:lnTo>
                <a:lnTo>
                  <a:pt x="1456" y="956"/>
                </a:lnTo>
                <a:lnTo>
                  <a:pt x="1453" y="960"/>
                </a:lnTo>
                <a:lnTo>
                  <a:pt x="1449" y="974"/>
                </a:lnTo>
                <a:lnTo>
                  <a:pt x="1441" y="1006"/>
                </a:lnTo>
                <a:lnTo>
                  <a:pt x="1434" y="1026"/>
                </a:lnTo>
                <a:lnTo>
                  <a:pt x="1427" y="1064"/>
                </a:lnTo>
                <a:lnTo>
                  <a:pt x="1423" y="1106"/>
                </a:lnTo>
                <a:lnTo>
                  <a:pt x="1421" y="1151"/>
                </a:lnTo>
                <a:lnTo>
                  <a:pt x="1422" y="1196"/>
                </a:lnTo>
                <a:lnTo>
                  <a:pt x="1425" y="1239"/>
                </a:lnTo>
                <a:lnTo>
                  <a:pt x="1430" y="1279"/>
                </a:lnTo>
                <a:lnTo>
                  <a:pt x="1438" y="1314"/>
                </a:lnTo>
                <a:lnTo>
                  <a:pt x="1444" y="1333"/>
                </a:lnTo>
                <a:lnTo>
                  <a:pt x="1461" y="1375"/>
                </a:lnTo>
                <a:lnTo>
                  <a:pt x="1468" y="1391"/>
                </a:lnTo>
                <a:lnTo>
                  <a:pt x="1469" y="1392"/>
                </a:lnTo>
                <a:lnTo>
                  <a:pt x="1472" y="1392"/>
                </a:lnTo>
                <a:lnTo>
                  <a:pt x="1475" y="1393"/>
                </a:lnTo>
                <a:lnTo>
                  <a:pt x="1476" y="1394"/>
                </a:lnTo>
                <a:lnTo>
                  <a:pt x="1478" y="1397"/>
                </a:lnTo>
                <a:lnTo>
                  <a:pt x="1478" y="1400"/>
                </a:lnTo>
                <a:lnTo>
                  <a:pt x="1480" y="1405"/>
                </a:lnTo>
                <a:lnTo>
                  <a:pt x="1489" y="1417"/>
                </a:lnTo>
                <a:lnTo>
                  <a:pt x="1508" y="1439"/>
                </a:lnTo>
                <a:lnTo>
                  <a:pt x="1518" y="1448"/>
                </a:lnTo>
                <a:lnTo>
                  <a:pt x="1524" y="1450"/>
                </a:lnTo>
                <a:lnTo>
                  <a:pt x="1531" y="1453"/>
                </a:lnTo>
                <a:lnTo>
                  <a:pt x="1537" y="1455"/>
                </a:lnTo>
                <a:lnTo>
                  <a:pt x="1545" y="1462"/>
                </a:lnTo>
                <a:lnTo>
                  <a:pt x="1550" y="1465"/>
                </a:lnTo>
                <a:lnTo>
                  <a:pt x="1553" y="1467"/>
                </a:lnTo>
                <a:lnTo>
                  <a:pt x="1575" y="1475"/>
                </a:lnTo>
                <a:lnTo>
                  <a:pt x="1596" y="1478"/>
                </a:lnTo>
                <a:lnTo>
                  <a:pt x="1620" y="1478"/>
                </a:lnTo>
                <a:lnTo>
                  <a:pt x="1642" y="1475"/>
                </a:lnTo>
                <a:lnTo>
                  <a:pt x="1661" y="1467"/>
                </a:lnTo>
                <a:lnTo>
                  <a:pt x="1680" y="1459"/>
                </a:lnTo>
                <a:lnTo>
                  <a:pt x="1697" y="1449"/>
                </a:lnTo>
                <a:lnTo>
                  <a:pt x="1714" y="1441"/>
                </a:lnTo>
                <a:lnTo>
                  <a:pt x="1731" y="1431"/>
                </a:lnTo>
                <a:lnTo>
                  <a:pt x="1749" y="1421"/>
                </a:lnTo>
                <a:lnTo>
                  <a:pt x="1766" y="1413"/>
                </a:lnTo>
                <a:lnTo>
                  <a:pt x="1786" y="1405"/>
                </a:lnTo>
                <a:lnTo>
                  <a:pt x="1808" y="1400"/>
                </a:lnTo>
                <a:lnTo>
                  <a:pt x="1833" y="1398"/>
                </a:lnTo>
                <a:lnTo>
                  <a:pt x="1840" y="1416"/>
                </a:lnTo>
                <a:lnTo>
                  <a:pt x="1843" y="1436"/>
                </a:lnTo>
                <a:lnTo>
                  <a:pt x="1842" y="1455"/>
                </a:lnTo>
                <a:lnTo>
                  <a:pt x="1842" y="1560"/>
                </a:lnTo>
                <a:lnTo>
                  <a:pt x="1837" y="1626"/>
                </a:lnTo>
                <a:lnTo>
                  <a:pt x="1828" y="1689"/>
                </a:lnTo>
                <a:lnTo>
                  <a:pt x="1817" y="1750"/>
                </a:lnTo>
                <a:lnTo>
                  <a:pt x="1805" y="1808"/>
                </a:lnTo>
                <a:lnTo>
                  <a:pt x="1790" y="1863"/>
                </a:lnTo>
                <a:lnTo>
                  <a:pt x="1776" y="1916"/>
                </a:lnTo>
                <a:lnTo>
                  <a:pt x="1772" y="1933"/>
                </a:lnTo>
                <a:lnTo>
                  <a:pt x="1762" y="1967"/>
                </a:lnTo>
                <a:lnTo>
                  <a:pt x="1753" y="1982"/>
                </a:lnTo>
                <a:lnTo>
                  <a:pt x="1707" y="1966"/>
                </a:lnTo>
                <a:lnTo>
                  <a:pt x="1659" y="1954"/>
                </a:lnTo>
                <a:lnTo>
                  <a:pt x="1610" y="1943"/>
                </a:lnTo>
                <a:lnTo>
                  <a:pt x="1564" y="1931"/>
                </a:lnTo>
                <a:lnTo>
                  <a:pt x="1515" y="1919"/>
                </a:lnTo>
                <a:lnTo>
                  <a:pt x="1464" y="1909"/>
                </a:lnTo>
                <a:lnTo>
                  <a:pt x="1428" y="1904"/>
                </a:lnTo>
                <a:lnTo>
                  <a:pt x="1388" y="1901"/>
                </a:lnTo>
                <a:lnTo>
                  <a:pt x="1343" y="1899"/>
                </a:lnTo>
                <a:lnTo>
                  <a:pt x="1295" y="1897"/>
                </a:lnTo>
                <a:lnTo>
                  <a:pt x="1276" y="1897"/>
                </a:lnTo>
                <a:lnTo>
                  <a:pt x="1254" y="1896"/>
                </a:lnTo>
                <a:lnTo>
                  <a:pt x="1210" y="1896"/>
                </a:lnTo>
                <a:lnTo>
                  <a:pt x="1188" y="1897"/>
                </a:lnTo>
                <a:lnTo>
                  <a:pt x="1169" y="1899"/>
                </a:lnTo>
                <a:lnTo>
                  <a:pt x="1153" y="1903"/>
                </a:lnTo>
                <a:lnTo>
                  <a:pt x="1139" y="1909"/>
                </a:lnTo>
                <a:lnTo>
                  <a:pt x="1131" y="1916"/>
                </a:lnTo>
                <a:lnTo>
                  <a:pt x="1125" y="1932"/>
                </a:lnTo>
                <a:lnTo>
                  <a:pt x="1122" y="1950"/>
                </a:lnTo>
                <a:lnTo>
                  <a:pt x="1124" y="1970"/>
                </a:lnTo>
                <a:lnTo>
                  <a:pt x="1127" y="1989"/>
                </a:lnTo>
                <a:lnTo>
                  <a:pt x="1133" y="2011"/>
                </a:lnTo>
                <a:lnTo>
                  <a:pt x="1143" y="2031"/>
                </a:lnTo>
                <a:lnTo>
                  <a:pt x="1154" y="2050"/>
                </a:lnTo>
                <a:lnTo>
                  <a:pt x="1161" y="2065"/>
                </a:lnTo>
                <a:lnTo>
                  <a:pt x="1171" y="2081"/>
                </a:lnTo>
                <a:lnTo>
                  <a:pt x="1180" y="2100"/>
                </a:lnTo>
                <a:lnTo>
                  <a:pt x="1189" y="2120"/>
                </a:lnTo>
                <a:lnTo>
                  <a:pt x="1197" y="2138"/>
                </a:lnTo>
                <a:lnTo>
                  <a:pt x="1203" y="2157"/>
                </a:lnTo>
                <a:lnTo>
                  <a:pt x="1204" y="2173"/>
                </a:lnTo>
                <a:lnTo>
                  <a:pt x="1199" y="2197"/>
                </a:lnTo>
                <a:lnTo>
                  <a:pt x="1187" y="2221"/>
                </a:lnTo>
                <a:lnTo>
                  <a:pt x="1171" y="2241"/>
                </a:lnTo>
                <a:lnTo>
                  <a:pt x="1152" y="2258"/>
                </a:lnTo>
                <a:lnTo>
                  <a:pt x="1131" y="2273"/>
                </a:lnTo>
                <a:lnTo>
                  <a:pt x="1103" y="2288"/>
                </a:lnTo>
                <a:lnTo>
                  <a:pt x="1069" y="2299"/>
                </a:lnTo>
                <a:lnTo>
                  <a:pt x="1032" y="2307"/>
                </a:lnTo>
                <a:lnTo>
                  <a:pt x="993" y="2313"/>
                </a:lnTo>
                <a:lnTo>
                  <a:pt x="952" y="2317"/>
                </a:lnTo>
                <a:lnTo>
                  <a:pt x="911" y="2318"/>
                </a:lnTo>
                <a:lnTo>
                  <a:pt x="870" y="2316"/>
                </a:lnTo>
                <a:lnTo>
                  <a:pt x="830" y="2312"/>
                </a:lnTo>
                <a:lnTo>
                  <a:pt x="794" y="2305"/>
                </a:lnTo>
                <a:lnTo>
                  <a:pt x="761" y="2296"/>
                </a:lnTo>
                <a:lnTo>
                  <a:pt x="732" y="2285"/>
                </a:lnTo>
                <a:lnTo>
                  <a:pt x="720" y="2279"/>
                </a:lnTo>
                <a:lnTo>
                  <a:pt x="705" y="2271"/>
                </a:lnTo>
                <a:lnTo>
                  <a:pt x="692" y="2261"/>
                </a:lnTo>
                <a:lnTo>
                  <a:pt x="678" y="2250"/>
                </a:lnTo>
                <a:lnTo>
                  <a:pt x="666" y="2240"/>
                </a:lnTo>
                <a:lnTo>
                  <a:pt x="659" y="2232"/>
                </a:lnTo>
                <a:lnTo>
                  <a:pt x="648" y="2218"/>
                </a:lnTo>
                <a:lnTo>
                  <a:pt x="639" y="2205"/>
                </a:lnTo>
                <a:lnTo>
                  <a:pt x="628" y="2178"/>
                </a:lnTo>
                <a:lnTo>
                  <a:pt x="626" y="2151"/>
                </a:lnTo>
                <a:lnTo>
                  <a:pt x="627" y="2124"/>
                </a:lnTo>
                <a:lnTo>
                  <a:pt x="633" y="2099"/>
                </a:lnTo>
                <a:lnTo>
                  <a:pt x="642" y="2073"/>
                </a:lnTo>
                <a:lnTo>
                  <a:pt x="650" y="2050"/>
                </a:lnTo>
                <a:lnTo>
                  <a:pt x="657" y="2033"/>
                </a:lnTo>
                <a:lnTo>
                  <a:pt x="666" y="2016"/>
                </a:lnTo>
                <a:lnTo>
                  <a:pt x="673" y="2000"/>
                </a:lnTo>
                <a:lnTo>
                  <a:pt x="679" y="1983"/>
                </a:lnTo>
                <a:lnTo>
                  <a:pt x="684" y="1965"/>
                </a:lnTo>
                <a:lnTo>
                  <a:pt x="685" y="1943"/>
                </a:lnTo>
                <a:lnTo>
                  <a:pt x="672" y="1929"/>
                </a:lnTo>
                <a:lnTo>
                  <a:pt x="656" y="1919"/>
                </a:lnTo>
                <a:lnTo>
                  <a:pt x="637" y="1912"/>
                </a:lnTo>
                <a:lnTo>
                  <a:pt x="616" y="1907"/>
                </a:lnTo>
                <a:lnTo>
                  <a:pt x="593" y="1903"/>
                </a:lnTo>
                <a:lnTo>
                  <a:pt x="547" y="1901"/>
                </a:lnTo>
                <a:lnTo>
                  <a:pt x="503" y="1901"/>
                </a:lnTo>
                <a:lnTo>
                  <a:pt x="458" y="1902"/>
                </a:lnTo>
                <a:lnTo>
                  <a:pt x="415" y="1904"/>
                </a:lnTo>
                <a:lnTo>
                  <a:pt x="374" y="1909"/>
                </a:lnTo>
                <a:lnTo>
                  <a:pt x="312" y="1920"/>
                </a:lnTo>
                <a:lnTo>
                  <a:pt x="252" y="1936"/>
                </a:lnTo>
                <a:lnTo>
                  <a:pt x="195" y="1952"/>
                </a:lnTo>
                <a:lnTo>
                  <a:pt x="140" y="1969"/>
                </a:lnTo>
                <a:lnTo>
                  <a:pt x="87" y="1982"/>
                </a:lnTo>
                <a:lnTo>
                  <a:pt x="73" y="1932"/>
                </a:lnTo>
                <a:lnTo>
                  <a:pt x="58" y="1881"/>
                </a:lnTo>
                <a:lnTo>
                  <a:pt x="40" y="1828"/>
                </a:lnTo>
                <a:lnTo>
                  <a:pt x="25" y="1772"/>
                </a:lnTo>
                <a:lnTo>
                  <a:pt x="12" y="1713"/>
                </a:lnTo>
                <a:lnTo>
                  <a:pt x="5" y="1655"/>
                </a:lnTo>
                <a:lnTo>
                  <a:pt x="4" y="1617"/>
                </a:lnTo>
                <a:lnTo>
                  <a:pt x="4" y="1577"/>
                </a:lnTo>
                <a:lnTo>
                  <a:pt x="5" y="1537"/>
                </a:lnTo>
                <a:lnTo>
                  <a:pt x="6" y="1515"/>
                </a:lnTo>
                <a:lnTo>
                  <a:pt x="8" y="1492"/>
                </a:lnTo>
                <a:lnTo>
                  <a:pt x="10" y="1471"/>
                </a:lnTo>
                <a:lnTo>
                  <a:pt x="16" y="1450"/>
                </a:lnTo>
                <a:lnTo>
                  <a:pt x="25" y="1432"/>
                </a:lnTo>
                <a:lnTo>
                  <a:pt x="53" y="1443"/>
                </a:lnTo>
                <a:lnTo>
                  <a:pt x="81" y="1456"/>
                </a:lnTo>
                <a:lnTo>
                  <a:pt x="109" y="1469"/>
                </a:lnTo>
                <a:lnTo>
                  <a:pt x="135" y="1479"/>
                </a:lnTo>
                <a:lnTo>
                  <a:pt x="165" y="1488"/>
                </a:lnTo>
                <a:lnTo>
                  <a:pt x="193" y="1494"/>
                </a:lnTo>
                <a:lnTo>
                  <a:pt x="223" y="1495"/>
                </a:lnTo>
                <a:lnTo>
                  <a:pt x="255" y="1490"/>
                </a:lnTo>
                <a:lnTo>
                  <a:pt x="275" y="1483"/>
                </a:lnTo>
                <a:lnTo>
                  <a:pt x="297" y="1471"/>
                </a:lnTo>
                <a:lnTo>
                  <a:pt x="318" y="1456"/>
                </a:lnTo>
                <a:lnTo>
                  <a:pt x="336" y="1441"/>
                </a:lnTo>
                <a:lnTo>
                  <a:pt x="351" y="1425"/>
                </a:lnTo>
                <a:lnTo>
                  <a:pt x="353" y="1419"/>
                </a:lnTo>
                <a:lnTo>
                  <a:pt x="357" y="1411"/>
                </a:lnTo>
                <a:lnTo>
                  <a:pt x="359" y="1405"/>
                </a:lnTo>
                <a:lnTo>
                  <a:pt x="362" y="1402"/>
                </a:lnTo>
                <a:lnTo>
                  <a:pt x="369" y="1397"/>
                </a:lnTo>
                <a:lnTo>
                  <a:pt x="371" y="1393"/>
                </a:lnTo>
                <a:lnTo>
                  <a:pt x="374" y="1391"/>
                </a:lnTo>
                <a:lnTo>
                  <a:pt x="381" y="1372"/>
                </a:lnTo>
                <a:lnTo>
                  <a:pt x="390" y="1352"/>
                </a:lnTo>
                <a:lnTo>
                  <a:pt x="398" y="1332"/>
                </a:lnTo>
                <a:lnTo>
                  <a:pt x="404" y="1314"/>
                </a:lnTo>
                <a:lnTo>
                  <a:pt x="412" y="1280"/>
                </a:lnTo>
                <a:lnTo>
                  <a:pt x="418" y="1241"/>
                </a:lnTo>
                <a:lnTo>
                  <a:pt x="421" y="1201"/>
                </a:lnTo>
                <a:lnTo>
                  <a:pt x="421" y="1158"/>
                </a:lnTo>
                <a:lnTo>
                  <a:pt x="420" y="1117"/>
                </a:lnTo>
                <a:lnTo>
                  <a:pt x="417" y="1077"/>
                </a:lnTo>
                <a:lnTo>
                  <a:pt x="412" y="1039"/>
                </a:lnTo>
                <a:lnTo>
                  <a:pt x="404" y="1006"/>
                </a:lnTo>
                <a:lnTo>
                  <a:pt x="398" y="987"/>
                </a:lnTo>
                <a:lnTo>
                  <a:pt x="391" y="966"/>
                </a:lnTo>
                <a:lnTo>
                  <a:pt x="382" y="945"/>
                </a:lnTo>
                <a:lnTo>
                  <a:pt x="374" y="929"/>
                </a:lnTo>
                <a:lnTo>
                  <a:pt x="373" y="928"/>
                </a:lnTo>
                <a:lnTo>
                  <a:pt x="370" y="927"/>
                </a:lnTo>
                <a:lnTo>
                  <a:pt x="368" y="927"/>
                </a:lnTo>
                <a:lnTo>
                  <a:pt x="367" y="926"/>
                </a:lnTo>
                <a:lnTo>
                  <a:pt x="365" y="923"/>
                </a:lnTo>
                <a:lnTo>
                  <a:pt x="364" y="920"/>
                </a:lnTo>
                <a:lnTo>
                  <a:pt x="364" y="916"/>
                </a:lnTo>
                <a:lnTo>
                  <a:pt x="363" y="914"/>
                </a:lnTo>
                <a:lnTo>
                  <a:pt x="343" y="892"/>
                </a:lnTo>
                <a:lnTo>
                  <a:pt x="323" y="875"/>
                </a:lnTo>
                <a:lnTo>
                  <a:pt x="301" y="860"/>
                </a:lnTo>
                <a:lnTo>
                  <a:pt x="291" y="854"/>
                </a:lnTo>
                <a:lnTo>
                  <a:pt x="281" y="849"/>
                </a:lnTo>
                <a:lnTo>
                  <a:pt x="260" y="842"/>
                </a:lnTo>
                <a:lnTo>
                  <a:pt x="241" y="839"/>
                </a:lnTo>
                <a:lnTo>
                  <a:pt x="224" y="839"/>
                </a:lnTo>
                <a:lnTo>
                  <a:pt x="208" y="843"/>
                </a:lnTo>
                <a:lnTo>
                  <a:pt x="191" y="849"/>
                </a:lnTo>
                <a:lnTo>
                  <a:pt x="174" y="856"/>
                </a:lnTo>
                <a:lnTo>
                  <a:pt x="146" y="870"/>
                </a:lnTo>
                <a:lnTo>
                  <a:pt x="121" y="883"/>
                </a:lnTo>
                <a:lnTo>
                  <a:pt x="104" y="893"/>
                </a:lnTo>
                <a:lnTo>
                  <a:pt x="87" y="901"/>
                </a:lnTo>
                <a:lnTo>
                  <a:pt x="68" y="910"/>
                </a:lnTo>
                <a:lnTo>
                  <a:pt x="49" y="916"/>
                </a:lnTo>
                <a:lnTo>
                  <a:pt x="28" y="918"/>
                </a:lnTo>
                <a:lnTo>
                  <a:pt x="5" y="918"/>
                </a:lnTo>
                <a:lnTo>
                  <a:pt x="0" y="844"/>
                </a:lnTo>
                <a:lnTo>
                  <a:pt x="0" y="774"/>
                </a:lnTo>
                <a:lnTo>
                  <a:pt x="5" y="704"/>
                </a:lnTo>
                <a:lnTo>
                  <a:pt x="14" y="637"/>
                </a:lnTo>
                <a:lnTo>
                  <a:pt x="25" y="574"/>
                </a:lnTo>
                <a:lnTo>
                  <a:pt x="37" y="512"/>
                </a:lnTo>
                <a:lnTo>
                  <a:pt x="51" y="455"/>
                </a:lnTo>
                <a:lnTo>
                  <a:pt x="67" y="400"/>
                </a:lnTo>
                <a:lnTo>
                  <a:pt x="71" y="384"/>
                </a:lnTo>
                <a:lnTo>
                  <a:pt x="75" y="367"/>
                </a:lnTo>
                <a:lnTo>
                  <a:pt x="81" y="351"/>
                </a:lnTo>
                <a:lnTo>
                  <a:pt x="90" y="338"/>
                </a:lnTo>
                <a:lnTo>
                  <a:pt x="157" y="359"/>
                </a:lnTo>
                <a:lnTo>
                  <a:pt x="229" y="377"/>
                </a:lnTo>
                <a:lnTo>
                  <a:pt x="305" y="394"/>
                </a:lnTo>
                <a:lnTo>
                  <a:pt x="382" y="409"/>
                </a:lnTo>
                <a:lnTo>
                  <a:pt x="465" y="418"/>
                </a:lnTo>
                <a:lnTo>
                  <a:pt x="550" y="423"/>
                </a:lnTo>
                <a:lnTo>
                  <a:pt x="639" y="423"/>
                </a:lnTo>
                <a:lnTo>
                  <a:pt x="664" y="422"/>
                </a:lnTo>
                <a:lnTo>
                  <a:pt x="683" y="418"/>
                </a:lnTo>
                <a:lnTo>
                  <a:pt x="698" y="412"/>
                </a:lnTo>
                <a:lnTo>
                  <a:pt x="709" y="402"/>
                </a:lnTo>
                <a:lnTo>
                  <a:pt x="716" y="388"/>
                </a:lnTo>
                <a:lnTo>
                  <a:pt x="720" y="374"/>
                </a:lnTo>
                <a:lnTo>
                  <a:pt x="720" y="360"/>
                </a:lnTo>
                <a:lnTo>
                  <a:pt x="718" y="345"/>
                </a:lnTo>
                <a:lnTo>
                  <a:pt x="716" y="331"/>
                </a:lnTo>
                <a:lnTo>
                  <a:pt x="707" y="304"/>
                </a:lnTo>
                <a:lnTo>
                  <a:pt x="696" y="278"/>
                </a:lnTo>
                <a:lnTo>
                  <a:pt x="683" y="255"/>
                </a:lnTo>
                <a:lnTo>
                  <a:pt x="670" y="233"/>
                </a:lnTo>
                <a:lnTo>
                  <a:pt x="659" y="211"/>
                </a:lnTo>
                <a:lnTo>
                  <a:pt x="649" y="188"/>
                </a:lnTo>
                <a:lnTo>
                  <a:pt x="642" y="165"/>
                </a:lnTo>
                <a:lnTo>
                  <a:pt x="639" y="142"/>
                </a:lnTo>
                <a:lnTo>
                  <a:pt x="643" y="125"/>
                </a:lnTo>
                <a:lnTo>
                  <a:pt x="650" y="108"/>
                </a:lnTo>
                <a:lnTo>
                  <a:pt x="661" y="92"/>
                </a:lnTo>
                <a:lnTo>
                  <a:pt x="673" y="78"/>
                </a:lnTo>
                <a:lnTo>
                  <a:pt x="696" y="57"/>
                </a:lnTo>
                <a:lnTo>
                  <a:pt x="724" y="40"/>
                </a:lnTo>
                <a:lnTo>
                  <a:pt x="756" y="26"/>
                </a:lnTo>
                <a:lnTo>
                  <a:pt x="789" y="17"/>
                </a:lnTo>
                <a:lnTo>
                  <a:pt x="824" y="9"/>
                </a:lnTo>
                <a:lnTo>
                  <a:pt x="859" y="3"/>
                </a:lnTo>
                <a:lnTo>
                  <a:pt x="896" y="0"/>
                </a:lnTo>
                <a:close/>
              </a:path>
            </a:pathLst>
          </a:custGeom>
          <a:solidFill>
            <a:schemeClr val="tx1"/>
          </a:solidFill>
          <a:ln w="12700">
            <a:solidFill>
              <a:schemeClr val="bg1"/>
            </a:solidFill>
            <a:round/>
            <a:headEnd/>
            <a:tailEnd/>
          </a:ln>
        </p:spPr>
        <p:txBody>
          <a:bodyPr anchor="ctr"/>
          <a:lstStyle/>
          <a:p>
            <a:endParaRPr lang="en-US">
              <a:solidFill>
                <a:schemeClr val="tx2"/>
              </a:solidFill>
            </a:endParaRPr>
          </a:p>
        </p:txBody>
      </p:sp>
      <p:sp>
        <p:nvSpPr>
          <p:cNvPr id="68619" name="Rectangle 11"/>
          <p:cNvSpPr>
            <a:spLocks noChangeArrowheads="1"/>
          </p:cNvSpPr>
          <p:nvPr/>
        </p:nvSpPr>
        <p:spPr bwMode="gray">
          <a:xfrm>
            <a:off x="7861302" y="2886621"/>
            <a:ext cx="966787" cy="965836"/>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chemeClr val="bg1"/>
                </a:solidFill>
              </a:rPr>
              <a:t>Text</a:t>
            </a:r>
          </a:p>
        </p:txBody>
      </p:sp>
      <p:grpSp>
        <p:nvGrpSpPr>
          <p:cNvPr id="2" name="Group 32"/>
          <p:cNvGrpSpPr/>
          <p:nvPr/>
        </p:nvGrpSpPr>
        <p:grpSpPr>
          <a:xfrm>
            <a:off x="1503789" y="1849911"/>
            <a:ext cx="1375397" cy="1730765"/>
            <a:chOff x="764904" y="1721727"/>
            <a:chExt cx="1375397" cy="1730765"/>
          </a:xfrm>
          <a:solidFill>
            <a:schemeClr val="tx1"/>
          </a:solidFill>
        </p:grpSpPr>
        <p:sp>
          <p:nvSpPr>
            <p:cNvPr id="72" name="Freeform 9"/>
            <p:cNvSpPr>
              <a:spLocks/>
            </p:cNvSpPr>
            <p:nvPr/>
          </p:nvSpPr>
          <p:spPr bwMode="gray">
            <a:xfrm rot="2074318">
              <a:off x="764904" y="1721727"/>
              <a:ext cx="1375397" cy="1730765"/>
            </a:xfrm>
            <a:custGeom>
              <a:avLst/>
              <a:gdLst/>
              <a:ahLst/>
              <a:cxnLst>
                <a:cxn ang="0">
                  <a:pos x="1089" y="28"/>
                </a:cxn>
                <a:cxn ang="0">
                  <a:pos x="1214" y="132"/>
                </a:cxn>
                <a:cxn ang="0">
                  <a:pos x="1192" y="269"/>
                </a:cxn>
                <a:cxn ang="0">
                  <a:pos x="1158" y="350"/>
                </a:cxn>
                <a:cxn ang="0">
                  <a:pos x="1177" y="395"/>
                </a:cxn>
                <a:cxn ang="0">
                  <a:pos x="1292" y="418"/>
                </a:cxn>
                <a:cxn ang="0">
                  <a:pos x="1591" y="384"/>
                </a:cxn>
                <a:cxn ang="0">
                  <a:pos x="1792" y="456"/>
                </a:cxn>
                <a:cxn ang="0">
                  <a:pos x="1837" y="792"/>
                </a:cxn>
                <a:cxn ang="0">
                  <a:pos x="1775" y="869"/>
                </a:cxn>
                <a:cxn ang="0">
                  <a:pos x="1641" y="826"/>
                </a:cxn>
                <a:cxn ang="0">
                  <a:pos x="1550" y="849"/>
                </a:cxn>
                <a:cxn ang="0">
                  <a:pos x="1495" y="893"/>
                </a:cxn>
                <a:cxn ang="0">
                  <a:pos x="1456" y="956"/>
                </a:cxn>
                <a:cxn ang="0">
                  <a:pos x="1423" y="1106"/>
                </a:cxn>
                <a:cxn ang="0">
                  <a:pos x="1444" y="1333"/>
                </a:cxn>
                <a:cxn ang="0">
                  <a:pos x="1476" y="1394"/>
                </a:cxn>
                <a:cxn ang="0">
                  <a:pos x="1518" y="1448"/>
                </a:cxn>
                <a:cxn ang="0">
                  <a:pos x="1553" y="1467"/>
                </a:cxn>
                <a:cxn ang="0">
                  <a:pos x="1680" y="1459"/>
                </a:cxn>
                <a:cxn ang="0">
                  <a:pos x="1786" y="1405"/>
                </a:cxn>
                <a:cxn ang="0">
                  <a:pos x="1842" y="1560"/>
                </a:cxn>
                <a:cxn ang="0">
                  <a:pos x="1776" y="1916"/>
                </a:cxn>
                <a:cxn ang="0">
                  <a:pos x="1610" y="1943"/>
                </a:cxn>
                <a:cxn ang="0">
                  <a:pos x="1343" y="1899"/>
                </a:cxn>
                <a:cxn ang="0">
                  <a:pos x="1169" y="1899"/>
                </a:cxn>
                <a:cxn ang="0">
                  <a:pos x="1124" y="1970"/>
                </a:cxn>
                <a:cxn ang="0">
                  <a:pos x="1171" y="2081"/>
                </a:cxn>
                <a:cxn ang="0">
                  <a:pos x="1199" y="2197"/>
                </a:cxn>
                <a:cxn ang="0">
                  <a:pos x="1069" y="2299"/>
                </a:cxn>
                <a:cxn ang="0">
                  <a:pos x="830" y="2312"/>
                </a:cxn>
                <a:cxn ang="0">
                  <a:pos x="692" y="2261"/>
                </a:cxn>
                <a:cxn ang="0">
                  <a:pos x="628" y="2178"/>
                </a:cxn>
                <a:cxn ang="0">
                  <a:pos x="657" y="2033"/>
                </a:cxn>
                <a:cxn ang="0">
                  <a:pos x="672" y="1929"/>
                </a:cxn>
                <a:cxn ang="0">
                  <a:pos x="503" y="1901"/>
                </a:cxn>
                <a:cxn ang="0">
                  <a:pos x="195" y="1952"/>
                </a:cxn>
                <a:cxn ang="0">
                  <a:pos x="25" y="1772"/>
                </a:cxn>
                <a:cxn ang="0">
                  <a:pos x="6" y="1515"/>
                </a:cxn>
                <a:cxn ang="0">
                  <a:pos x="81" y="1456"/>
                </a:cxn>
                <a:cxn ang="0">
                  <a:pos x="255" y="1490"/>
                </a:cxn>
                <a:cxn ang="0">
                  <a:pos x="353" y="1419"/>
                </a:cxn>
                <a:cxn ang="0">
                  <a:pos x="374" y="1391"/>
                </a:cxn>
                <a:cxn ang="0">
                  <a:pos x="418" y="1241"/>
                </a:cxn>
                <a:cxn ang="0">
                  <a:pos x="404" y="1006"/>
                </a:cxn>
                <a:cxn ang="0">
                  <a:pos x="370" y="927"/>
                </a:cxn>
                <a:cxn ang="0">
                  <a:pos x="363" y="914"/>
                </a:cxn>
                <a:cxn ang="0">
                  <a:pos x="260" y="842"/>
                </a:cxn>
                <a:cxn ang="0">
                  <a:pos x="146" y="870"/>
                </a:cxn>
                <a:cxn ang="0">
                  <a:pos x="28" y="918"/>
                </a:cxn>
                <a:cxn ang="0">
                  <a:pos x="25" y="574"/>
                </a:cxn>
                <a:cxn ang="0">
                  <a:pos x="81" y="351"/>
                </a:cxn>
                <a:cxn ang="0">
                  <a:pos x="465" y="418"/>
                </a:cxn>
                <a:cxn ang="0">
                  <a:pos x="709" y="402"/>
                </a:cxn>
                <a:cxn ang="0">
                  <a:pos x="707" y="304"/>
                </a:cxn>
                <a:cxn ang="0">
                  <a:pos x="642" y="165"/>
                </a:cxn>
                <a:cxn ang="0">
                  <a:pos x="696" y="57"/>
                </a:cxn>
                <a:cxn ang="0">
                  <a:pos x="896" y="0"/>
                </a:cxn>
              </a:cxnLst>
              <a:rect l="0" t="0" r="r" b="b"/>
              <a:pathLst>
                <a:path w="1843" h="2318">
                  <a:moveTo>
                    <a:pt x="896" y="0"/>
                  </a:moveTo>
                  <a:lnTo>
                    <a:pt x="946" y="0"/>
                  </a:lnTo>
                  <a:lnTo>
                    <a:pt x="981" y="3"/>
                  </a:lnTo>
                  <a:lnTo>
                    <a:pt x="1018" y="9"/>
                  </a:lnTo>
                  <a:lnTo>
                    <a:pt x="1053" y="17"/>
                  </a:lnTo>
                  <a:lnTo>
                    <a:pt x="1089" y="28"/>
                  </a:lnTo>
                  <a:lnTo>
                    <a:pt x="1122" y="42"/>
                  </a:lnTo>
                  <a:lnTo>
                    <a:pt x="1147" y="56"/>
                  </a:lnTo>
                  <a:lnTo>
                    <a:pt x="1169" y="71"/>
                  </a:lnTo>
                  <a:lnTo>
                    <a:pt x="1187" y="90"/>
                  </a:lnTo>
                  <a:lnTo>
                    <a:pt x="1203" y="110"/>
                  </a:lnTo>
                  <a:lnTo>
                    <a:pt x="1214" y="132"/>
                  </a:lnTo>
                  <a:lnTo>
                    <a:pt x="1218" y="158"/>
                  </a:lnTo>
                  <a:lnTo>
                    <a:pt x="1218" y="180"/>
                  </a:lnTo>
                  <a:lnTo>
                    <a:pt x="1214" y="203"/>
                  </a:lnTo>
                  <a:lnTo>
                    <a:pt x="1208" y="227"/>
                  </a:lnTo>
                  <a:lnTo>
                    <a:pt x="1199" y="249"/>
                  </a:lnTo>
                  <a:lnTo>
                    <a:pt x="1192" y="269"/>
                  </a:lnTo>
                  <a:lnTo>
                    <a:pt x="1187" y="281"/>
                  </a:lnTo>
                  <a:lnTo>
                    <a:pt x="1181" y="292"/>
                  </a:lnTo>
                  <a:lnTo>
                    <a:pt x="1176" y="305"/>
                  </a:lnTo>
                  <a:lnTo>
                    <a:pt x="1172" y="318"/>
                  </a:lnTo>
                  <a:lnTo>
                    <a:pt x="1163" y="340"/>
                  </a:lnTo>
                  <a:lnTo>
                    <a:pt x="1158" y="350"/>
                  </a:lnTo>
                  <a:lnTo>
                    <a:pt x="1156" y="361"/>
                  </a:lnTo>
                  <a:lnTo>
                    <a:pt x="1158" y="373"/>
                  </a:lnTo>
                  <a:lnTo>
                    <a:pt x="1160" y="378"/>
                  </a:lnTo>
                  <a:lnTo>
                    <a:pt x="1165" y="384"/>
                  </a:lnTo>
                  <a:lnTo>
                    <a:pt x="1171" y="390"/>
                  </a:lnTo>
                  <a:lnTo>
                    <a:pt x="1177" y="395"/>
                  </a:lnTo>
                  <a:lnTo>
                    <a:pt x="1192" y="404"/>
                  </a:lnTo>
                  <a:lnTo>
                    <a:pt x="1210" y="410"/>
                  </a:lnTo>
                  <a:lnTo>
                    <a:pt x="1231" y="413"/>
                  </a:lnTo>
                  <a:lnTo>
                    <a:pt x="1253" y="416"/>
                  </a:lnTo>
                  <a:lnTo>
                    <a:pt x="1273" y="417"/>
                  </a:lnTo>
                  <a:lnTo>
                    <a:pt x="1292" y="418"/>
                  </a:lnTo>
                  <a:lnTo>
                    <a:pt x="1349" y="420"/>
                  </a:lnTo>
                  <a:lnTo>
                    <a:pt x="1403" y="417"/>
                  </a:lnTo>
                  <a:lnTo>
                    <a:pt x="1453" y="412"/>
                  </a:lnTo>
                  <a:lnTo>
                    <a:pt x="1502" y="405"/>
                  </a:lnTo>
                  <a:lnTo>
                    <a:pt x="1547" y="395"/>
                  </a:lnTo>
                  <a:lnTo>
                    <a:pt x="1591" y="384"/>
                  </a:lnTo>
                  <a:lnTo>
                    <a:pt x="1633" y="372"/>
                  </a:lnTo>
                  <a:lnTo>
                    <a:pt x="1675" y="360"/>
                  </a:lnTo>
                  <a:lnTo>
                    <a:pt x="1715" y="346"/>
                  </a:lnTo>
                  <a:lnTo>
                    <a:pt x="1756" y="334"/>
                  </a:lnTo>
                  <a:lnTo>
                    <a:pt x="1772" y="394"/>
                  </a:lnTo>
                  <a:lnTo>
                    <a:pt x="1792" y="456"/>
                  </a:lnTo>
                  <a:lnTo>
                    <a:pt x="1810" y="521"/>
                  </a:lnTo>
                  <a:lnTo>
                    <a:pt x="1826" y="587"/>
                  </a:lnTo>
                  <a:lnTo>
                    <a:pt x="1831" y="623"/>
                  </a:lnTo>
                  <a:lnTo>
                    <a:pt x="1834" y="660"/>
                  </a:lnTo>
                  <a:lnTo>
                    <a:pt x="1837" y="698"/>
                  </a:lnTo>
                  <a:lnTo>
                    <a:pt x="1837" y="792"/>
                  </a:lnTo>
                  <a:lnTo>
                    <a:pt x="1835" y="817"/>
                  </a:lnTo>
                  <a:lnTo>
                    <a:pt x="1833" y="842"/>
                  </a:lnTo>
                  <a:lnTo>
                    <a:pt x="1827" y="864"/>
                  </a:lnTo>
                  <a:lnTo>
                    <a:pt x="1818" y="883"/>
                  </a:lnTo>
                  <a:lnTo>
                    <a:pt x="1795" y="877"/>
                  </a:lnTo>
                  <a:lnTo>
                    <a:pt x="1775" y="869"/>
                  </a:lnTo>
                  <a:lnTo>
                    <a:pt x="1755" y="859"/>
                  </a:lnTo>
                  <a:lnTo>
                    <a:pt x="1736" y="850"/>
                  </a:lnTo>
                  <a:lnTo>
                    <a:pt x="1714" y="842"/>
                  </a:lnTo>
                  <a:lnTo>
                    <a:pt x="1691" y="834"/>
                  </a:lnTo>
                  <a:lnTo>
                    <a:pt x="1665" y="830"/>
                  </a:lnTo>
                  <a:lnTo>
                    <a:pt x="1641" y="826"/>
                  </a:lnTo>
                  <a:lnTo>
                    <a:pt x="1616" y="826"/>
                  </a:lnTo>
                  <a:lnTo>
                    <a:pt x="1593" y="827"/>
                  </a:lnTo>
                  <a:lnTo>
                    <a:pt x="1573" y="833"/>
                  </a:lnTo>
                  <a:lnTo>
                    <a:pt x="1562" y="838"/>
                  </a:lnTo>
                  <a:lnTo>
                    <a:pt x="1554" y="844"/>
                  </a:lnTo>
                  <a:lnTo>
                    <a:pt x="1550" y="849"/>
                  </a:lnTo>
                  <a:lnTo>
                    <a:pt x="1547" y="850"/>
                  </a:lnTo>
                  <a:lnTo>
                    <a:pt x="1543" y="850"/>
                  </a:lnTo>
                  <a:lnTo>
                    <a:pt x="1540" y="852"/>
                  </a:lnTo>
                  <a:lnTo>
                    <a:pt x="1537" y="853"/>
                  </a:lnTo>
                  <a:lnTo>
                    <a:pt x="1515" y="871"/>
                  </a:lnTo>
                  <a:lnTo>
                    <a:pt x="1495" y="893"/>
                  </a:lnTo>
                  <a:lnTo>
                    <a:pt x="1478" y="917"/>
                  </a:lnTo>
                  <a:lnTo>
                    <a:pt x="1464" y="942"/>
                  </a:lnTo>
                  <a:lnTo>
                    <a:pt x="1462" y="945"/>
                  </a:lnTo>
                  <a:lnTo>
                    <a:pt x="1461" y="949"/>
                  </a:lnTo>
                  <a:lnTo>
                    <a:pt x="1457" y="953"/>
                  </a:lnTo>
                  <a:lnTo>
                    <a:pt x="1456" y="956"/>
                  </a:lnTo>
                  <a:lnTo>
                    <a:pt x="1453" y="960"/>
                  </a:lnTo>
                  <a:lnTo>
                    <a:pt x="1449" y="974"/>
                  </a:lnTo>
                  <a:lnTo>
                    <a:pt x="1441" y="1006"/>
                  </a:lnTo>
                  <a:lnTo>
                    <a:pt x="1434" y="1026"/>
                  </a:lnTo>
                  <a:lnTo>
                    <a:pt x="1427" y="1064"/>
                  </a:lnTo>
                  <a:lnTo>
                    <a:pt x="1423" y="1106"/>
                  </a:lnTo>
                  <a:lnTo>
                    <a:pt x="1421" y="1151"/>
                  </a:lnTo>
                  <a:lnTo>
                    <a:pt x="1422" y="1196"/>
                  </a:lnTo>
                  <a:lnTo>
                    <a:pt x="1425" y="1239"/>
                  </a:lnTo>
                  <a:lnTo>
                    <a:pt x="1430" y="1279"/>
                  </a:lnTo>
                  <a:lnTo>
                    <a:pt x="1438" y="1314"/>
                  </a:lnTo>
                  <a:lnTo>
                    <a:pt x="1444" y="1333"/>
                  </a:lnTo>
                  <a:lnTo>
                    <a:pt x="1461" y="1375"/>
                  </a:lnTo>
                  <a:lnTo>
                    <a:pt x="1468" y="1391"/>
                  </a:lnTo>
                  <a:lnTo>
                    <a:pt x="1469" y="1392"/>
                  </a:lnTo>
                  <a:lnTo>
                    <a:pt x="1472" y="1392"/>
                  </a:lnTo>
                  <a:lnTo>
                    <a:pt x="1475" y="1393"/>
                  </a:lnTo>
                  <a:lnTo>
                    <a:pt x="1476" y="1394"/>
                  </a:lnTo>
                  <a:lnTo>
                    <a:pt x="1478" y="1397"/>
                  </a:lnTo>
                  <a:lnTo>
                    <a:pt x="1478" y="1400"/>
                  </a:lnTo>
                  <a:lnTo>
                    <a:pt x="1480" y="1405"/>
                  </a:lnTo>
                  <a:lnTo>
                    <a:pt x="1489" y="1417"/>
                  </a:lnTo>
                  <a:lnTo>
                    <a:pt x="1508" y="1439"/>
                  </a:lnTo>
                  <a:lnTo>
                    <a:pt x="1518" y="1448"/>
                  </a:lnTo>
                  <a:lnTo>
                    <a:pt x="1524" y="1450"/>
                  </a:lnTo>
                  <a:lnTo>
                    <a:pt x="1531" y="1453"/>
                  </a:lnTo>
                  <a:lnTo>
                    <a:pt x="1537" y="1455"/>
                  </a:lnTo>
                  <a:lnTo>
                    <a:pt x="1545" y="1462"/>
                  </a:lnTo>
                  <a:lnTo>
                    <a:pt x="1550" y="1465"/>
                  </a:lnTo>
                  <a:lnTo>
                    <a:pt x="1553" y="1467"/>
                  </a:lnTo>
                  <a:lnTo>
                    <a:pt x="1575" y="1475"/>
                  </a:lnTo>
                  <a:lnTo>
                    <a:pt x="1596" y="1478"/>
                  </a:lnTo>
                  <a:lnTo>
                    <a:pt x="1620" y="1478"/>
                  </a:lnTo>
                  <a:lnTo>
                    <a:pt x="1642" y="1475"/>
                  </a:lnTo>
                  <a:lnTo>
                    <a:pt x="1661" y="1467"/>
                  </a:lnTo>
                  <a:lnTo>
                    <a:pt x="1680" y="1459"/>
                  </a:lnTo>
                  <a:lnTo>
                    <a:pt x="1697" y="1449"/>
                  </a:lnTo>
                  <a:lnTo>
                    <a:pt x="1714" y="1441"/>
                  </a:lnTo>
                  <a:lnTo>
                    <a:pt x="1731" y="1431"/>
                  </a:lnTo>
                  <a:lnTo>
                    <a:pt x="1749" y="1421"/>
                  </a:lnTo>
                  <a:lnTo>
                    <a:pt x="1766" y="1413"/>
                  </a:lnTo>
                  <a:lnTo>
                    <a:pt x="1786" y="1405"/>
                  </a:lnTo>
                  <a:lnTo>
                    <a:pt x="1808" y="1400"/>
                  </a:lnTo>
                  <a:lnTo>
                    <a:pt x="1833" y="1398"/>
                  </a:lnTo>
                  <a:lnTo>
                    <a:pt x="1840" y="1416"/>
                  </a:lnTo>
                  <a:lnTo>
                    <a:pt x="1843" y="1436"/>
                  </a:lnTo>
                  <a:lnTo>
                    <a:pt x="1842" y="1455"/>
                  </a:lnTo>
                  <a:lnTo>
                    <a:pt x="1842" y="1560"/>
                  </a:lnTo>
                  <a:lnTo>
                    <a:pt x="1837" y="1626"/>
                  </a:lnTo>
                  <a:lnTo>
                    <a:pt x="1828" y="1689"/>
                  </a:lnTo>
                  <a:lnTo>
                    <a:pt x="1817" y="1750"/>
                  </a:lnTo>
                  <a:lnTo>
                    <a:pt x="1805" y="1808"/>
                  </a:lnTo>
                  <a:lnTo>
                    <a:pt x="1790" y="1863"/>
                  </a:lnTo>
                  <a:lnTo>
                    <a:pt x="1776" y="1916"/>
                  </a:lnTo>
                  <a:lnTo>
                    <a:pt x="1772" y="1933"/>
                  </a:lnTo>
                  <a:lnTo>
                    <a:pt x="1762" y="1967"/>
                  </a:lnTo>
                  <a:lnTo>
                    <a:pt x="1753" y="1982"/>
                  </a:lnTo>
                  <a:lnTo>
                    <a:pt x="1707" y="1966"/>
                  </a:lnTo>
                  <a:lnTo>
                    <a:pt x="1659" y="1954"/>
                  </a:lnTo>
                  <a:lnTo>
                    <a:pt x="1610" y="1943"/>
                  </a:lnTo>
                  <a:lnTo>
                    <a:pt x="1564" y="1931"/>
                  </a:lnTo>
                  <a:lnTo>
                    <a:pt x="1515" y="1919"/>
                  </a:lnTo>
                  <a:lnTo>
                    <a:pt x="1464" y="1909"/>
                  </a:lnTo>
                  <a:lnTo>
                    <a:pt x="1428" y="1904"/>
                  </a:lnTo>
                  <a:lnTo>
                    <a:pt x="1388" y="1901"/>
                  </a:lnTo>
                  <a:lnTo>
                    <a:pt x="1343" y="1899"/>
                  </a:lnTo>
                  <a:lnTo>
                    <a:pt x="1295" y="1897"/>
                  </a:lnTo>
                  <a:lnTo>
                    <a:pt x="1276" y="1897"/>
                  </a:lnTo>
                  <a:lnTo>
                    <a:pt x="1254" y="1896"/>
                  </a:lnTo>
                  <a:lnTo>
                    <a:pt x="1210" y="1896"/>
                  </a:lnTo>
                  <a:lnTo>
                    <a:pt x="1188" y="1897"/>
                  </a:lnTo>
                  <a:lnTo>
                    <a:pt x="1169" y="1899"/>
                  </a:lnTo>
                  <a:lnTo>
                    <a:pt x="1153" y="1903"/>
                  </a:lnTo>
                  <a:lnTo>
                    <a:pt x="1139" y="1909"/>
                  </a:lnTo>
                  <a:lnTo>
                    <a:pt x="1131" y="1916"/>
                  </a:lnTo>
                  <a:lnTo>
                    <a:pt x="1125" y="1932"/>
                  </a:lnTo>
                  <a:lnTo>
                    <a:pt x="1122" y="1950"/>
                  </a:lnTo>
                  <a:lnTo>
                    <a:pt x="1124" y="1970"/>
                  </a:lnTo>
                  <a:lnTo>
                    <a:pt x="1127" y="1989"/>
                  </a:lnTo>
                  <a:lnTo>
                    <a:pt x="1133" y="2011"/>
                  </a:lnTo>
                  <a:lnTo>
                    <a:pt x="1143" y="2031"/>
                  </a:lnTo>
                  <a:lnTo>
                    <a:pt x="1154" y="2050"/>
                  </a:lnTo>
                  <a:lnTo>
                    <a:pt x="1161" y="2065"/>
                  </a:lnTo>
                  <a:lnTo>
                    <a:pt x="1171" y="2081"/>
                  </a:lnTo>
                  <a:lnTo>
                    <a:pt x="1180" y="2100"/>
                  </a:lnTo>
                  <a:lnTo>
                    <a:pt x="1189" y="2120"/>
                  </a:lnTo>
                  <a:lnTo>
                    <a:pt x="1197" y="2138"/>
                  </a:lnTo>
                  <a:lnTo>
                    <a:pt x="1203" y="2157"/>
                  </a:lnTo>
                  <a:lnTo>
                    <a:pt x="1204" y="2173"/>
                  </a:lnTo>
                  <a:lnTo>
                    <a:pt x="1199" y="2197"/>
                  </a:lnTo>
                  <a:lnTo>
                    <a:pt x="1187" y="2221"/>
                  </a:lnTo>
                  <a:lnTo>
                    <a:pt x="1171" y="2241"/>
                  </a:lnTo>
                  <a:lnTo>
                    <a:pt x="1152" y="2258"/>
                  </a:lnTo>
                  <a:lnTo>
                    <a:pt x="1131" y="2273"/>
                  </a:lnTo>
                  <a:lnTo>
                    <a:pt x="1103" y="2288"/>
                  </a:lnTo>
                  <a:lnTo>
                    <a:pt x="1069" y="2299"/>
                  </a:lnTo>
                  <a:lnTo>
                    <a:pt x="1032" y="2307"/>
                  </a:lnTo>
                  <a:lnTo>
                    <a:pt x="993" y="2313"/>
                  </a:lnTo>
                  <a:lnTo>
                    <a:pt x="952" y="2317"/>
                  </a:lnTo>
                  <a:lnTo>
                    <a:pt x="911" y="2318"/>
                  </a:lnTo>
                  <a:lnTo>
                    <a:pt x="870" y="2316"/>
                  </a:lnTo>
                  <a:lnTo>
                    <a:pt x="830" y="2312"/>
                  </a:lnTo>
                  <a:lnTo>
                    <a:pt x="794" y="2305"/>
                  </a:lnTo>
                  <a:lnTo>
                    <a:pt x="761" y="2296"/>
                  </a:lnTo>
                  <a:lnTo>
                    <a:pt x="732" y="2285"/>
                  </a:lnTo>
                  <a:lnTo>
                    <a:pt x="720" y="2279"/>
                  </a:lnTo>
                  <a:lnTo>
                    <a:pt x="705" y="2271"/>
                  </a:lnTo>
                  <a:lnTo>
                    <a:pt x="692" y="2261"/>
                  </a:lnTo>
                  <a:lnTo>
                    <a:pt x="678" y="2250"/>
                  </a:lnTo>
                  <a:lnTo>
                    <a:pt x="666" y="2240"/>
                  </a:lnTo>
                  <a:lnTo>
                    <a:pt x="659" y="2232"/>
                  </a:lnTo>
                  <a:lnTo>
                    <a:pt x="648" y="2218"/>
                  </a:lnTo>
                  <a:lnTo>
                    <a:pt x="639" y="2205"/>
                  </a:lnTo>
                  <a:lnTo>
                    <a:pt x="628" y="2178"/>
                  </a:lnTo>
                  <a:lnTo>
                    <a:pt x="626" y="2151"/>
                  </a:lnTo>
                  <a:lnTo>
                    <a:pt x="627" y="2124"/>
                  </a:lnTo>
                  <a:lnTo>
                    <a:pt x="633" y="2099"/>
                  </a:lnTo>
                  <a:lnTo>
                    <a:pt x="642" y="2073"/>
                  </a:lnTo>
                  <a:lnTo>
                    <a:pt x="650" y="2050"/>
                  </a:lnTo>
                  <a:lnTo>
                    <a:pt x="657" y="2033"/>
                  </a:lnTo>
                  <a:lnTo>
                    <a:pt x="666" y="2016"/>
                  </a:lnTo>
                  <a:lnTo>
                    <a:pt x="673" y="2000"/>
                  </a:lnTo>
                  <a:lnTo>
                    <a:pt x="679" y="1983"/>
                  </a:lnTo>
                  <a:lnTo>
                    <a:pt x="684" y="1965"/>
                  </a:lnTo>
                  <a:lnTo>
                    <a:pt x="685" y="1943"/>
                  </a:lnTo>
                  <a:lnTo>
                    <a:pt x="672" y="1929"/>
                  </a:lnTo>
                  <a:lnTo>
                    <a:pt x="656" y="1919"/>
                  </a:lnTo>
                  <a:lnTo>
                    <a:pt x="637" y="1912"/>
                  </a:lnTo>
                  <a:lnTo>
                    <a:pt x="616" y="1907"/>
                  </a:lnTo>
                  <a:lnTo>
                    <a:pt x="593" y="1903"/>
                  </a:lnTo>
                  <a:lnTo>
                    <a:pt x="547" y="1901"/>
                  </a:lnTo>
                  <a:lnTo>
                    <a:pt x="503" y="1901"/>
                  </a:lnTo>
                  <a:lnTo>
                    <a:pt x="458" y="1902"/>
                  </a:lnTo>
                  <a:lnTo>
                    <a:pt x="415" y="1904"/>
                  </a:lnTo>
                  <a:lnTo>
                    <a:pt x="374" y="1909"/>
                  </a:lnTo>
                  <a:lnTo>
                    <a:pt x="312" y="1920"/>
                  </a:lnTo>
                  <a:lnTo>
                    <a:pt x="252" y="1936"/>
                  </a:lnTo>
                  <a:lnTo>
                    <a:pt x="195" y="1952"/>
                  </a:lnTo>
                  <a:lnTo>
                    <a:pt x="140" y="1969"/>
                  </a:lnTo>
                  <a:lnTo>
                    <a:pt x="87" y="1982"/>
                  </a:lnTo>
                  <a:lnTo>
                    <a:pt x="73" y="1932"/>
                  </a:lnTo>
                  <a:lnTo>
                    <a:pt x="58" y="1881"/>
                  </a:lnTo>
                  <a:lnTo>
                    <a:pt x="40" y="1828"/>
                  </a:lnTo>
                  <a:lnTo>
                    <a:pt x="25" y="1772"/>
                  </a:lnTo>
                  <a:lnTo>
                    <a:pt x="12" y="1713"/>
                  </a:lnTo>
                  <a:lnTo>
                    <a:pt x="5" y="1655"/>
                  </a:lnTo>
                  <a:lnTo>
                    <a:pt x="4" y="1617"/>
                  </a:lnTo>
                  <a:lnTo>
                    <a:pt x="4" y="1577"/>
                  </a:lnTo>
                  <a:lnTo>
                    <a:pt x="5" y="1537"/>
                  </a:lnTo>
                  <a:lnTo>
                    <a:pt x="6" y="1515"/>
                  </a:lnTo>
                  <a:lnTo>
                    <a:pt x="8" y="1492"/>
                  </a:lnTo>
                  <a:lnTo>
                    <a:pt x="10" y="1471"/>
                  </a:lnTo>
                  <a:lnTo>
                    <a:pt x="16" y="1450"/>
                  </a:lnTo>
                  <a:lnTo>
                    <a:pt x="25" y="1432"/>
                  </a:lnTo>
                  <a:lnTo>
                    <a:pt x="53" y="1443"/>
                  </a:lnTo>
                  <a:lnTo>
                    <a:pt x="81" y="1456"/>
                  </a:lnTo>
                  <a:lnTo>
                    <a:pt x="109" y="1469"/>
                  </a:lnTo>
                  <a:lnTo>
                    <a:pt x="135" y="1479"/>
                  </a:lnTo>
                  <a:lnTo>
                    <a:pt x="165" y="1488"/>
                  </a:lnTo>
                  <a:lnTo>
                    <a:pt x="193" y="1494"/>
                  </a:lnTo>
                  <a:lnTo>
                    <a:pt x="223" y="1495"/>
                  </a:lnTo>
                  <a:lnTo>
                    <a:pt x="255" y="1490"/>
                  </a:lnTo>
                  <a:lnTo>
                    <a:pt x="275" y="1483"/>
                  </a:lnTo>
                  <a:lnTo>
                    <a:pt x="297" y="1471"/>
                  </a:lnTo>
                  <a:lnTo>
                    <a:pt x="318" y="1456"/>
                  </a:lnTo>
                  <a:lnTo>
                    <a:pt x="336" y="1441"/>
                  </a:lnTo>
                  <a:lnTo>
                    <a:pt x="351" y="1425"/>
                  </a:lnTo>
                  <a:lnTo>
                    <a:pt x="353" y="1419"/>
                  </a:lnTo>
                  <a:lnTo>
                    <a:pt x="357" y="1411"/>
                  </a:lnTo>
                  <a:lnTo>
                    <a:pt x="359" y="1405"/>
                  </a:lnTo>
                  <a:lnTo>
                    <a:pt x="362" y="1402"/>
                  </a:lnTo>
                  <a:lnTo>
                    <a:pt x="369" y="1397"/>
                  </a:lnTo>
                  <a:lnTo>
                    <a:pt x="371" y="1393"/>
                  </a:lnTo>
                  <a:lnTo>
                    <a:pt x="374" y="1391"/>
                  </a:lnTo>
                  <a:lnTo>
                    <a:pt x="381" y="1372"/>
                  </a:lnTo>
                  <a:lnTo>
                    <a:pt x="390" y="1352"/>
                  </a:lnTo>
                  <a:lnTo>
                    <a:pt x="398" y="1332"/>
                  </a:lnTo>
                  <a:lnTo>
                    <a:pt x="404" y="1314"/>
                  </a:lnTo>
                  <a:lnTo>
                    <a:pt x="412" y="1280"/>
                  </a:lnTo>
                  <a:lnTo>
                    <a:pt x="418" y="1241"/>
                  </a:lnTo>
                  <a:lnTo>
                    <a:pt x="421" y="1201"/>
                  </a:lnTo>
                  <a:lnTo>
                    <a:pt x="421" y="1158"/>
                  </a:lnTo>
                  <a:lnTo>
                    <a:pt x="420" y="1117"/>
                  </a:lnTo>
                  <a:lnTo>
                    <a:pt x="417" y="1077"/>
                  </a:lnTo>
                  <a:lnTo>
                    <a:pt x="412" y="1039"/>
                  </a:lnTo>
                  <a:lnTo>
                    <a:pt x="404" y="1006"/>
                  </a:lnTo>
                  <a:lnTo>
                    <a:pt x="398" y="987"/>
                  </a:lnTo>
                  <a:lnTo>
                    <a:pt x="391" y="966"/>
                  </a:lnTo>
                  <a:lnTo>
                    <a:pt x="382" y="945"/>
                  </a:lnTo>
                  <a:lnTo>
                    <a:pt x="374" y="929"/>
                  </a:lnTo>
                  <a:lnTo>
                    <a:pt x="373" y="928"/>
                  </a:lnTo>
                  <a:lnTo>
                    <a:pt x="370" y="927"/>
                  </a:lnTo>
                  <a:lnTo>
                    <a:pt x="368" y="927"/>
                  </a:lnTo>
                  <a:lnTo>
                    <a:pt x="367" y="926"/>
                  </a:lnTo>
                  <a:lnTo>
                    <a:pt x="365" y="923"/>
                  </a:lnTo>
                  <a:lnTo>
                    <a:pt x="364" y="920"/>
                  </a:lnTo>
                  <a:lnTo>
                    <a:pt x="364" y="916"/>
                  </a:lnTo>
                  <a:lnTo>
                    <a:pt x="363" y="914"/>
                  </a:lnTo>
                  <a:lnTo>
                    <a:pt x="343" y="892"/>
                  </a:lnTo>
                  <a:lnTo>
                    <a:pt x="323" y="875"/>
                  </a:lnTo>
                  <a:lnTo>
                    <a:pt x="301" y="860"/>
                  </a:lnTo>
                  <a:lnTo>
                    <a:pt x="291" y="854"/>
                  </a:lnTo>
                  <a:lnTo>
                    <a:pt x="281" y="849"/>
                  </a:lnTo>
                  <a:lnTo>
                    <a:pt x="260" y="842"/>
                  </a:lnTo>
                  <a:lnTo>
                    <a:pt x="241" y="839"/>
                  </a:lnTo>
                  <a:lnTo>
                    <a:pt x="224" y="839"/>
                  </a:lnTo>
                  <a:lnTo>
                    <a:pt x="208" y="843"/>
                  </a:lnTo>
                  <a:lnTo>
                    <a:pt x="191" y="849"/>
                  </a:lnTo>
                  <a:lnTo>
                    <a:pt x="174" y="856"/>
                  </a:lnTo>
                  <a:lnTo>
                    <a:pt x="146" y="870"/>
                  </a:lnTo>
                  <a:lnTo>
                    <a:pt x="121" y="883"/>
                  </a:lnTo>
                  <a:lnTo>
                    <a:pt x="104" y="893"/>
                  </a:lnTo>
                  <a:lnTo>
                    <a:pt x="87" y="901"/>
                  </a:lnTo>
                  <a:lnTo>
                    <a:pt x="68" y="910"/>
                  </a:lnTo>
                  <a:lnTo>
                    <a:pt x="49" y="916"/>
                  </a:lnTo>
                  <a:lnTo>
                    <a:pt x="28" y="918"/>
                  </a:lnTo>
                  <a:lnTo>
                    <a:pt x="5" y="918"/>
                  </a:lnTo>
                  <a:lnTo>
                    <a:pt x="0" y="844"/>
                  </a:lnTo>
                  <a:lnTo>
                    <a:pt x="0" y="774"/>
                  </a:lnTo>
                  <a:lnTo>
                    <a:pt x="5" y="704"/>
                  </a:lnTo>
                  <a:lnTo>
                    <a:pt x="14" y="637"/>
                  </a:lnTo>
                  <a:lnTo>
                    <a:pt x="25" y="574"/>
                  </a:lnTo>
                  <a:lnTo>
                    <a:pt x="37" y="512"/>
                  </a:lnTo>
                  <a:lnTo>
                    <a:pt x="51" y="455"/>
                  </a:lnTo>
                  <a:lnTo>
                    <a:pt x="67" y="400"/>
                  </a:lnTo>
                  <a:lnTo>
                    <a:pt x="71" y="384"/>
                  </a:lnTo>
                  <a:lnTo>
                    <a:pt x="75" y="367"/>
                  </a:lnTo>
                  <a:lnTo>
                    <a:pt x="81" y="351"/>
                  </a:lnTo>
                  <a:lnTo>
                    <a:pt x="90" y="338"/>
                  </a:lnTo>
                  <a:lnTo>
                    <a:pt x="157" y="359"/>
                  </a:lnTo>
                  <a:lnTo>
                    <a:pt x="229" y="377"/>
                  </a:lnTo>
                  <a:lnTo>
                    <a:pt x="305" y="394"/>
                  </a:lnTo>
                  <a:lnTo>
                    <a:pt x="382" y="409"/>
                  </a:lnTo>
                  <a:lnTo>
                    <a:pt x="465" y="418"/>
                  </a:lnTo>
                  <a:lnTo>
                    <a:pt x="550" y="423"/>
                  </a:lnTo>
                  <a:lnTo>
                    <a:pt x="639" y="423"/>
                  </a:lnTo>
                  <a:lnTo>
                    <a:pt x="664" y="422"/>
                  </a:lnTo>
                  <a:lnTo>
                    <a:pt x="683" y="418"/>
                  </a:lnTo>
                  <a:lnTo>
                    <a:pt x="698" y="412"/>
                  </a:lnTo>
                  <a:lnTo>
                    <a:pt x="709" y="402"/>
                  </a:lnTo>
                  <a:lnTo>
                    <a:pt x="716" y="388"/>
                  </a:lnTo>
                  <a:lnTo>
                    <a:pt x="720" y="374"/>
                  </a:lnTo>
                  <a:lnTo>
                    <a:pt x="720" y="360"/>
                  </a:lnTo>
                  <a:lnTo>
                    <a:pt x="718" y="345"/>
                  </a:lnTo>
                  <a:lnTo>
                    <a:pt x="716" y="331"/>
                  </a:lnTo>
                  <a:lnTo>
                    <a:pt x="707" y="304"/>
                  </a:lnTo>
                  <a:lnTo>
                    <a:pt x="696" y="278"/>
                  </a:lnTo>
                  <a:lnTo>
                    <a:pt x="683" y="255"/>
                  </a:lnTo>
                  <a:lnTo>
                    <a:pt x="670" y="233"/>
                  </a:lnTo>
                  <a:lnTo>
                    <a:pt x="659" y="211"/>
                  </a:lnTo>
                  <a:lnTo>
                    <a:pt x="649" y="188"/>
                  </a:lnTo>
                  <a:lnTo>
                    <a:pt x="642" y="165"/>
                  </a:lnTo>
                  <a:lnTo>
                    <a:pt x="639" y="142"/>
                  </a:lnTo>
                  <a:lnTo>
                    <a:pt x="643" y="125"/>
                  </a:lnTo>
                  <a:lnTo>
                    <a:pt x="650" y="108"/>
                  </a:lnTo>
                  <a:lnTo>
                    <a:pt x="661" y="92"/>
                  </a:lnTo>
                  <a:lnTo>
                    <a:pt x="673" y="78"/>
                  </a:lnTo>
                  <a:lnTo>
                    <a:pt x="696" y="57"/>
                  </a:lnTo>
                  <a:lnTo>
                    <a:pt x="724" y="40"/>
                  </a:lnTo>
                  <a:lnTo>
                    <a:pt x="756" y="26"/>
                  </a:lnTo>
                  <a:lnTo>
                    <a:pt x="789" y="17"/>
                  </a:lnTo>
                  <a:lnTo>
                    <a:pt x="824" y="9"/>
                  </a:lnTo>
                  <a:lnTo>
                    <a:pt x="859" y="3"/>
                  </a:lnTo>
                  <a:lnTo>
                    <a:pt x="896" y="0"/>
                  </a:lnTo>
                  <a:close/>
                </a:path>
              </a:pathLst>
            </a:custGeom>
            <a:grpFill/>
            <a:ln w="12700" cap="flat" cmpd="sng" algn="ctr">
              <a:solidFill>
                <a:schemeClr val="bg1"/>
              </a:solidFill>
              <a:prstDash val="solid"/>
            </a:ln>
            <a:effectLst/>
          </p:spPr>
          <p:txBody>
            <a:bodyPr lIns="36000" tIns="36000" rIns="36000" bIns="36000" anchor="ctr"/>
            <a:lstStyle/>
            <a:p>
              <a:pPr>
                <a:defRPr/>
              </a:pPr>
              <a:endParaRPr lang="en-US" sz="1400" b="1" kern="0" dirty="0">
                <a:solidFill>
                  <a:schemeClr val="bg1"/>
                </a:solidFill>
              </a:endParaRPr>
            </a:p>
          </p:txBody>
        </p:sp>
        <p:sp>
          <p:nvSpPr>
            <p:cNvPr id="73" name="Rectangle 16"/>
            <p:cNvSpPr>
              <a:spLocks noChangeArrowheads="1"/>
            </p:cNvSpPr>
            <p:nvPr/>
          </p:nvSpPr>
          <p:spPr bwMode="gray">
            <a:xfrm rot="2074318">
              <a:off x="969114" y="2101941"/>
              <a:ext cx="966212" cy="966182"/>
            </a:xfrm>
            <a:prstGeom prst="rect">
              <a:avLst/>
            </a:prstGeom>
            <a:grpFill/>
            <a:ln w="12700" cap="flat" cmpd="sng" algn="ctr">
              <a:noFill/>
              <a:prstDash val="solid"/>
            </a:ln>
            <a:effectLst/>
          </p:spPr>
          <p:txBody>
            <a:bodyPr lIns="36000" tIns="36000" rIns="36000" bIns="36000" anchor="ctr"/>
            <a:lstStyle/>
            <a:p>
              <a:pPr lvl="0" algn="ctr" fontAlgn="base">
                <a:spcBef>
                  <a:spcPct val="0"/>
                </a:spcBef>
                <a:spcAft>
                  <a:spcPct val="0"/>
                </a:spcAft>
                <a:defRPr/>
              </a:pPr>
              <a:r>
                <a:rPr lang="en-US" sz="1400" b="1" kern="0" dirty="0">
                  <a:solidFill>
                    <a:schemeClr val="bg1"/>
                  </a:solidFill>
                </a:rPr>
                <a:t>Text</a:t>
              </a:r>
            </a:p>
          </p:txBody>
        </p:sp>
      </p:grpSp>
      <p:sp>
        <p:nvSpPr>
          <p:cNvPr id="75" name="AutoShape 13"/>
          <p:cNvSpPr>
            <a:spLocks/>
          </p:cNvSpPr>
          <p:nvPr/>
        </p:nvSpPr>
        <p:spPr bwMode="gray">
          <a:xfrm rot="372802">
            <a:off x="3153472" y="2503718"/>
            <a:ext cx="1730375" cy="1379220"/>
          </a:xfrm>
          <a:custGeom>
            <a:avLst/>
            <a:gdLst>
              <a:gd name="T0" fmla="*/ 1825 w 2318"/>
              <a:gd name="T1" fmla="*/ 43 h 1845"/>
              <a:gd name="T2" fmla="*/ 1959 w 2318"/>
              <a:gd name="T3" fmla="*/ 161 h 1845"/>
              <a:gd name="T4" fmla="*/ 1895 w 2318"/>
              <a:gd name="T5" fmla="*/ 545 h 1845"/>
              <a:gd name="T6" fmla="*/ 1900 w 2318"/>
              <a:gd name="T7" fmla="*/ 685 h 1845"/>
              <a:gd name="T8" fmla="*/ 1984 w 2318"/>
              <a:gd name="T9" fmla="*/ 716 h 1845"/>
              <a:gd name="T10" fmla="*/ 2106 w 2318"/>
              <a:gd name="T11" fmla="*/ 661 h 1845"/>
              <a:gd name="T12" fmla="*/ 2204 w 2318"/>
              <a:gd name="T13" fmla="*/ 648 h 1845"/>
              <a:gd name="T14" fmla="*/ 2282 w 2318"/>
              <a:gd name="T15" fmla="*/ 735 h 1845"/>
              <a:gd name="T16" fmla="*/ 2318 w 2318"/>
              <a:gd name="T17" fmla="*/ 930 h 1845"/>
              <a:gd name="T18" fmla="*/ 2275 w 2318"/>
              <a:gd name="T19" fmla="*/ 1130 h 1845"/>
              <a:gd name="T20" fmla="*/ 2256 w 2318"/>
              <a:gd name="T21" fmla="*/ 1156 h 1845"/>
              <a:gd name="T22" fmla="*/ 2122 w 2318"/>
              <a:gd name="T23" fmla="*/ 1216 h 1845"/>
              <a:gd name="T24" fmla="*/ 1991 w 2318"/>
              <a:gd name="T25" fmla="*/ 1166 h 1845"/>
              <a:gd name="T26" fmla="*/ 1916 w 2318"/>
              <a:gd name="T27" fmla="*/ 1187 h 1845"/>
              <a:gd name="T28" fmla="*/ 1898 w 2318"/>
              <a:gd name="T29" fmla="*/ 1357 h 1845"/>
              <a:gd name="T30" fmla="*/ 1934 w 2318"/>
              <a:gd name="T31" fmla="*/ 1596 h 1845"/>
              <a:gd name="T32" fmla="*/ 1875 w 2318"/>
              <a:gd name="T33" fmla="*/ 1788 h 1845"/>
              <a:gd name="T34" fmla="*/ 1540 w 2318"/>
              <a:gd name="T35" fmla="*/ 1839 h 1845"/>
              <a:gd name="T36" fmla="*/ 1455 w 2318"/>
              <a:gd name="T37" fmla="*/ 1761 h 1845"/>
              <a:gd name="T38" fmla="*/ 1478 w 2318"/>
              <a:gd name="T39" fmla="*/ 1559 h 1845"/>
              <a:gd name="T40" fmla="*/ 1337 w 2318"/>
              <a:gd name="T41" fmla="*/ 1448 h 1845"/>
              <a:gd name="T42" fmla="*/ 1079 w 2318"/>
              <a:gd name="T43" fmla="*/ 1425 h 1845"/>
              <a:gd name="T44" fmla="*/ 886 w 2318"/>
              <a:gd name="T45" fmla="*/ 1503 h 1845"/>
              <a:gd name="T46" fmla="*/ 844 w 2318"/>
              <a:gd name="T47" fmla="*/ 1637 h 1845"/>
              <a:gd name="T48" fmla="*/ 903 w 2318"/>
              <a:gd name="T49" fmla="*/ 1762 h 1845"/>
              <a:gd name="T50" fmla="*/ 821 w 2318"/>
              <a:gd name="T51" fmla="*/ 1844 h 1845"/>
              <a:gd name="T52" fmla="*/ 398 w 2318"/>
              <a:gd name="T53" fmla="*/ 1777 h 1845"/>
              <a:gd name="T54" fmla="*/ 412 w 2318"/>
              <a:gd name="T55" fmla="*/ 1422 h 1845"/>
              <a:gd name="T56" fmla="*/ 420 w 2318"/>
              <a:gd name="T57" fmla="*/ 1186 h 1845"/>
              <a:gd name="T58" fmla="*/ 364 w 2318"/>
              <a:gd name="T59" fmla="*/ 1122 h 1845"/>
              <a:gd name="T60" fmla="*/ 250 w 2318"/>
              <a:gd name="T61" fmla="*/ 1162 h 1845"/>
              <a:gd name="T62" fmla="*/ 148 w 2318"/>
              <a:gd name="T63" fmla="*/ 1206 h 1845"/>
              <a:gd name="T64" fmla="*/ 64 w 2318"/>
              <a:gd name="T65" fmla="*/ 1160 h 1845"/>
              <a:gd name="T66" fmla="*/ 56 w 2318"/>
              <a:gd name="T67" fmla="*/ 1145 h 1845"/>
              <a:gd name="T68" fmla="*/ 21 w 2318"/>
              <a:gd name="T69" fmla="*/ 1076 h 1845"/>
              <a:gd name="T70" fmla="*/ 7 w 2318"/>
              <a:gd name="T71" fmla="*/ 830 h 1845"/>
              <a:gd name="T72" fmla="*/ 78 w 2318"/>
              <a:gd name="T73" fmla="*/ 665 h 1845"/>
              <a:gd name="T74" fmla="*/ 217 w 2318"/>
              <a:gd name="T75" fmla="*/ 634 h 1845"/>
              <a:gd name="T76" fmla="*/ 340 w 2318"/>
              <a:gd name="T77" fmla="*/ 682 h 1845"/>
              <a:gd name="T78" fmla="*/ 407 w 2318"/>
              <a:gd name="T79" fmla="*/ 633 h 1845"/>
              <a:gd name="T80" fmla="*/ 415 w 2318"/>
              <a:gd name="T81" fmla="*/ 458 h 1845"/>
              <a:gd name="T82" fmla="*/ 357 w 2318"/>
              <a:gd name="T83" fmla="*/ 169 h 1845"/>
              <a:gd name="T84" fmla="*/ 536 w 2318"/>
              <a:gd name="T85" fmla="*/ 28 h 1845"/>
              <a:gd name="T86" fmla="*/ 816 w 2318"/>
              <a:gd name="T87" fmla="*/ 7 h 1845"/>
              <a:gd name="T88" fmla="*/ 868 w 2318"/>
              <a:gd name="T89" fmla="*/ 61 h 1845"/>
              <a:gd name="T90" fmla="*/ 821 w 2318"/>
              <a:gd name="T91" fmla="*/ 220 h 1845"/>
              <a:gd name="T92" fmla="*/ 878 w 2318"/>
              <a:gd name="T93" fmla="*/ 338 h 1845"/>
              <a:gd name="T94" fmla="*/ 894 w 2318"/>
              <a:gd name="T95" fmla="*/ 347 h 1845"/>
              <a:gd name="T96" fmla="*/ 908 w 2318"/>
              <a:gd name="T97" fmla="*/ 358 h 1845"/>
              <a:gd name="T98" fmla="*/ 935 w 2318"/>
              <a:gd name="T99" fmla="*/ 376 h 1845"/>
              <a:gd name="T100" fmla="*/ 1180 w 2318"/>
              <a:gd name="T101" fmla="*/ 421 h 1845"/>
              <a:gd name="T102" fmla="*/ 1377 w 2318"/>
              <a:gd name="T103" fmla="*/ 381 h 1845"/>
              <a:gd name="T104" fmla="*/ 1441 w 2318"/>
              <a:gd name="T105" fmla="*/ 326 h 1845"/>
              <a:gd name="T106" fmla="*/ 1477 w 2318"/>
              <a:gd name="T107" fmla="*/ 218 h 1845"/>
              <a:gd name="T108" fmla="*/ 1436 w 2318"/>
              <a:gd name="T109" fmla="*/ 122 h 1845"/>
              <a:gd name="T110" fmla="*/ 1417 w 2318"/>
              <a:gd name="T111" fmla="*/ 87 h 18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18"/>
              <a:gd name="T169" fmla="*/ 0 h 1845"/>
              <a:gd name="T170" fmla="*/ 2318 w 2318"/>
              <a:gd name="T171" fmla="*/ 1845 h 18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18" h="1845">
                <a:moveTo>
                  <a:pt x="1478" y="0"/>
                </a:moveTo>
                <a:lnTo>
                  <a:pt x="1553" y="1"/>
                </a:lnTo>
                <a:lnTo>
                  <a:pt x="1626" y="6"/>
                </a:lnTo>
                <a:lnTo>
                  <a:pt x="1696" y="16"/>
                </a:lnTo>
                <a:lnTo>
                  <a:pt x="1763" y="28"/>
                </a:lnTo>
                <a:lnTo>
                  <a:pt x="1825" y="43"/>
                </a:lnTo>
                <a:lnTo>
                  <a:pt x="1883" y="57"/>
                </a:lnTo>
                <a:lnTo>
                  <a:pt x="1910" y="65"/>
                </a:lnTo>
                <a:lnTo>
                  <a:pt x="1935" y="71"/>
                </a:lnTo>
                <a:lnTo>
                  <a:pt x="1959" y="78"/>
                </a:lnTo>
                <a:lnTo>
                  <a:pt x="1979" y="89"/>
                </a:lnTo>
                <a:lnTo>
                  <a:pt x="1959" y="161"/>
                </a:lnTo>
                <a:lnTo>
                  <a:pt x="1939" y="230"/>
                </a:lnTo>
                <a:lnTo>
                  <a:pt x="1922" y="300"/>
                </a:lnTo>
                <a:lnTo>
                  <a:pt x="1911" y="358"/>
                </a:lnTo>
                <a:lnTo>
                  <a:pt x="1904" y="418"/>
                </a:lnTo>
                <a:lnTo>
                  <a:pt x="1898" y="480"/>
                </a:lnTo>
                <a:lnTo>
                  <a:pt x="1895" y="545"/>
                </a:lnTo>
                <a:lnTo>
                  <a:pt x="1894" y="569"/>
                </a:lnTo>
                <a:lnTo>
                  <a:pt x="1894" y="593"/>
                </a:lnTo>
                <a:lnTo>
                  <a:pt x="1893" y="618"/>
                </a:lnTo>
                <a:lnTo>
                  <a:pt x="1894" y="643"/>
                </a:lnTo>
                <a:lnTo>
                  <a:pt x="1896" y="666"/>
                </a:lnTo>
                <a:lnTo>
                  <a:pt x="1900" y="685"/>
                </a:lnTo>
                <a:lnTo>
                  <a:pt x="1906" y="701"/>
                </a:lnTo>
                <a:lnTo>
                  <a:pt x="1915" y="711"/>
                </a:lnTo>
                <a:lnTo>
                  <a:pt x="1931" y="718"/>
                </a:lnTo>
                <a:lnTo>
                  <a:pt x="1948" y="722"/>
                </a:lnTo>
                <a:lnTo>
                  <a:pt x="1966" y="721"/>
                </a:lnTo>
                <a:lnTo>
                  <a:pt x="1984" y="716"/>
                </a:lnTo>
                <a:lnTo>
                  <a:pt x="2002" y="710"/>
                </a:lnTo>
                <a:lnTo>
                  <a:pt x="2019" y="702"/>
                </a:lnTo>
                <a:lnTo>
                  <a:pt x="2035" y="695"/>
                </a:lnTo>
                <a:lnTo>
                  <a:pt x="2049" y="688"/>
                </a:lnTo>
                <a:lnTo>
                  <a:pt x="2078" y="674"/>
                </a:lnTo>
                <a:lnTo>
                  <a:pt x="2106" y="661"/>
                </a:lnTo>
                <a:lnTo>
                  <a:pt x="2123" y="652"/>
                </a:lnTo>
                <a:lnTo>
                  <a:pt x="2140" y="645"/>
                </a:lnTo>
                <a:lnTo>
                  <a:pt x="2156" y="639"/>
                </a:lnTo>
                <a:lnTo>
                  <a:pt x="2172" y="638"/>
                </a:lnTo>
                <a:lnTo>
                  <a:pt x="2187" y="640"/>
                </a:lnTo>
                <a:lnTo>
                  <a:pt x="2204" y="648"/>
                </a:lnTo>
                <a:lnTo>
                  <a:pt x="2221" y="657"/>
                </a:lnTo>
                <a:lnTo>
                  <a:pt x="2237" y="668"/>
                </a:lnTo>
                <a:lnTo>
                  <a:pt x="2248" y="680"/>
                </a:lnTo>
                <a:lnTo>
                  <a:pt x="2259" y="694"/>
                </a:lnTo>
                <a:lnTo>
                  <a:pt x="2268" y="707"/>
                </a:lnTo>
                <a:lnTo>
                  <a:pt x="2282" y="735"/>
                </a:lnTo>
                <a:lnTo>
                  <a:pt x="2294" y="767"/>
                </a:lnTo>
                <a:lnTo>
                  <a:pt x="2304" y="802"/>
                </a:lnTo>
                <a:lnTo>
                  <a:pt x="2310" y="839"/>
                </a:lnTo>
                <a:lnTo>
                  <a:pt x="2315" y="875"/>
                </a:lnTo>
                <a:lnTo>
                  <a:pt x="2318" y="910"/>
                </a:lnTo>
                <a:lnTo>
                  <a:pt x="2318" y="930"/>
                </a:lnTo>
                <a:lnTo>
                  <a:pt x="2314" y="965"/>
                </a:lnTo>
                <a:lnTo>
                  <a:pt x="2309" y="1003"/>
                </a:lnTo>
                <a:lnTo>
                  <a:pt x="2302" y="1041"/>
                </a:lnTo>
                <a:lnTo>
                  <a:pt x="2296" y="1072"/>
                </a:lnTo>
                <a:lnTo>
                  <a:pt x="2286" y="1103"/>
                </a:lnTo>
                <a:lnTo>
                  <a:pt x="2275" y="1130"/>
                </a:lnTo>
                <a:lnTo>
                  <a:pt x="2274" y="1132"/>
                </a:lnTo>
                <a:lnTo>
                  <a:pt x="2271" y="1133"/>
                </a:lnTo>
                <a:lnTo>
                  <a:pt x="2264" y="1140"/>
                </a:lnTo>
                <a:lnTo>
                  <a:pt x="2262" y="1144"/>
                </a:lnTo>
                <a:lnTo>
                  <a:pt x="2260" y="1149"/>
                </a:lnTo>
                <a:lnTo>
                  <a:pt x="2256" y="1156"/>
                </a:lnTo>
                <a:lnTo>
                  <a:pt x="2238" y="1176"/>
                </a:lnTo>
                <a:lnTo>
                  <a:pt x="2217" y="1194"/>
                </a:lnTo>
                <a:lnTo>
                  <a:pt x="2193" y="1209"/>
                </a:lnTo>
                <a:lnTo>
                  <a:pt x="2168" y="1217"/>
                </a:lnTo>
                <a:lnTo>
                  <a:pt x="2145" y="1218"/>
                </a:lnTo>
                <a:lnTo>
                  <a:pt x="2122" y="1216"/>
                </a:lnTo>
                <a:lnTo>
                  <a:pt x="2097" y="1210"/>
                </a:lnTo>
                <a:lnTo>
                  <a:pt x="2074" y="1203"/>
                </a:lnTo>
                <a:lnTo>
                  <a:pt x="2052" y="1194"/>
                </a:lnTo>
                <a:lnTo>
                  <a:pt x="2038" y="1188"/>
                </a:lnTo>
                <a:lnTo>
                  <a:pt x="2023" y="1181"/>
                </a:lnTo>
                <a:lnTo>
                  <a:pt x="1991" y="1166"/>
                </a:lnTo>
                <a:lnTo>
                  <a:pt x="1976" y="1161"/>
                </a:lnTo>
                <a:lnTo>
                  <a:pt x="1960" y="1159"/>
                </a:lnTo>
                <a:lnTo>
                  <a:pt x="1946" y="1160"/>
                </a:lnTo>
                <a:lnTo>
                  <a:pt x="1933" y="1165"/>
                </a:lnTo>
                <a:lnTo>
                  <a:pt x="1922" y="1176"/>
                </a:lnTo>
                <a:lnTo>
                  <a:pt x="1916" y="1187"/>
                </a:lnTo>
                <a:lnTo>
                  <a:pt x="1912" y="1198"/>
                </a:lnTo>
                <a:lnTo>
                  <a:pt x="1910" y="1210"/>
                </a:lnTo>
                <a:lnTo>
                  <a:pt x="1903" y="1243"/>
                </a:lnTo>
                <a:lnTo>
                  <a:pt x="1899" y="1279"/>
                </a:lnTo>
                <a:lnTo>
                  <a:pt x="1898" y="1318"/>
                </a:lnTo>
                <a:lnTo>
                  <a:pt x="1898" y="1357"/>
                </a:lnTo>
                <a:lnTo>
                  <a:pt x="1900" y="1396"/>
                </a:lnTo>
                <a:lnTo>
                  <a:pt x="1903" y="1431"/>
                </a:lnTo>
                <a:lnTo>
                  <a:pt x="1906" y="1463"/>
                </a:lnTo>
                <a:lnTo>
                  <a:pt x="1914" y="1510"/>
                </a:lnTo>
                <a:lnTo>
                  <a:pt x="1923" y="1554"/>
                </a:lnTo>
                <a:lnTo>
                  <a:pt x="1934" y="1596"/>
                </a:lnTo>
                <a:lnTo>
                  <a:pt x="1946" y="1636"/>
                </a:lnTo>
                <a:lnTo>
                  <a:pt x="1959" y="1675"/>
                </a:lnTo>
                <a:lnTo>
                  <a:pt x="1970" y="1714"/>
                </a:lnTo>
                <a:lnTo>
                  <a:pt x="1979" y="1755"/>
                </a:lnTo>
                <a:lnTo>
                  <a:pt x="1928" y="1771"/>
                </a:lnTo>
                <a:lnTo>
                  <a:pt x="1875" y="1788"/>
                </a:lnTo>
                <a:lnTo>
                  <a:pt x="1820" y="1804"/>
                </a:lnTo>
                <a:lnTo>
                  <a:pt x="1761" y="1818"/>
                </a:lnTo>
                <a:lnTo>
                  <a:pt x="1702" y="1829"/>
                </a:lnTo>
                <a:lnTo>
                  <a:pt x="1638" y="1838"/>
                </a:lnTo>
                <a:lnTo>
                  <a:pt x="1573" y="1840"/>
                </a:lnTo>
                <a:lnTo>
                  <a:pt x="1540" y="1839"/>
                </a:lnTo>
                <a:lnTo>
                  <a:pt x="1508" y="1837"/>
                </a:lnTo>
                <a:lnTo>
                  <a:pt x="1479" y="1833"/>
                </a:lnTo>
                <a:lnTo>
                  <a:pt x="1452" y="1827"/>
                </a:lnTo>
                <a:lnTo>
                  <a:pt x="1430" y="1817"/>
                </a:lnTo>
                <a:lnTo>
                  <a:pt x="1441" y="1789"/>
                </a:lnTo>
                <a:lnTo>
                  <a:pt x="1455" y="1761"/>
                </a:lnTo>
                <a:lnTo>
                  <a:pt x="1479" y="1705"/>
                </a:lnTo>
                <a:lnTo>
                  <a:pt x="1488" y="1676"/>
                </a:lnTo>
                <a:lnTo>
                  <a:pt x="1492" y="1646"/>
                </a:lnTo>
                <a:lnTo>
                  <a:pt x="1494" y="1615"/>
                </a:lnTo>
                <a:lnTo>
                  <a:pt x="1488" y="1582"/>
                </a:lnTo>
                <a:lnTo>
                  <a:pt x="1478" y="1559"/>
                </a:lnTo>
                <a:lnTo>
                  <a:pt x="1464" y="1536"/>
                </a:lnTo>
                <a:lnTo>
                  <a:pt x="1446" y="1515"/>
                </a:lnTo>
                <a:lnTo>
                  <a:pt x="1427" y="1497"/>
                </a:lnTo>
                <a:lnTo>
                  <a:pt x="1407" y="1482"/>
                </a:lnTo>
                <a:lnTo>
                  <a:pt x="1374" y="1463"/>
                </a:lnTo>
                <a:lnTo>
                  <a:pt x="1337" y="1448"/>
                </a:lnTo>
                <a:lnTo>
                  <a:pt x="1295" y="1436"/>
                </a:lnTo>
                <a:lnTo>
                  <a:pt x="1252" y="1428"/>
                </a:lnTo>
                <a:lnTo>
                  <a:pt x="1206" y="1423"/>
                </a:lnTo>
                <a:lnTo>
                  <a:pt x="1161" y="1422"/>
                </a:lnTo>
                <a:lnTo>
                  <a:pt x="1120" y="1423"/>
                </a:lnTo>
                <a:lnTo>
                  <a:pt x="1079" y="1425"/>
                </a:lnTo>
                <a:lnTo>
                  <a:pt x="1041" y="1431"/>
                </a:lnTo>
                <a:lnTo>
                  <a:pt x="1004" y="1440"/>
                </a:lnTo>
                <a:lnTo>
                  <a:pt x="970" y="1452"/>
                </a:lnTo>
                <a:lnTo>
                  <a:pt x="939" y="1465"/>
                </a:lnTo>
                <a:lnTo>
                  <a:pt x="911" y="1482"/>
                </a:lnTo>
                <a:lnTo>
                  <a:pt x="886" y="1503"/>
                </a:lnTo>
                <a:lnTo>
                  <a:pt x="866" y="1526"/>
                </a:lnTo>
                <a:lnTo>
                  <a:pt x="850" y="1552"/>
                </a:lnTo>
                <a:lnTo>
                  <a:pt x="846" y="1563"/>
                </a:lnTo>
                <a:lnTo>
                  <a:pt x="840" y="1588"/>
                </a:lnTo>
                <a:lnTo>
                  <a:pt x="839" y="1614"/>
                </a:lnTo>
                <a:lnTo>
                  <a:pt x="844" y="1637"/>
                </a:lnTo>
                <a:lnTo>
                  <a:pt x="850" y="1659"/>
                </a:lnTo>
                <a:lnTo>
                  <a:pt x="858" y="1678"/>
                </a:lnTo>
                <a:lnTo>
                  <a:pt x="869" y="1699"/>
                </a:lnTo>
                <a:lnTo>
                  <a:pt x="882" y="1720"/>
                </a:lnTo>
                <a:lnTo>
                  <a:pt x="892" y="1740"/>
                </a:lnTo>
                <a:lnTo>
                  <a:pt x="903" y="1762"/>
                </a:lnTo>
                <a:lnTo>
                  <a:pt x="911" y="1784"/>
                </a:lnTo>
                <a:lnTo>
                  <a:pt x="916" y="1809"/>
                </a:lnTo>
                <a:lnTo>
                  <a:pt x="916" y="1835"/>
                </a:lnTo>
                <a:lnTo>
                  <a:pt x="884" y="1843"/>
                </a:lnTo>
                <a:lnTo>
                  <a:pt x="854" y="1845"/>
                </a:lnTo>
                <a:lnTo>
                  <a:pt x="821" y="1844"/>
                </a:lnTo>
                <a:lnTo>
                  <a:pt x="790" y="1843"/>
                </a:lnTo>
                <a:lnTo>
                  <a:pt x="680" y="1834"/>
                </a:lnTo>
                <a:lnTo>
                  <a:pt x="605" y="1824"/>
                </a:lnTo>
                <a:lnTo>
                  <a:pt x="532" y="1811"/>
                </a:lnTo>
                <a:lnTo>
                  <a:pt x="464" y="1795"/>
                </a:lnTo>
                <a:lnTo>
                  <a:pt x="398" y="1777"/>
                </a:lnTo>
                <a:lnTo>
                  <a:pt x="336" y="1755"/>
                </a:lnTo>
                <a:lnTo>
                  <a:pt x="357" y="1683"/>
                </a:lnTo>
                <a:lnTo>
                  <a:pt x="376" y="1611"/>
                </a:lnTo>
                <a:lnTo>
                  <a:pt x="394" y="1540"/>
                </a:lnTo>
                <a:lnTo>
                  <a:pt x="404" y="1482"/>
                </a:lnTo>
                <a:lnTo>
                  <a:pt x="412" y="1422"/>
                </a:lnTo>
                <a:lnTo>
                  <a:pt x="418" y="1358"/>
                </a:lnTo>
                <a:lnTo>
                  <a:pt x="420" y="1290"/>
                </a:lnTo>
                <a:lnTo>
                  <a:pt x="420" y="1271"/>
                </a:lnTo>
                <a:lnTo>
                  <a:pt x="422" y="1250"/>
                </a:lnTo>
                <a:lnTo>
                  <a:pt x="422" y="1206"/>
                </a:lnTo>
                <a:lnTo>
                  <a:pt x="420" y="1186"/>
                </a:lnTo>
                <a:lnTo>
                  <a:pt x="418" y="1167"/>
                </a:lnTo>
                <a:lnTo>
                  <a:pt x="413" y="1150"/>
                </a:lnTo>
                <a:lnTo>
                  <a:pt x="407" y="1138"/>
                </a:lnTo>
                <a:lnTo>
                  <a:pt x="397" y="1130"/>
                </a:lnTo>
                <a:lnTo>
                  <a:pt x="381" y="1123"/>
                </a:lnTo>
                <a:lnTo>
                  <a:pt x="364" y="1122"/>
                </a:lnTo>
                <a:lnTo>
                  <a:pt x="346" y="1125"/>
                </a:lnTo>
                <a:lnTo>
                  <a:pt x="328" y="1130"/>
                </a:lnTo>
                <a:lnTo>
                  <a:pt x="307" y="1134"/>
                </a:lnTo>
                <a:lnTo>
                  <a:pt x="288" y="1143"/>
                </a:lnTo>
                <a:lnTo>
                  <a:pt x="267" y="1153"/>
                </a:lnTo>
                <a:lnTo>
                  <a:pt x="250" y="1162"/>
                </a:lnTo>
                <a:lnTo>
                  <a:pt x="232" y="1173"/>
                </a:lnTo>
                <a:lnTo>
                  <a:pt x="213" y="1183"/>
                </a:lnTo>
                <a:lnTo>
                  <a:pt x="196" y="1192"/>
                </a:lnTo>
                <a:lnTo>
                  <a:pt x="178" y="1199"/>
                </a:lnTo>
                <a:lnTo>
                  <a:pt x="161" y="1204"/>
                </a:lnTo>
                <a:lnTo>
                  <a:pt x="148" y="1206"/>
                </a:lnTo>
                <a:lnTo>
                  <a:pt x="133" y="1204"/>
                </a:lnTo>
                <a:lnTo>
                  <a:pt x="117" y="1198"/>
                </a:lnTo>
                <a:lnTo>
                  <a:pt x="100" y="1188"/>
                </a:lnTo>
                <a:lnTo>
                  <a:pt x="86" y="1178"/>
                </a:lnTo>
                <a:lnTo>
                  <a:pt x="72" y="1168"/>
                </a:lnTo>
                <a:lnTo>
                  <a:pt x="64" y="1160"/>
                </a:lnTo>
                <a:lnTo>
                  <a:pt x="63" y="1158"/>
                </a:lnTo>
                <a:lnTo>
                  <a:pt x="61" y="1156"/>
                </a:lnTo>
                <a:lnTo>
                  <a:pt x="61" y="1153"/>
                </a:lnTo>
                <a:lnTo>
                  <a:pt x="60" y="1151"/>
                </a:lnTo>
                <a:lnTo>
                  <a:pt x="59" y="1149"/>
                </a:lnTo>
                <a:lnTo>
                  <a:pt x="56" y="1145"/>
                </a:lnTo>
                <a:lnTo>
                  <a:pt x="53" y="1143"/>
                </a:lnTo>
                <a:lnTo>
                  <a:pt x="50" y="1140"/>
                </a:lnTo>
                <a:lnTo>
                  <a:pt x="48" y="1137"/>
                </a:lnTo>
                <a:lnTo>
                  <a:pt x="37" y="1119"/>
                </a:lnTo>
                <a:lnTo>
                  <a:pt x="28" y="1099"/>
                </a:lnTo>
                <a:lnTo>
                  <a:pt x="21" y="1076"/>
                </a:lnTo>
                <a:lnTo>
                  <a:pt x="11" y="1038"/>
                </a:lnTo>
                <a:lnTo>
                  <a:pt x="4" y="997"/>
                </a:lnTo>
                <a:lnTo>
                  <a:pt x="0" y="955"/>
                </a:lnTo>
                <a:lnTo>
                  <a:pt x="0" y="913"/>
                </a:lnTo>
                <a:lnTo>
                  <a:pt x="2" y="870"/>
                </a:lnTo>
                <a:lnTo>
                  <a:pt x="7" y="830"/>
                </a:lnTo>
                <a:lnTo>
                  <a:pt x="15" y="791"/>
                </a:lnTo>
                <a:lnTo>
                  <a:pt x="26" y="755"/>
                </a:lnTo>
                <a:lnTo>
                  <a:pt x="39" y="723"/>
                </a:lnTo>
                <a:lnTo>
                  <a:pt x="55" y="695"/>
                </a:lnTo>
                <a:lnTo>
                  <a:pt x="66" y="679"/>
                </a:lnTo>
                <a:lnTo>
                  <a:pt x="78" y="665"/>
                </a:lnTo>
                <a:lnTo>
                  <a:pt x="91" y="654"/>
                </a:lnTo>
                <a:lnTo>
                  <a:pt x="114" y="638"/>
                </a:lnTo>
                <a:lnTo>
                  <a:pt x="138" y="629"/>
                </a:lnTo>
                <a:lnTo>
                  <a:pt x="162" y="626"/>
                </a:lnTo>
                <a:lnTo>
                  <a:pt x="189" y="628"/>
                </a:lnTo>
                <a:lnTo>
                  <a:pt x="217" y="634"/>
                </a:lnTo>
                <a:lnTo>
                  <a:pt x="245" y="643"/>
                </a:lnTo>
                <a:lnTo>
                  <a:pt x="269" y="651"/>
                </a:lnTo>
                <a:lnTo>
                  <a:pt x="294" y="661"/>
                </a:lnTo>
                <a:lnTo>
                  <a:pt x="308" y="668"/>
                </a:lnTo>
                <a:lnTo>
                  <a:pt x="324" y="676"/>
                </a:lnTo>
                <a:lnTo>
                  <a:pt x="340" y="682"/>
                </a:lnTo>
                <a:lnTo>
                  <a:pt x="356" y="685"/>
                </a:lnTo>
                <a:lnTo>
                  <a:pt x="370" y="684"/>
                </a:lnTo>
                <a:lnTo>
                  <a:pt x="383" y="678"/>
                </a:lnTo>
                <a:lnTo>
                  <a:pt x="392" y="666"/>
                </a:lnTo>
                <a:lnTo>
                  <a:pt x="401" y="651"/>
                </a:lnTo>
                <a:lnTo>
                  <a:pt x="407" y="633"/>
                </a:lnTo>
                <a:lnTo>
                  <a:pt x="411" y="614"/>
                </a:lnTo>
                <a:lnTo>
                  <a:pt x="413" y="592"/>
                </a:lnTo>
                <a:lnTo>
                  <a:pt x="415" y="571"/>
                </a:lnTo>
                <a:lnTo>
                  <a:pt x="417" y="549"/>
                </a:lnTo>
                <a:lnTo>
                  <a:pt x="417" y="503"/>
                </a:lnTo>
                <a:lnTo>
                  <a:pt x="415" y="458"/>
                </a:lnTo>
                <a:lnTo>
                  <a:pt x="413" y="415"/>
                </a:lnTo>
                <a:lnTo>
                  <a:pt x="409" y="376"/>
                </a:lnTo>
                <a:lnTo>
                  <a:pt x="402" y="330"/>
                </a:lnTo>
                <a:lnTo>
                  <a:pt x="392" y="287"/>
                </a:lnTo>
                <a:lnTo>
                  <a:pt x="381" y="247"/>
                </a:lnTo>
                <a:lnTo>
                  <a:pt x="357" y="169"/>
                </a:lnTo>
                <a:lnTo>
                  <a:pt x="346" y="128"/>
                </a:lnTo>
                <a:lnTo>
                  <a:pt x="336" y="85"/>
                </a:lnTo>
                <a:lnTo>
                  <a:pt x="384" y="73"/>
                </a:lnTo>
                <a:lnTo>
                  <a:pt x="432" y="59"/>
                </a:lnTo>
                <a:lnTo>
                  <a:pt x="484" y="43"/>
                </a:lnTo>
                <a:lnTo>
                  <a:pt x="536" y="28"/>
                </a:lnTo>
                <a:lnTo>
                  <a:pt x="589" y="16"/>
                </a:lnTo>
                <a:lnTo>
                  <a:pt x="632" y="10"/>
                </a:lnTo>
                <a:lnTo>
                  <a:pt x="678" y="5"/>
                </a:lnTo>
                <a:lnTo>
                  <a:pt x="726" y="4"/>
                </a:lnTo>
                <a:lnTo>
                  <a:pt x="772" y="5"/>
                </a:lnTo>
                <a:lnTo>
                  <a:pt x="816" y="7"/>
                </a:lnTo>
                <a:lnTo>
                  <a:pt x="829" y="9"/>
                </a:lnTo>
                <a:lnTo>
                  <a:pt x="845" y="10"/>
                </a:lnTo>
                <a:lnTo>
                  <a:pt x="858" y="12"/>
                </a:lnTo>
                <a:lnTo>
                  <a:pt x="872" y="17"/>
                </a:lnTo>
                <a:lnTo>
                  <a:pt x="882" y="27"/>
                </a:lnTo>
                <a:lnTo>
                  <a:pt x="868" y="61"/>
                </a:lnTo>
                <a:lnTo>
                  <a:pt x="856" y="94"/>
                </a:lnTo>
                <a:lnTo>
                  <a:pt x="843" y="127"/>
                </a:lnTo>
                <a:lnTo>
                  <a:pt x="835" y="147"/>
                </a:lnTo>
                <a:lnTo>
                  <a:pt x="828" y="171"/>
                </a:lnTo>
                <a:lnTo>
                  <a:pt x="823" y="195"/>
                </a:lnTo>
                <a:lnTo>
                  <a:pt x="821" y="220"/>
                </a:lnTo>
                <a:lnTo>
                  <a:pt x="823" y="250"/>
                </a:lnTo>
                <a:lnTo>
                  <a:pt x="830" y="265"/>
                </a:lnTo>
                <a:lnTo>
                  <a:pt x="839" y="280"/>
                </a:lnTo>
                <a:lnTo>
                  <a:pt x="851" y="302"/>
                </a:lnTo>
                <a:lnTo>
                  <a:pt x="863" y="323"/>
                </a:lnTo>
                <a:lnTo>
                  <a:pt x="878" y="338"/>
                </a:lnTo>
                <a:lnTo>
                  <a:pt x="880" y="340"/>
                </a:lnTo>
                <a:lnTo>
                  <a:pt x="884" y="342"/>
                </a:lnTo>
                <a:lnTo>
                  <a:pt x="886" y="342"/>
                </a:lnTo>
                <a:lnTo>
                  <a:pt x="890" y="345"/>
                </a:lnTo>
                <a:lnTo>
                  <a:pt x="892" y="346"/>
                </a:lnTo>
                <a:lnTo>
                  <a:pt x="894" y="347"/>
                </a:lnTo>
                <a:lnTo>
                  <a:pt x="895" y="349"/>
                </a:lnTo>
                <a:lnTo>
                  <a:pt x="895" y="352"/>
                </a:lnTo>
                <a:lnTo>
                  <a:pt x="896" y="353"/>
                </a:lnTo>
                <a:lnTo>
                  <a:pt x="901" y="356"/>
                </a:lnTo>
                <a:lnTo>
                  <a:pt x="903" y="356"/>
                </a:lnTo>
                <a:lnTo>
                  <a:pt x="908" y="358"/>
                </a:lnTo>
                <a:lnTo>
                  <a:pt x="911" y="360"/>
                </a:lnTo>
                <a:lnTo>
                  <a:pt x="914" y="363"/>
                </a:lnTo>
                <a:lnTo>
                  <a:pt x="917" y="366"/>
                </a:lnTo>
                <a:lnTo>
                  <a:pt x="919" y="369"/>
                </a:lnTo>
                <a:lnTo>
                  <a:pt x="928" y="373"/>
                </a:lnTo>
                <a:lnTo>
                  <a:pt x="935" y="376"/>
                </a:lnTo>
                <a:lnTo>
                  <a:pt x="969" y="392"/>
                </a:lnTo>
                <a:lnTo>
                  <a:pt x="1007" y="404"/>
                </a:lnTo>
                <a:lnTo>
                  <a:pt x="1048" y="413"/>
                </a:lnTo>
                <a:lnTo>
                  <a:pt x="1091" y="419"/>
                </a:lnTo>
                <a:lnTo>
                  <a:pt x="1136" y="421"/>
                </a:lnTo>
                <a:lnTo>
                  <a:pt x="1180" y="421"/>
                </a:lnTo>
                <a:lnTo>
                  <a:pt x="1224" y="418"/>
                </a:lnTo>
                <a:lnTo>
                  <a:pt x="1265" y="412"/>
                </a:lnTo>
                <a:lnTo>
                  <a:pt x="1304" y="403"/>
                </a:lnTo>
                <a:lnTo>
                  <a:pt x="1329" y="397"/>
                </a:lnTo>
                <a:lnTo>
                  <a:pt x="1355" y="390"/>
                </a:lnTo>
                <a:lnTo>
                  <a:pt x="1377" y="381"/>
                </a:lnTo>
                <a:lnTo>
                  <a:pt x="1388" y="374"/>
                </a:lnTo>
                <a:lnTo>
                  <a:pt x="1400" y="365"/>
                </a:lnTo>
                <a:lnTo>
                  <a:pt x="1413" y="356"/>
                </a:lnTo>
                <a:lnTo>
                  <a:pt x="1426" y="345"/>
                </a:lnTo>
                <a:lnTo>
                  <a:pt x="1435" y="335"/>
                </a:lnTo>
                <a:lnTo>
                  <a:pt x="1441" y="326"/>
                </a:lnTo>
                <a:lnTo>
                  <a:pt x="1452" y="311"/>
                </a:lnTo>
                <a:lnTo>
                  <a:pt x="1463" y="292"/>
                </a:lnTo>
                <a:lnTo>
                  <a:pt x="1472" y="273"/>
                </a:lnTo>
                <a:lnTo>
                  <a:pt x="1477" y="253"/>
                </a:lnTo>
                <a:lnTo>
                  <a:pt x="1478" y="234"/>
                </a:lnTo>
                <a:lnTo>
                  <a:pt x="1477" y="218"/>
                </a:lnTo>
                <a:lnTo>
                  <a:pt x="1473" y="206"/>
                </a:lnTo>
                <a:lnTo>
                  <a:pt x="1463" y="182"/>
                </a:lnTo>
                <a:lnTo>
                  <a:pt x="1457" y="169"/>
                </a:lnTo>
                <a:lnTo>
                  <a:pt x="1451" y="154"/>
                </a:lnTo>
                <a:lnTo>
                  <a:pt x="1444" y="136"/>
                </a:lnTo>
                <a:lnTo>
                  <a:pt x="1436" y="122"/>
                </a:lnTo>
                <a:lnTo>
                  <a:pt x="1430" y="112"/>
                </a:lnTo>
                <a:lnTo>
                  <a:pt x="1429" y="111"/>
                </a:lnTo>
                <a:lnTo>
                  <a:pt x="1428" y="108"/>
                </a:lnTo>
                <a:lnTo>
                  <a:pt x="1428" y="106"/>
                </a:lnTo>
                <a:lnTo>
                  <a:pt x="1427" y="104"/>
                </a:lnTo>
                <a:lnTo>
                  <a:pt x="1417" y="87"/>
                </a:lnTo>
                <a:lnTo>
                  <a:pt x="1407" y="68"/>
                </a:lnTo>
                <a:lnTo>
                  <a:pt x="1401" y="48"/>
                </a:lnTo>
                <a:lnTo>
                  <a:pt x="1398" y="27"/>
                </a:lnTo>
                <a:lnTo>
                  <a:pt x="1400" y="4"/>
                </a:lnTo>
                <a:lnTo>
                  <a:pt x="1478" y="0"/>
                </a:lnTo>
                <a:close/>
              </a:path>
            </a:pathLst>
          </a:custGeom>
          <a:solidFill>
            <a:schemeClr val="tx2"/>
          </a:solidFill>
          <a:ln w="12700">
            <a:solidFill>
              <a:schemeClr val="bg1"/>
            </a:solidFill>
            <a:round/>
            <a:headEnd/>
            <a:tailEnd/>
          </a:ln>
        </p:spPr>
        <p:txBody>
          <a:bodyPr/>
          <a:lstStyle/>
          <a:p>
            <a:endParaRPr lang="en-US">
              <a:solidFill>
                <a:schemeClr val="tx2"/>
              </a:solidFill>
            </a:endParaRPr>
          </a:p>
        </p:txBody>
      </p:sp>
      <p:sp>
        <p:nvSpPr>
          <p:cNvPr id="76" name="Rectangle 15"/>
          <p:cNvSpPr>
            <a:spLocks noChangeArrowheads="1"/>
          </p:cNvSpPr>
          <p:nvPr/>
        </p:nvSpPr>
        <p:spPr bwMode="gray">
          <a:xfrm rot="372802">
            <a:off x="3537477" y="2707063"/>
            <a:ext cx="966212" cy="966182"/>
          </a:xfrm>
          <a:prstGeom prst="rect">
            <a:avLst/>
          </a:prstGeom>
          <a:noFill/>
          <a:ln w="19050" algn="ctr">
            <a:noFill/>
            <a:miter lim="800000"/>
            <a:headEnd/>
            <a:tailEnd/>
          </a:ln>
          <a:effectLst/>
        </p:spPr>
        <p:txBody>
          <a:bodyPr lIns="72000" tIns="72000" rIns="72000" bIns="72000" anchor="ctr"/>
          <a:lstStyle/>
          <a:p>
            <a:pPr lvl="0" algn="ctr" fontAlgn="base">
              <a:spcBef>
                <a:spcPct val="0"/>
              </a:spcBef>
              <a:spcAft>
                <a:spcPct val="0"/>
              </a:spcAft>
              <a:defRPr/>
            </a:pPr>
            <a:r>
              <a:rPr lang="en-US" sz="1400" b="1" dirty="0">
                <a:solidFill>
                  <a:schemeClr val="bg1"/>
                </a:solidFill>
              </a:rPr>
              <a:t>Text</a:t>
            </a:r>
          </a:p>
        </p:txBody>
      </p:sp>
      <p:sp>
        <p:nvSpPr>
          <p:cNvPr id="78" name="AutoShape 15"/>
          <p:cNvSpPr>
            <a:spLocks/>
          </p:cNvSpPr>
          <p:nvPr/>
        </p:nvSpPr>
        <p:spPr bwMode="gray">
          <a:xfrm rot="-815562">
            <a:off x="1305621" y="3884843"/>
            <a:ext cx="1728787" cy="1375410"/>
          </a:xfrm>
          <a:custGeom>
            <a:avLst/>
            <a:gdLst>
              <a:gd name="T0" fmla="*/ 1856 w 2316"/>
              <a:gd name="T1" fmla="*/ 47 h 1841"/>
              <a:gd name="T2" fmla="*/ 1920 w 2316"/>
              <a:gd name="T3" fmla="*/ 315 h 1841"/>
              <a:gd name="T4" fmla="*/ 1895 w 2316"/>
              <a:gd name="T5" fmla="*/ 598 h 1841"/>
              <a:gd name="T6" fmla="*/ 1929 w 2316"/>
              <a:gd name="T7" fmla="*/ 718 h 1841"/>
              <a:gd name="T8" fmla="*/ 2034 w 2316"/>
              <a:gd name="T9" fmla="*/ 698 h 1841"/>
              <a:gd name="T10" fmla="*/ 2176 w 2316"/>
              <a:gd name="T11" fmla="*/ 640 h 1841"/>
              <a:gd name="T12" fmla="*/ 2223 w 2316"/>
              <a:gd name="T13" fmla="*/ 662 h 1841"/>
              <a:gd name="T14" fmla="*/ 2267 w 2316"/>
              <a:gd name="T15" fmla="*/ 707 h 1841"/>
              <a:gd name="T16" fmla="*/ 2309 w 2316"/>
              <a:gd name="T17" fmla="*/ 821 h 1841"/>
              <a:gd name="T18" fmla="*/ 2296 w 2316"/>
              <a:gd name="T19" fmla="*/ 1073 h 1841"/>
              <a:gd name="T20" fmla="*/ 2255 w 2316"/>
              <a:gd name="T21" fmla="*/ 1152 h 1841"/>
              <a:gd name="T22" fmla="*/ 2133 w 2316"/>
              <a:gd name="T23" fmla="*/ 1218 h 1841"/>
              <a:gd name="T24" fmla="*/ 1987 w 2316"/>
              <a:gd name="T25" fmla="*/ 1165 h 1841"/>
              <a:gd name="T26" fmla="*/ 1917 w 2316"/>
              <a:gd name="T27" fmla="*/ 1186 h 1841"/>
              <a:gd name="T28" fmla="*/ 1901 w 2316"/>
              <a:gd name="T29" fmla="*/ 1430 h 1841"/>
              <a:gd name="T30" fmla="*/ 1970 w 2316"/>
              <a:gd name="T31" fmla="*/ 1708 h 1841"/>
              <a:gd name="T32" fmla="*/ 1677 w 2316"/>
              <a:gd name="T33" fmla="*/ 1831 h 1841"/>
              <a:gd name="T34" fmla="*/ 1432 w 2316"/>
              <a:gd name="T35" fmla="*/ 1817 h 1841"/>
              <a:gd name="T36" fmla="*/ 1493 w 2316"/>
              <a:gd name="T37" fmla="*/ 1645 h 1841"/>
              <a:gd name="T38" fmla="*/ 1437 w 2316"/>
              <a:gd name="T39" fmla="*/ 1506 h 1841"/>
              <a:gd name="T40" fmla="*/ 1418 w 2316"/>
              <a:gd name="T41" fmla="*/ 1490 h 1841"/>
              <a:gd name="T42" fmla="*/ 1404 w 2316"/>
              <a:gd name="T43" fmla="*/ 1482 h 1841"/>
              <a:gd name="T44" fmla="*/ 1353 w 2316"/>
              <a:gd name="T45" fmla="*/ 1451 h 1841"/>
              <a:gd name="T46" fmla="*/ 1138 w 2316"/>
              <a:gd name="T47" fmla="*/ 1421 h 1841"/>
              <a:gd name="T48" fmla="*/ 922 w 2316"/>
              <a:gd name="T49" fmla="*/ 1473 h 1841"/>
              <a:gd name="T50" fmla="*/ 853 w 2316"/>
              <a:gd name="T51" fmla="*/ 1548 h 1841"/>
              <a:gd name="T52" fmla="*/ 857 w 2316"/>
              <a:gd name="T53" fmla="*/ 1667 h 1841"/>
              <a:gd name="T54" fmla="*/ 913 w 2316"/>
              <a:gd name="T55" fmla="*/ 1787 h 1841"/>
              <a:gd name="T56" fmla="*/ 841 w 2316"/>
              <a:gd name="T57" fmla="*/ 1840 h 1841"/>
              <a:gd name="T58" fmla="*/ 464 w 2316"/>
              <a:gd name="T59" fmla="*/ 1793 h 1841"/>
              <a:gd name="T60" fmla="*/ 388 w 2316"/>
              <a:gd name="T61" fmla="*/ 1563 h 1841"/>
              <a:gd name="T62" fmla="*/ 420 w 2316"/>
              <a:gd name="T63" fmla="*/ 1266 h 1841"/>
              <a:gd name="T64" fmla="*/ 404 w 2316"/>
              <a:gd name="T65" fmla="*/ 1134 h 1841"/>
              <a:gd name="T66" fmla="*/ 284 w 2316"/>
              <a:gd name="T67" fmla="*/ 1141 h 1841"/>
              <a:gd name="T68" fmla="*/ 151 w 2316"/>
              <a:gd name="T69" fmla="*/ 1202 h 1841"/>
              <a:gd name="T70" fmla="*/ 41 w 2316"/>
              <a:gd name="T71" fmla="*/ 1125 h 1841"/>
              <a:gd name="T72" fmla="*/ 0 w 2316"/>
              <a:gd name="T73" fmla="*/ 923 h 1841"/>
              <a:gd name="T74" fmla="*/ 39 w 2316"/>
              <a:gd name="T75" fmla="*/ 721 h 1841"/>
              <a:gd name="T76" fmla="*/ 102 w 2316"/>
              <a:gd name="T77" fmla="*/ 645 h 1841"/>
              <a:gd name="T78" fmla="*/ 239 w 2316"/>
              <a:gd name="T79" fmla="*/ 639 h 1841"/>
              <a:gd name="T80" fmla="*/ 378 w 2316"/>
              <a:gd name="T81" fmla="*/ 679 h 1841"/>
              <a:gd name="T82" fmla="*/ 417 w 2316"/>
              <a:gd name="T83" fmla="*/ 562 h 1841"/>
              <a:gd name="T84" fmla="*/ 409 w 2316"/>
              <a:gd name="T85" fmla="*/ 359 h 1841"/>
              <a:gd name="T86" fmla="*/ 335 w 2316"/>
              <a:gd name="T87" fmla="*/ 85 h 1841"/>
              <a:gd name="T88" fmla="*/ 657 w 2316"/>
              <a:gd name="T89" fmla="*/ 5 h 1841"/>
              <a:gd name="T90" fmla="*/ 880 w 2316"/>
              <a:gd name="T91" fmla="*/ 20 h 1841"/>
              <a:gd name="T92" fmla="*/ 846 w 2316"/>
              <a:gd name="T93" fmla="*/ 115 h 1841"/>
              <a:gd name="T94" fmla="*/ 832 w 2316"/>
              <a:gd name="T95" fmla="*/ 269 h 1841"/>
              <a:gd name="T96" fmla="*/ 920 w 2316"/>
              <a:gd name="T97" fmla="*/ 364 h 1841"/>
              <a:gd name="T98" fmla="*/ 1002 w 2316"/>
              <a:gd name="T99" fmla="*/ 402 h 1841"/>
              <a:gd name="T100" fmla="*/ 1244 w 2316"/>
              <a:gd name="T101" fmla="*/ 416 h 1841"/>
              <a:gd name="T102" fmla="*/ 1440 w 2316"/>
              <a:gd name="T103" fmla="*/ 328 h 1841"/>
              <a:gd name="T104" fmla="*/ 1469 w 2316"/>
              <a:gd name="T105" fmla="*/ 188 h 1841"/>
              <a:gd name="T106" fmla="*/ 1410 w 2316"/>
              <a:gd name="T107" fmla="*/ 73 h 1841"/>
              <a:gd name="T108" fmla="*/ 1409 w 2316"/>
              <a:gd name="T109" fmla="*/ 1 h 18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16"/>
              <a:gd name="T166" fmla="*/ 0 h 1841"/>
              <a:gd name="T167" fmla="*/ 2316 w 2316"/>
              <a:gd name="T168" fmla="*/ 1841 h 18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16" h="1841">
                <a:moveTo>
                  <a:pt x="1493" y="0"/>
                </a:moveTo>
                <a:lnTo>
                  <a:pt x="1572" y="2"/>
                </a:lnTo>
                <a:lnTo>
                  <a:pt x="1648" y="8"/>
                </a:lnTo>
                <a:lnTo>
                  <a:pt x="1721" y="18"/>
                </a:lnTo>
                <a:lnTo>
                  <a:pt x="1789" y="31"/>
                </a:lnTo>
                <a:lnTo>
                  <a:pt x="1856" y="47"/>
                </a:lnTo>
                <a:lnTo>
                  <a:pt x="1920" y="65"/>
                </a:lnTo>
                <a:lnTo>
                  <a:pt x="1982" y="85"/>
                </a:lnTo>
                <a:lnTo>
                  <a:pt x="1965" y="140"/>
                </a:lnTo>
                <a:lnTo>
                  <a:pt x="1948" y="196"/>
                </a:lnTo>
                <a:lnTo>
                  <a:pt x="1934" y="253"/>
                </a:lnTo>
                <a:lnTo>
                  <a:pt x="1920" y="315"/>
                </a:lnTo>
                <a:lnTo>
                  <a:pt x="1909" y="381"/>
                </a:lnTo>
                <a:lnTo>
                  <a:pt x="1903" y="433"/>
                </a:lnTo>
                <a:lnTo>
                  <a:pt x="1901" y="490"/>
                </a:lnTo>
                <a:lnTo>
                  <a:pt x="1897" y="553"/>
                </a:lnTo>
                <a:lnTo>
                  <a:pt x="1896" y="575"/>
                </a:lnTo>
                <a:lnTo>
                  <a:pt x="1895" y="598"/>
                </a:lnTo>
                <a:lnTo>
                  <a:pt x="1895" y="646"/>
                </a:lnTo>
                <a:lnTo>
                  <a:pt x="1896" y="667"/>
                </a:lnTo>
                <a:lnTo>
                  <a:pt x="1901" y="686"/>
                </a:lnTo>
                <a:lnTo>
                  <a:pt x="1907" y="701"/>
                </a:lnTo>
                <a:lnTo>
                  <a:pt x="1917" y="712"/>
                </a:lnTo>
                <a:lnTo>
                  <a:pt x="1929" y="718"/>
                </a:lnTo>
                <a:lnTo>
                  <a:pt x="1945" y="720"/>
                </a:lnTo>
                <a:lnTo>
                  <a:pt x="1962" y="720"/>
                </a:lnTo>
                <a:lnTo>
                  <a:pt x="1978" y="719"/>
                </a:lnTo>
                <a:lnTo>
                  <a:pt x="1993" y="715"/>
                </a:lnTo>
                <a:lnTo>
                  <a:pt x="2014" y="708"/>
                </a:lnTo>
                <a:lnTo>
                  <a:pt x="2034" y="698"/>
                </a:lnTo>
                <a:lnTo>
                  <a:pt x="2051" y="688"/>
                </a:lnTo>
                <a:lnTo>
                  <a:pt x="2072" y="676"/>
                </a:lnTo>
                <a:lnTo>
                  <a:pt x="2114" y="654"/>
                </a:lnTo>
                <a:lnTo>
                  <a:pt x="2135" y="646"/>
                </a:lnTo>
                <a:lnTo>
                  <a:pt x="2155" y="641"/>
                </a:lnTo>
                <a:lnTo>
                  <a:pt x="2176" y="640"/>
                </a:lnTo>
                <a:lnTo>
                  <a:pt x="2198" y="643"/>
                </a:lnTo>
                <a:lnTo>
                  <a:pt x="2220" y="653"/>
                </a:lnTo>
                <a:lnTo>
                  <a:pt x="2221" y="654"/>
                </a:lnTo>
                <a:lnTo>
                  <a:pt x="2222" y="657"/>
                </a:lnTo>
                <a:lnTo>
                  <a:pt x="2222" y="660"/>
                </a:lnTo>
                <a:lnTo>
                  <a:pt x="2223" y="662"/>
                </a:lnTo>
                <a:lnTo>
                  <a:pt x="2233" y="667"/>
                </a:lnTo>
                <a:lnTo>
                  <a:pt x="2242" y="674"/>
                </a:lnTo>
                <a:lnTo>
                  <a:pt x="2250" y="684"/>
                </a:lnTo>
                <a:lnTo>
                  <a:pt x="2257" y="693"/>
                </a:lnTo>
                <a:lnTo>
                  <a:pt x="2264" y="699"/>
                </a:lnTo>
                <a:lnTo>
                  <a:pt x="2267" y="707"/>
                </a:lnTo>
                <a:lnTo>
                  <a:pt x="2272" y="715"/>
                </a:lnTo>
                <a:lnTo>
                  <a:pt x="2278" y="726"/>
                </a:lnTo>
                <a:lnTo>
                  <a:pt x="2285" y="742"/>
                </a:lnTo>
                <a:lnTo>
                  <a:pt x="2294" y="761"/>
                </a:lnTo>
                <a:lnTo>
                  <a:pt x="2301" y="783"/>
                </a:lnTo>
                <a:lnTo>
                  <a:pt x="2309" y="821"/>
                </a:lnTo>
                <a:lnTo>
                  <a:pt x="2315" y="861"/>
                </a:lnTo>
                <a:lnTo>
                  <a:pt x="2316" y="904"/>
                </a:lnTo>
                <a:lnTo>
                  <a:pt x="2316" y="948"/>
                </a:lnTo>
                <a:lnTo>
                  <a:pt x="2312" y="991"/>
                </a:lnTo>
                <a:lnTo>
                  <a:pt x="2306" y="1033"/>
                </a:lnTo>
                <a:lnTo>
                  <a:pt x="2296" y="1073"/>
                </a:lnTo>
                <a:lnTo>
                  <a:pt x="2283" y="1110"/>
                </a:lnTo>
                <a:lnTo>
                  <a:pt x="2266" y="1141"/>
                </a:lnTo>
                <a:lnTo>
                  <a:pt x="2264" y="1144"/>
                </a:lnTo>
                <a:lnTo>
                  <a:pt x="2261" y="1147"/>
                </a:lnTo>
                <a:lnTo>
                  <a:pt x="2257" y="1150"/>
                </a:lnTo>
                <a:lnTo>
                  <a:pt x="2255" y="1152"/>
                </a:lnTo>
                <a:lnTo>
                  <a:pt x="2245" y="1165"/>
                </a:lnTo>
                <a:lnTo>
                  <a:pt x="2219" y="1192"/>
                </a:lnTo>
                <a:lnTo>
                  <a:pt x="2201" y="1204"/>
                </a:lnTo>
                <a:lnTo>
                  <a:pt x="2183" y="1213"/>
                </a:lnTo>
                <a:lnTo>
                  <a:pt x="2163" y="1218"/>
                </a:lnTo>
                <a:lnTo>
                  <a:pt x="2133" y="1218"/>
                </a:lnTo>
                <a:lnTo>
                  <a:pt x="2105" y="1212"/>
                </a:lnTo>
                <a:lnTo>
                  <a:pt x="2077" y="1202"/>
                </a:lnTo>
                <a:lnTo>
                  <a:pt x="2051" y="1191"/>
                </a:lnTo>
                <a:lnTo>
                  <a:pt x="2026" y="1181"/>
                </a:lnTo>
                <a:lnTo>
                  <a:pt x="2001" y="1172"/>
                </a:lnTo>
                <a:lnTo>
                  <a:pt x="1987" y="1165"/>
                </a:lnTo>
                <a:lnTo>
                  <a:pt x="1976" y="1159"/>
                </a:lnTo>
                <a:lnTo>
                  <a:pt x="1964" y="1157"/>
                </a:lnTo>
                <a:lnTo>
                  <a:pt x="1951" y="1157"/>
                </a:lnTo>
                <a:lnTo>
                  <a:pt x="1936" y="1162"/>
                </a:lnTo>
                <a:lnTo>
                  <a:pt x="1925" y="1173"/>
                </a:lnTo>
                <a:lnTo>
                  <a:pt x="1917" y="1186"/>
                </a:lnTo>
                <a:lnTo>
                  <a:pt x="1911" y="1204"/>
                </a:lnTo>
                <a:lnTo>
                  <a:pt x="1906" y="1224"/>
                </a:lnTo>
                <a:lnTo>
                  <a:pt x="1901" y="1268"/>
                </a:lnTo>
                <a:lnTo>
                  <a:pt x="1900" y="1324"/>
                </a:lnTo>
                <a:lnTo>
                  <a:pt x="1900" y="1378"/>
                </a:lnTo>
                <a:lnTo>
                  <a:pt x="1901" y="1430"/>
                </a:lnTo>
                <a:lnTo>
                  <a:pt x="1907" y="1481"/>
                </a:lnTo>
                <a:lnTo>
                  <a:pt x="1917" y="1528"/>
                </a:lnTo>
                <a:lnTo>
                  <a:pt x="1929" y="1574"/>
                </a:lnTo>
                <a:lnTo>
                  <a:pt x="1942" y="1619"/>
                </a:lnTo>
                <a:lnTo>
                  <a:pt x="1957" y="1663"/>
                </a:lnTo>
                <a:lnTo>
                  <a:pt x="1970" y="1708"/>
                </a:lnTo>
                <a:lnTo>
                  <a:pt x="1982" y="1756"/>
                </a:lnTo>
                <a:lnTo>
                  <a:pt x="1922" y="1773"/>
                </a:lnTo>
                <a:lnTo>
                  <a:pt x="1858" y="1791"/>
                </a:lnTo>
                <a:lnTo>
                  <a:pt x="1793" y="1809"/>
                </a:lnTo>
                <a:lnTo>
                  <a:pt x="1724" y="1825"/>
                </a:lnTo>
                <a:lnTo>
                  <a:pt x="1677" y="1831"/>
                </a:lnTo>
                <a:lnTo>
                  <a:pt x="1627" y="1835"/>
                </a:lnTo>
                <a:lnTo>
                  <a:pt x="1575" y="1836"/>
                </a:lnTo>
                <a:lnTo>
                  <a:pt x="1515" y="1836"/>
                </a:lnTo>
                <a:lnTo>
                  <a:pt x="1486" y="1832"/>
                </a:lnTo>
                <a:lnTo>
                  <a:pt x="1458" y="1828"/>
                </a:lnTo>
                <a:lnTo>
                  <a:pt x="1432" y="1817"/>
                </a:lnTo>
                <a:lnTo>
                  <a:pt x="1446" y="1782"/>
                </a:lnTo>
                <a:lnTo>
                  <a:pt x="1459" y="1752"/>
                </a:lnTo>
                <a:lnTo>
                  <a:pt x="1471" y="1720"/>
                </a:lnTo>
                <a:lnTo>
                  <a:pt x="1480" y="1696"/>
                </a:lnTo>
                <a:lnTo>
                  <a:pt x="1487" y="1671"/>
                </a:lnTo>
                <a:lnTo>
                  <a:pt x="1493" y="1645"/>
                </a:lnTo>
                <a:lnTo>
                  <a:pt x="1494" y="1618"/>
                </a:lnTo>
                <a:lnTo>
                  <a:pt x="1491" y="1590"/>
                </a:lnTo>
                <a:lnTo>
                  <a:pt x="1482" y="1566"/>
                </a:lnTo>
                <a:lnTo>
                  <a:pt x="1470" y="1544"/>
                </a:lnTo>
                <a:lnTo>
                  <a:pt x="1454" y="1524"/>
                </a:lnTo>
                <a:lnTo>
                  <a:pt x="1437" y="1506"/>
                </a:lnTo>
                <a:lnTo>
                  <a:pt x="1435" y="1504"/>
                </a:lnTo>
                <a:lnTo>
                  <a:pt x="1431" y="1497"/>
                </a:lnTo>
                <a:lnTo>
                  <a:pt x="1429" y="1494"/>
                </a:lnTo>
                <a:lnTo>
                  <a:pt x="1426" y="1493"/>
                </a:lnTo>
                <a:lnTo>
                  <a:pt x="1423" y="1493"/>
                </a:lnTo>
                <a:lnTo>
                  <a:pt x="1418" y="1490"/>
                </a:lnTo>
                <a:lnTo>
                  <a:pt x="1417" y="1489"/>
                </a:lnTo>
                <a:lnTo>
                  <a:pt x="1415" y="1487"/>
                </a:lnTo>
                <a:lnTo>
                  <a:pt x="1415" y="1484"/>
                </a:lnTo>
                <a:lnTo>
                  <a:pt x="1414" y="1483"/>
                </a:lnTo>
                <a:lnTo>
                  <a:pt x="1406" y="1483"/>
                </a:lnTo>
                <a:lnTo>
                  <a:pt x="1404" y="1482"/>
                </a:lnTo>
                <a:lnTo>
                  <a:pt x="1403" y="1479"/>
                </a:lnTo>
                <a:lnTo>
                  <a:pt x="1403" y="1476"/>
                </a:lnTo>
                <a:lnTo>
                  <a:pt x="1402" y="1475"/>
                </a:lnTo>
                <a:lnTo>
                  <a:pt x="1395" y="1475"/>
                </a:lnTo>
                <a:lnTo>
                  <a:pt x="1375" y="1460"/>
                </a:lnTo>
                <a:lnTo>
                  <a:pt x="1353" y="1451"/>
                </a:lnTo>
                <a:lnTo>
                  <a:pt x="1329" y="1444"/>
                </a:lnTo>
                <a:lnTo>
                  <a:pt x="1302" y="1437"/>
                </a:lnTo>
                <a:lnTo>
                  <a:pt x="1266" y="1430"/>
                </a:lnTo>
                <a:lnTo>
                  <a:pt x="1225" y="1423"/>
                </a:lnTo>
                <a:lnTo>
                  <a:pt x="1182" y="1421"/>
                </a:lnTo>
                <a:lnTo>
                  <a:pt x="1138" y="1421"/>
                </a:lnTo>
                <a:lnTo>
                  <a:pt x="1094" y="1423"/>
                </a:lnTo>
                <a:lnTo>
                  <a:pt x="1051" y="1430"/>
                </a:lnTo>
                <a:lnTo>
                  <a:pt x="1013" y="1437"/>
                </a:lnTo>
                <a:lnTo>
                  <a:pt x="976" y="1447"/>
                </a:lnTo>
                <a:lnTo>
                  <a:pt x="946" y="1460"/>
                </a:lnTo>
                <a:lnTo>
                  <a:pt x="922" y="1473"/>
                </a:lnTo>
                <a:lnTo>
                  <a:pt x="902" y="1489"/>
                </a:lnTo>
                <a:lnTo>
                  <a:pt x="885" y="1505"/>
                </a:lnTo>
                <a:lnTo>
                  <a:pt x="869" y="1521"/>
                </a:lnTo>
                <a:lnTo>
                  <a:pt x="864" y="1527"/>
                </a:lnTo>
                <a:lnTo>
                  <a:pt x="859" y="1537"/>
                </a:lnTo>
                <a:lnTo>
                  <a:pt x="853" y="1548"/>
                </a:lnTo>
                <a:lnTo>
                  <a:pt x="849" y="1556"/>
                </a:lnTo>
                <a:lnTo>
                  <a:pt x="841" y="1583"/>
                </a:lnTo>
                <a:lnTo>
                  <a:pt x="837" y="1610"/>
                </a:lnTo>
                <a:lnTo>
                  <a:pt x="840" y="1627"/>
                </a:lnTo>
                <a:lnTo>
                  <a:pt x="845" y="1640"/>
                </a:lnTo>
                <a:lnTo>
                  <a:pt x="857" y="1667"/>
                </a:lnTo>
                <a:lnTo>
                  <a:pt x="868" y="1695"/>
                </a:lnTo>
                <a:lnTo>
                  <a:pt x="880" y="1720"/>
                </a:lnTo>
                <a:lnTo>
                  <a:pt x="888" y="1736"/>
                </a:lnTo>
                <a:lnTo>
                  <a:pt x="898" y="1752"/>
                </a:lnTo>
                <a:lnTo>
                  <a:pt x="907" y="1769"/>
                </a:lnTo>
                <a:lnTo>
                  <a:pt x="913" y="1787"/>
                </a:lnTo>
                <a:lnTo>
                  <a:pt x="918" y="1808"/>
                </a:lnTo>
                <a:lnTo>
                  <a:pt x="919" y="1832"/>
                </a:lnTo>
                <a:lnTo>
                  <a:pt x="901" y="1840"/>
                </a:lnTo>
                <a:lnTo>
                  <a:pt x="881" y="1841"/>
                </a:lnTo>
                <a:lnTo>
                  <a:pt x="860" y="1841"/>
                </a:lnTo>
                <a:lnTo>
                  <a:pt x="841" y="1840"/>
                </a:lnTo>
                <a:lnTo>
                  <a:pt x="780" y="1840"/>
                </a:lnTo>
                <a:lnTo>
                  <a:pt x="719" y="1837"/>
                </a:lnTo>
                <a:lnTo>
                  <a:pt x="660" y="1832"/>
                </a:lnTo>
                <a:lnTo>
                  <a:pt x="604" y="1825"/>
                </a:lnTo>
                <a:lnTo>
                  <a:pt x="532" y="1810"/>
                </a:lnTo>
                <a:lnTo>
                  <a:pt x="464" y="1793"/>
                </a:lnTo>
                <a:lnTo>
                  <a:pt x="398" y="1774"/>
                </a:lnTo>
                <a:lnTo>
                  <a:pt x="335" y="1756"/>
                </a:lnTo>
                <a:lnTo>
                  <a:pt x="350" y="1703"/>
                </a:lnTo>
                <a:lnTo>
                  <a:pt x="364" y="1656"/>
                </a:lnTo>
                <a:lnTo>
                  <a:pt x="377" y="1610"/>
                </a:lnTo>
                <a:lnTo>
                  <a:pt x="388" y="1563"/>
                </a:lnTo>
                <a:lnTo>
                  <a:pt x="399" y="1514"/>
                </a:lnTo>
                <a:lnTo>
                  <a:pt x="408" y="1460"/>
                </a:lnTo>
                <a:lnTo>
                  <a:pt x="414" y="1405"/>
                </a:lnTo>
                <a:lnTo>
                  <a:pt x="417" y="1348"/>
                </a:lnTo>
                <a:lnTo>
                  <a:pt x="419" y="1287"/>
                </a:lnTo>
                <a:lnTo>
                  <a:pt x="420" y="1266"/>
                </a:lnTo>
                <a:lnTo>
                  <a:pt x="422" y="1223"/>
                </a:lnTo>
                <a:lnTo>
                  <a:pt x="422" y="1201"/>
                </a:lnTo>
                <a:lnTo>
                  <a:pt x="421" y="1180"/>
                </a:lnTo>
                <a:lnTo>
                  <a:pt x="419" y="1162"/>
                </a:lnTo>
                <a:lnTo>
                  <a:pt x="413" y="1146"/>
                </a:lnTo>
                <a:lnTo>
                  <a:pt x="404" y="1134"/>
                </a:lnTo>
                <a:lnTo>
                  <a:pt x="392" y="1125"/>
                </a:lnTo>
                <a:lnTo>
                  <a:pt x="371" y="1120"/>
                </a:lnTo>
                <a:lnTo>
                  <a:pt x="350" y="1120"/>
                </a:lnTo>
                <a:lnTo>
                  <a:pt x="329" y="1124"/>
                </a:lnTo>
                <a:lnTo>
                  <a:pt x="305" y="1131"/>
                </a:lnTo>
                <a:lnTo>
                  <a:pt x="284" y="1141"/>
                </a:lnTo>
                <a:lnTo>
                  <a:pt x="262" y="1152"/>
                </a:lnTo>
                <a:lnTo>
                  <a:pt x="239" y="1164"/>
                </a:lnTo>
                <a:lnTo>
                  <a:pt x="217" y="1178"/>
                </a:lnTo>
                <a:lnTo>
                  <a:pt x="193" y="1190"/>
                </a:lnTo>
                <a:lnTo>
                  <a:pt x="172" y="1198"/>
                </a:lnTo>
                <a:lnTo>
                  <a:pt x="151" y="1202"/>
                </a:lnTo>
                <a:lnTo>
                  <a:pt x="128" y="1200"/>
                </a:lnTo>
                <a:lnTo>
                  <a:pt x="106" y="1191"/>
                </a:lnTo>
                <a:lnTo>
                  <a:pt x="86" y="1178"/>
                </a:lnTo>
                <a:lnTo>
                  <a:pt x="68" y="1162"/>
                </a:lnTo>
                <a:lnTo>
                  <a:pt x="54" y="1144"/>
                </a:lnTo>
                <a:lnTo>
                  <a:pt x="41" y="1125"/>
                </a:lnTo>
                <a:lnTo>
                  <a:pt x="32" y="1107"/>
                </a:lnTo>
                <a:lnTo>
                  <a:pt x="19" y="1077"/>
                </a:lnTo>
                <a:lnTo>
                  <a:pt x="11" y="1041"/>
                </a:lnTo>
                <a:lnTo>
                  <a:pt x="5" y="1004"/>
                </a:lnTo>
                <a:lnTo>
                  <a:pt x="1" y="963"/>
                </a:lnTo>
                <a:lnTo>
                  <a:pt x="0" y="923"/>
                </a:lnTo>
                <a:lnTo>
                  <a:pt x="1" y="882"/>
                </a:lnTo>
                <a:lnTo>
                  <a:pt x="6" y="842"/>
                </a:lnTo>
                <a:lnTo>
                  <a:pt x="12" y="804"/>
                </a:lnTo>
                <a:lnTo>
                  <a:pt x="21" y="769"/>
                </a:lnTo>
                <a:lnTo>
                  <a:pt x="32" y="738"/>
                </a:lnTo>
                <a:lnTo>
                  <a:pt x="39" y="721"/>
                </a:lnTo>
                <a:lnTo>
                  <a:pt x="46" y="708"/>
                </a:lnTo>
                <a:lnTo>
                  <a:pt x="54" y="697"/>
                </a:lnTo>
                <a:lnTo>
                  <a:pt x="62" y="686"/>
                </a:lnTo>
                <a:lnTo>
                  <a:pt x="73" y="673"/>
                </a:lnTo>
                <a:lnTo>
                  <a:pt x="88" y="658"/>
                </a:lnTo>
                <a:lnTo>
                  <a:pt x="102" y="645"/>
                </a:lnTo>
                <a:lnTo>
                  <a:pt x="119" y="635"/>
                </a:lnTo>
                <a:lnTo>
                  <a:pt x="139" y="628"/>
                </a:lnTo>
                <a:lnTo>
                  <a:pt x="159" y="625"/>
                </a:lnTo>
                <a:lnTo>
                  <a:pt x="184" y="625"/>
                </a:lnTo>
                <a:lnTo>
                  <a:pt x="212" y="630"/>
                </a:lnTo>
                <a:lnTo>
                  <a:pt x="239" y="639"/>
                </a:lnTo>
                <a:lnTo>
                  <a:pt x="287" y="658"/>
                </a:lnTo>
                <a:lnTo>
                  <a:pt x="312" y="669"/>
                </a:lnTo>
                <a:lnTo>
                  <a:pt x="338" y="681"/>
                </a:lnTo>
                <a:lnTo>
                  <a:pt x="352" y="684"/>
                </a:lnTo>
                <a:lnTo>
                  <a:pt x="365" y="684"/>
                </a:lnTo>
                <a:lnTo>
                  <a:pt x="378" y="679"/>
                </a:lnTo>
                <a:lnTo>
                  <a:pt x="389" y="668"/>
                </a:lnTo>
                <a:lnTo>
                  <a:pt x="399" y="653"/>
                </a:lnTo>
                <a:lnTo>
                  <a:pt x="406" y="634"/>
                </a:lnTo>
                <a:lnTo>
                  <a:pt x="411" y="612"/>
                </a:lnTo>
                <a:lnTo>
                  <a:pt x="415" y="587"/>
                </a:lnTo>
                <a:lnTo>
                  <a:pt x="417" y="562"/>
                </a:lnTo>
                <a:lnTo>
                  <a:pt x="419" y="535"/>
                </a:lnTo>
                <a:lnTo>
                  <a:pt x="419" y="482"/>
                </a:lnTo>
                <a:lnTo>
                  <a:pt x="417" y="456"/>
                </a:lnTo>
                <a:lnTo>
                  <a:pt x="416" y="432"/>
                </a:lnTo>
                <a:lnTo>
                  <a:pt x="415" y="411"/>
                </a:lnTo>
                <a:lnTo>
                  <a:pt x="409" y="359"/>
                </a:lnTo>
                <a:lnTo>
                  <a:pt x="399" y="310"/>
                </a:lnTo>
                <a:lnTo>
                  <a:pt x="387" y="262"/>
                </a:lnTo>
                <a:lnTo>
                  <a:pt x="372" y="217"/>
                </a:lnTo>
                <a:lnTo>
                  <a:pt x="359" y="172"/>
                </a:lnTo>
                <a:lnTo>
                  <a:pt x="346" y="129"/>
                </a:lnTo>
                <a:lnTo>
                  <a:pt x="335" y="85"/>
                </a:lnTo>
                <a:lnTo>
                  <a:pt x="383" y="73"/>
                </a:lnTo>
                <a:lnTo>
                  <a:pt x="434" y="57"/>
                </a:lnTo>
                <a:lnTo>
                  <a:pt x="488" y="40"/>
                </a:lnTo>
                <a:lnTo>
                  <a:pt x="543" y="24"/>
                </a:lnTo>
                <a:lnTo>
                  <a:pt x="600" y="12"/>
                </a:lnTo>
                <a:lnTo>
                  <a:pt x="657" y="5"/>
                </a:lnTo>
                <a:lnTo>
                  <a:pt x="696" y="3"/>
                </a:lnTo>
                <a:lnTo>
                  <a:pt x="736" y="3"/>
                </a:lnTo>
                <a:lnTo>
                  <a:pt x="776" y="5"/>
                </a:lnTo>
                <a:lnTo>
                  <a:pt x="830" y="7"/>
                </a:lnTo>
                <a:lnTo>
                  <a:pt x="857" y="12"/>
                </a:lnTo>
                <a:lnTo>
                  <a:pt x="880" y="20"/>
                </a:lnTo>
                <a:lnTo>
                  <a:pt x="882" y="31"/>
                </a:lnTo>
                <a:lnTo>
                  <a:pt x="880" y="40"/>
                </a:lnTo>
                <a:lnTo>
                  <a:pt x="875" y="50"/>
                </a:lnTo>
                <a:lnTo>
                  <a:pt x="869" y="57"/>
                </a:lnTo>
                <a:lnTo>
                  <a:pt x="864" y="65"/>
                </a:lnTo>
                <a:lnTo>
                  <a:pt x="846" y="115"/>
                </a:lnTo>
                <a:lnTo>
                  <a:pt x="836" y="141"/>
                </a:lnTo>
                <a:lnTo>
                  <a:pt x="829" y="168"/>
                </a:lnTo>
                <a:lnTo>
                  <a:pt x="824" y="194"/>
                </a:lnTo>
                <a:lnTo>
                  <a:pt x="823" y="222"/>
                </a:lnTo>
                <a:lnTo>
                  <a:pt x="826" y="250"/>
                </a:lnTo>
                <a:lnTo>
                  <a:pt x="832" y="269"/>
                </a:lnTo>
                <a:lnTo>
                  <a:pt x="842" y="286"/>
                </a:lnTo>
                <a:lnTo>
                  <a:pt x="864" y="320"/>
                </a:lnTo>
                <a:lnTo>
                  <a:pt x="876" y="332"/>
                </a:lnTo>
                <a:lnTo>
                  <a:pt x="892" y="345"/>
                </a:lnTo>
                <a:lnTo>
                  <a:pt x="910" y="357"/>
                </a:lnTo>
                <a:lnTo>
                  <a:pt x="920" y="364"/>
                </a:lnTo>
                <a:lnTo>
                  <a:pt x="929" y="368"/>
                </a:lnTo>
                <a:lnTo>
                  <a:pt x="940" y="374"/>
                </a:lnTo>
                <a:lnTo>
                  <a:pt x="953" y="381"/>
                </a:lnTo>
                <a:lnTo>
                  <a:pt x="966" y="389"/>
                </a:lnTo>
                <a:lnTo>
                  <a:pt x="980" y="396"/>
                </a:lnTo>
                <a:lnTo>
                  <a:pt x="1002" y="402"/>
                </a:lnTo>
                <a:lnTo>
                  <a:pt x="1026" y="407"/>
                </a:lnTo>
                <a:lnTo>
                  <a:pt x="1049" y="411"/>
                </a:lnTo>
                <a:lnTo>
                  <a:pt x="1098" y="418"/>
                </a:lnTo>
                <a:lnTo>
                  <a:pt x="1148" y="421"/>
                </a:lnTo>
                <a:lnTo>
                  <a:pt x="1196" y="421"/>
                </a:lnTo>
                <a:lnTo>
                  <a:pt x="1244" y="416"/>
                </a:lnTo>
                <a:lnTo>
                  <a:pt x="1289" y="407"/>
                </a:lnTo>
                <a:lnTo>
                  <a:pt x="1330" y="395"/>
                </a:lnTo>
                <a:lnTo>
                  <a:pt x="1369" y="381"/>
                </a:lnTo>
                <a:lnTo>
                  <a:pt x="1402" y="361"/>
                </a:lnTo>
                <a:lnTo>
                  <a:pt x="1423" y="346"/>
                </a:lnTo>
                <a:lnTo>
                  <a:pt x="1440" y="328"/>
                </a:lnTo>
                <a:lnTo>
                  <a:pt x="1454" y="309"/>
                </a:lnTo>
                <a:lnTo>
                  <a:pt x="1466" y="287"/>
                </a:lnTo>
                <a:lnTo>
                  <a:pt x="1475" y="261"/>
                </a:lnTo>
                <a:lnTo>
                  <a:pt x="1479" y="236"/>
                </a:lnTo>
                <a:lnTo>
                  <a:pt x="1476" y="211"/>
                </a:lnTo>
                <a:lnTo>
                  <a:pt x="1469" y="188"/>
                </a:lnTo>
                <a:lnTo>
                  <a:pt x="1459" y="166"/>
                </a:lnTo>
                <a:lnTo>
                  <a:pt x="1448" y="144"/>
                </a:lnTo>
                <a:lnTo>
                  <a:pt x="1437" y="124"/>
                </a:lnTo>
                <a:lnTo>
                  <a:pt x="1429" y="108"/>
                </a:lnTo>
                <a:lnTo>
                  <a:pt x="1419" y="91"/>
                </a:lnTo>
                <a:lnTo>
                  <a:pt x="1410" y="73"/>
                </a:lnTo>
                <a:lnTo>
                  <a:pt x="1403" y="53"/>
                </a:lnTo>
                <a:lnTo>
                  <a:pt x="1400" y="31"/>
                </a:lnTo>
                <a:lnTo>
                  <a:pt x="1398" y="8"/>
                </a:lnTo>
                <a:lnTo>
                  <a:pt x="1403" y="3"/>
                </a:lnTo>
                <a:lnTo>
                  <a:pt x="1407" y="2"/>
                </a:lnTo>
                <a:lnTo>
                  <a:pt x="1409" y="1"/>
                </a:lnTo>
                <a:lnTo>
                  <a:pt x="1493" y="0"/>
                </a:lnTo>
                <a:close/>
              </a:path>
            </a:pathLst>
          </a:custGeom>
          <a:solidFill>
            <a:schemeClr val="accent1"/>
          </a:solidFill>
          <a:ln w="12700">
            <a:solidFill>
              <a:schemeClr val="bg1"/>
            </a:solidFill>
            <a:round/>
            <a:headEnd/>
            <a:tailEnd/>
          </a:ln>
        </p:spPr>
        <p:txBody>
          <a:bodyPr/>
          <a:lstStyle/>
          <a:p>
            <a:endParaRPr lang="en-US"/>
          </a:p>
        </p:txBody>
      </p:sp>
      <p:sp>
        <p:nvSpPr>
          <p:cNvPr id="80" name="Rectangle 14"/>
          <p:cNvSpPr>
            <a:spLocks noChangeArrowheads="1"/>
          </p:cNvSpPr>
          <p:nvPr/>
        </p:nvSpPr>
        <p:spPr bwMode="gray">
          <a:xfrm rot="20784438">
            <a:off x="1686059" y="4090222"/>
            <a:ext cx="966212" cy="966182"/>
          </a:xfrm>
          <a:prstGeom prst="rect">
            <a:avLst/>
          </a:prstGeom>
          <a:noFill/>
          <a:ln w="19050" algn="ctr">
            <a:noFill/>
            <a:miter lim="800000"/>
            <a:headEnd/>
            <a:tailEnd/>
          </a:ln>
          <a:effectLst/>
        </p:spPr>
        <p:txBody>
          <a:bodyPr lIns="72000" tIns="72000" rIns="72000" bIns="72000" anchor="ctr"/>
          <a:lstStyle/>
          <a:p>
            <a:pPr lvl="0" algn="ctr" fontAlgn="base">
              <a:spcBef>
                <a:spcPct val="0"/>
              </a:spcBef>
              <a:spcAft>
                <a:spcPct val="0"/>
              </a:spcAft>
              <a:defRPr/>
            </a:pPr>
            <a:r>
              <a:rPr lang="en-US" sz="1400" b="1">
                <a:solidFill>
                  <a:srgbClr val="FFFFFF"/>
                </a:solidFill>
              </a:rPr>
              <a:t>Text</a:t>
            </a:r>
            <a:endParaRPr lang="en-US" sz="1400" b="1" dirty="0">
              <a:solidFill>
                <a:srgbClr val="FFFFFF"/>
              </a:solidFill>
            </a:endParaRPr>
          </a:p>
        </p:txBody>
      </p:sp>
      <p:sp>
        <p:nvSpPr>
          <p:cNvPr id="82" name="AutoShape 17"/>
          <p:cNvSpPr>
            <a:spLocks/>
          </p:cNvSpPr>
          <p:nvPr/>
        </p:nvSpPr>
        <p:spPr bwMode="gray">
          <a:xfrm rot="-1542013">
            <a:off x="3188395" y="4199168"/>
            <a:ext cx="1377950" cy="1729740"/>
          </a:xfrm>
          <a:custGeom>
            <a:avLst/>
            <a:gdLst>
              <a:gd name="T0" fmla="*/ 1076 w 1845"/>
              <a:gd name="T1" fmla="*/ 22 h 2316"/>
              <a:gd name="T2" fmla="*/ 1160 w 1845"/>
              <a:gd name="T3" fmla="*/ 65 h 2316"/>
              <a:gd name="T4" fmla="*/ 1189 w 1845"/>
              <a:gd name="T5" fmla="*/ 89 h 2316"/>
              <a:gd name="T6" fmla="*/ 1206 w 1845"/>
              <a:gd name="T7" fmla="*/ 118 h 2316"/>
              <a:gd name="T8" fmla="*/ 1211 w 1845"/>
              <a:gd name="T9" fmla="*/ 224 h 2316"/>
              <a:gd name="T10" fmla="*/ 1164 w 1845"/>
              <a:gd name="T11" fmla="*/ 332 h 2316"/>
              <a:gd name="T12" fmla="*/ 1201 w 1845"/>
              <a:gd name="T13" fmla="*/ 405 h 2316"/>
              <a:gd name="T14" fmla="*/ 1425 w 1845"/>
              <a:gd name="T15" fmla="*/ 416 h 2316"/>
              <a:gd name="T16" fmla="*/ 1756 w 1845"/>
              <a:gd name="T17" fmla="*/ 336 h 2316"/>
              <a:gd name="T18" fmla="*/ 1829 w 1845"/>
              <a:gd name="T19" fmla="*/ 596 h 2316"/>
              <a:gd name="T20" fmla="*/ 1832 w 1845"/>
              <a:gd name="T21" fmla="*/ 848 h 2316"/>
              <a:gd name="T22" fmla="*/ 1727 w 1845"/>
              <a:gd name="T23" fmla="*/ 846 h 2316"/>
              <a:gd name="T24" fmla="*/ 1564 w 1845"/>
              <a:gd name="T25" fmla="*/ 839 h 2316"/>
              <a:gd name="T26" fmla="*/ 1441 w 1845"/>
              <a:gd name="T27" fmla="*/ 1005 h 2316"/>
              <a:gd name="T28" fmla="*/ 1429 w 1845"/>
              <a:gd name="T29" fmla="*/ 1268 h 2316"/>
              <a:gd name="T30" fmla="*/ 1509 w 1845"/>
              <a:gd name="T31" fmla="*/ 1435 h 2316"/>
              <a:gd name="T32" fmla="*/ 1659 w 1845"/>
              <a:gd name="T33" fmla="*/ 1470 h 2316"/>
              <a:gd name="T34" fmla="*/ 1771 w 1845"/>
              <a:gd name="T35" fmla="*/ 1411 h 2316"/>
              <a:gd name="T36" fmla="*/ 1845 w 1845"/>
              <a:gd name="T37" fmla="*/ 1493 h 2316"/>
              <a:gd name="T38" fmla="*/ 1797 w 1845"/>
              <a:gd name="T39" fmla="*/ 1850 h 2316"/>
              <a:gd name="T40" fmla="*/ 1530 w 1845"/>
              <a:gd name="T41" fmla="*/ 1920 h 2316"/>
              <a:gd name="T42" fmla="*/ 1271 w 1845"/>
              <a:gd name="T43" fmla="*/ 1897 h 2316"/>
              <a:gd name="T44" fmla="*/ 1133 w 1845"/>
              <a:gd name="T45" fmla="*/ 1914 h 2316"/>
              <a:gd name="T46" fmla="*/ 1137 w 1845"/>
              <a:gd name="T47" fmla="*/ 2017 h 2316"/>
              <a:gd name="T48" fmla="*/ 1199 w 1845"/>
              <a:gd name="T49" fmla="*/ 2143 h 2316"/>
              <a:gd name="T50" fmla="*/ 1188 w 1845"/>
              <a:gd name="T51" fmla="*/ 2220 h 2316"/>
              <a:gd name="T52" fmla="*/ 1142 w 1845"/>
              <a:gd name="T53" fmla="*/ 2267 h 2316"/>
              <a:gd name="T54" fmla="*/ 924 w 1845"/>
              <a:gd name="T55" fmla="*/ 2316 h 2316"/>
              <a:gd name="T56" fmla="*/ 727 w 1845"/>
              <a:gd name="T57" fmla="*/ 2279 h 2316"/>
              <a:gd name="T58" fmla="*/ 637 w 1845"/>
              <a:gd name="T59" fmla="*/ 2196 h 2316"/>
              <a:gd name="T60" fmla="*/ 643 w 1845"/>
              <a:gd name="T61" fmla="*/ 2074 h 2316"/>
              <a:gd name="T62" fmla="*/ 688 w 1845"/>
              <a:gd name="T63" fmla="*/ 1962 h 2316"/>
              <a:gd name="T64" fmla="*/ 670 w 1845"/>
              <a:gd name="T65" fmla="*/ 1929 h 2316"/>
              <a:gd name="T66" fmla="*/ 639 w 1845"/>
              <a:gd name="T67" fmla="*/ 1911 h 2316"/>
              <a:gd name="T68" fmla="*/ 463 w 1845"/>
              <a:gd name="T69" fmla="*/ 1900 h 2316"/>
              <a:gd name="T70" fmla="*/ 243 w 1845"/>
              <a:gd name="T71" fmla="*/ 1936 h 2316"/>
              <a:gd name="T72" fmla="*/ 34 w 1845"/>
              <a:gd name="T73" fmla="*/ 1796 h 2316"/>
              <a:gd name="T74" fmla="*/ 6 w 1845"/>
              <a:gd name="T75" fmla="*/ 1518 h 2316"/>
              <a:gd name="T76" fmla="*/ 110 w 1845"/>
              <a:gd name="T77" fmla="*/ 1468 h 2316"/>
              <a:gd name="T78" fmla="*/ 281 w 1845"/>
              <a:gd name="T79" fmla="*/ 1481 h 2316"/>
              <a:gd name="T80" fmla="*/ 399 w 1845"/>
              <a:gd name="T81" fmla="*/ 1330 h 2316"/>
              <a:gd name="T82" fmla="*/ 415 w 1845"/>
              <a:gd name="T83" fmla="*/ 1052 h 2316"/>
              <a:gd name="T84" fmla="*/ 344 w 1845"/>
              <a:gd name="T85" fmla="*/ 890 h 2316"/>
              <a:gd name="T86" fmla="*/ 215 w 1845"/>
              <a:gd name="T87" fmla="*/ 841 h 2316"/>
              <a:gd name="T88" fmla="*/ 83 w 1845"/>
              <a:gd name="T89" fmla="*/ 903 h 2316"/>
              <a:gd name="T90" fmla="*/ 0 w 1845"/>
              <a:gd name="T91" fmla="*/ 857 h 2316"/>
              <a:gd name="T92" fmla="*/ 32 w 1845"/>
              <a:gd name="T93" fmla="*/ 536 h 2316"/>
              <a:gd name="T94" fmla="*/ 296 w 1845"/>
              <a:gd name="T95" fmla="*/ 393 h 2316"/>
              <a:gd name="T96" fmla="*/ 671 w 1845"/>
              <a:gd name="T97" fmla="*/ 421 h 2316"/>
              <a:gd name="T98" fmla="*/ 718 w 1845"/>
              <a:gd name="T99" fmla="*/ 381 h 2316"/>
              <a:gd name="T100" fmla="*/ 661 w 1845"/>
              <a:gd name="T101" fmla="*/ 213 h 2316"/>
              <a:gd name="T102" fmla="*/ 650 w 1845"/>
              <a:gd name="T103" fmla="*/ 110 h 2316"/>
              <a:gd name="T104" fmla="*/ 717 w 1845"/>
              <a:gd name="T105" fmla="*/ 41 h 2316"/>
              <a:gd name="T106" fmla="*/ 909 w 1845"/>
              <a:gd name="T107" fmla="*/ 0 h 231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45"/>
              <a:gd name="T163" fmla="*/ 0 h 2316"/>
              <a:gd name="T164" fmla="*/ 1845 w 1845"/>
              <a:gd name="T165" fmla="*/ 2316 h 231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45" h="2316">
                <a:moveTo>
                  <a:pt x="909" y="0"/>
                </a:moveTo>
                <a:lnTo>
                  <a:pt x="950" y="1"/>
                </a:lnTo>
                <a:lnTo>
                  <a:pt x="989" y="5"/>
                </a:lnTo>
                <a:lnTo>
                  <a:pt x="1026" y="10"/>
                </a:lnTo>
                <a:lnTo>
                  <a:pt x="1060" y="17"/>
                </a:lnTo>
                <a:lnTo>
                  <a:pt x="1076" y="22"/>
                </a:lnTo>
                <a:lnTo>
                  <a:pt x="1091" y="27"/>
                </a:lnTo>
                <a:lnTo>
                  <a:pt x="1104" y="33"/>
                </a:lnTo>
                <a:lnTo>
                  <a:pt x="1119" y="40"/>
                </a:lnTo>
                <a:lnTo>
                  <a:pt x="1132" y="45"/>
                </a:lnTo>
                <a:lnTo>
                  <a:pt x="1145" y="51"/>
                </a:lnTo>
                <a:lnTo>
                  <a:pt x="1160" y="65"/>
                </a:lnTo>
                <a:lnTo>
                  <a:pt x="1176" y="78"/>
                </a:lnTo>
                <a:lnTo>
                  <a:pt x="1178" y="80"/>
                </a:lnTo>
                <a:lnTo>
                  <a:pt x="1182" y="82"/>
                </a:lnTo>
                <a:lnTo>
                  <a:pt x="1186" y="84"/>
                </a:lnTo>
                <a:lnTo>
                  <a:pt x="1188" y="87"/>
                </a:lnTo>
                <a:lnTo>
                  <a:pt x="1189" y="89"/>
                </a:lnTo>
                <a:lnTo>
                  <a:pt x="1189" y="90"/>
                </a:lnTo>
                <a:lnTo>
                  <a:pt x="1191" y="94"/>
                </a:lnTo>
                <a:lnTo>
                  <a:pt x="1191" y="95"/>
                </a:lnTo>
                <a:lnTo>
                  <a:pt x="1192" y="97"/>
                </a:lnTo>
                <a:lnTo>
                  <a:pt x="1199" y="106"/>
                </a:lnTo>
                <a:lnTo>
                  <a:pt x="1206" y="118"/>
                </a:lnTo>
                <a:lnTo>
                  <a:pt x="1214" y="132"/>
                </a:lnTo>
                <a:lnTo>
                  <a:pt x="1220" y="146"/>
                </a:lnTo>
                <a:lnTo>
                  <a:pt x="1222" y="160"/>
                </a:lnTo>
                <a:lnTo>
                  <a:pt x="1221" y="180"/>
                </a:lnTo>
                <a:lnTo>
                  <a:pt x="1217" y="202"/>
                </a:lnTo>
                <a:lnTo>
                  <a:pt x="1211" y="224"/>
                </a:lnTo>
                <a:lnTo>
                  <a:pt x="1203" y="246"/>
                </a:lnTo>
                <a:lnTo>
                  <a:pt x="1195" y="267"/>
                </a:lnTo>
                <a:lnTo>
                  <a:pt x="1189" y="280"/>
                </a:lnTo>
                <a:lnTo>
                  <a:pt x="1181" y="297"/>
                </a:lnTo>
                <a:lnTo>
                  <a:pt x="1171" y="314"/>
                </a:lnTo>
                <a:lnTo>
                  <a:pt x="1164" y="332"/>
                </a:lnTo>
                <a:lnTo>
                  <a:pt x="1158" y="348"/>
                </a:lnTo>
                <a:lnTo>
                  <a:pt x="1156" y="363"/>
                </a:lnTo>
                <a:lnTo>
                  <a:pt x="1161" y="377"/>
                </a:lnTo>
                <a:lnTo>
                  <a:pt x="1171" y="388"/>
                </a:lnTo>
                <a:lnTo>
                  <a:pt x="1184" y="398"/>
                </a:lnTo>
                <a:lnTo>
                  <a:pt x="1201" y="405"/>
                </a:lnTo>
                <a:lnTo>
                  <a:pt x="1221" y="410"/>
                </a:lnTo>
                <a:lnTo>
                  <a:pt x="1243" y="414"/>
                </a:lnTo>
                <a:lnTo>
                  <a:pt x="1265" y="416"/>
                </a:lnTo>
                <a:lnTo>
                  <a:pt x="1321" y="419"/>
                </a:lnTo>
                <a:lnTo>
                  <a:pt x="1374" y="419"/>
                </a:lnTo>
                <a:lnTo>
                  <a:pt x="1425" y="416"/>
                </a:lnTo>
                <a:lnTo>
                  <a:pt x="1479" y="411"/>
                </a:lnTo>
                <a:lnTo>
                  <a:pt x="1528" y="402"/>
                </a:lnTo>
                <a:lnTo>
                  <a:pt x="1575" y="390"/>
                </a:lnTo>
                <a:lnTo>
                  <a:pt x="1620" y="375"/>
                </a:lnTo>
                <a:lnTo>
                  <a:pt x="1710" y="348"/>
                </a:lnTo>
                <a:lnTo>
                  <a:pt x="1756" y="336"/>
                </a:lnTo>
                <a:lnTo>
                  <a:pt x="1773" y="390"/>
                </a:lnTo>
                <a:lnTo>
                  <a:pt x="1790" y="447"/>
                </a:lnTo>
                <a:lnTo>
                  <a:pt x="1798" y="472"/>
                </a:lnTo>
                <a:lnTo>
                  <a:pt x="1806" y="500"/>
                </a:lnTo>
                <a:lnTo>
                  <a:pt x="1821" y="559"/>
                </a:lnTo>
                <a:lnTo>
                  <a:pt x="1829" y="596"/>
                </a:lnTo>
                <a:lnTo>
                  <a:pt x="1834" y="638"/>
                </a:lnTo>
                <a:lnTo>
                  <a:pt x="1838" y="680"/>
                </a:lnTo>
                <a:lnTo>
                  <a:pt x="1840" y="728"/>
                </a:lnTo>
                <a:lnTo>
                  <a:pt x="1840" y="768"/>
                </a:lnTo>
                <a:lnTo>
                  <a:pt x="1838" y="808"/>
                </a:lnTo>
                <a:lnTo>
                  <a:pt x="1832" y="848"/>
                </a:lnTo>
                <a:lnTo>
                  <a:pt x="1821" y="885"/>
                </a:lnTo>
                <a:lnTo>
                  <a:pt x="1801" y="879"/>
                </a:lnTo>
                <a:lnTo>
                  <a:pt x="1783" y="871"/>
                </a:lnTo>
                <a:lnTo>
                  <a:pt x="1766" y="863"/>
                </a:lnTo>
                <a:lnTo>
                  <a:pt x="1748" y="854"/>
                </a:lnTo>
                <a:lnTo>
                  <a:pt x="1727" y="846"/>
                </a:lnTo>
                <a:lnTo>
                  <a:pt x="1703" y="837"/>
                </a:lnTo>
                <a:lnTo>
                  <a:pt x="1676" y="830"/>
                </a:lnTo>
                <a:lnTo>
                  <a:pt x="1648" y="824"/>
                </a:lnTo>
                <a:lnTo>
                  <a:pt x="1620" y="824"/>
                </a:lnTo>
                <a:lnTo>
                  <a:pt x="1595" y="828"/>
                </a:lnTo>
                <a:lnTo>
                  <a:pt x="1564" y="839"/>
                </a:lnTo>
                <a:lnTo>
                  <a:pt x="1536" y="856"/>
                </a:lnTo>
                <a:lnTo>
                  <a:pt x="1511" y="878"/>
                </a:lnTo>
                <a:lnTo>
                  <a:pt x="1489" y="904"/>
                </a:lnTo>
                <a:lnTo>
                  <a:pt x="1470" y="935"/>
                </a:lnTo>
                <a:lnTo>
                  <a:pt x="1455" y="969"/>
                </a:lnTo>
                <a:lnTo>
                  <a:pt x="1441" y="1005"/>
                </a:lnTo>
                <a:lnTo>
                  <a:pt x="1431" y="1045"/>
                </a:lnTo>
                <a:lnTo>
                  <a:pt x="1425" y="1087"/>
                </a:lnTo>
                <a:lnTo>
                  <a:pt x="1422" y="1131"/>
                </a:lnTo>
                <a:lnTo>
                  <a:pt x="1421" y="1176"/>
                </a:lnTo>
                <a:lnTo>
                  <a:pt x="1423" y="1222"/>
                </a:lnTo>
                <a:lnTo>
                  <a:pt x="1429" y="1268"/>
                </a:lnTo>
                <a:lnTo>
                  <a:pt x="1438" y="1303"/>
                </a:lnTo>
                <a:lnTo>
                  <a:pt x="1449" y="1339"/>
                </a:lnTo>
                <a:lnTo>
                  <a:pt x="1463" y="1370"/>
                </a:lnTo>
                <a:lnTo>
                  <a:pt x="1479" y="1400"/>
                </a:lnTo>
                <a:lnTo>
                  <a:pt x="1492" y="1417"/>
                </a:lnTo>
                <a:lnTo>
                  <a:pt x="1509" y="1435"/>
                </a:lnTo>
                <a:lnTo>
                  <a:pt x="1530" y="1452"/>
                </a:lnTo>
                <a:lnTo>
                  <a:pt x="1554" y="1467"/>
                </a:lnTo>
                <a:lnTo>
                  <a:pt x="1581" y="1476"/>
                </a:lnTo>
                <a:lnTo>
                  <a:pt x="1610" y="1480"/>
                </a:lnTo>
                <a:lnTo>
                  <a:pt x="1635" y="1478"/>
                </a:lnTo>
                <a:lnTo>
                  <a:pt x="1659" y="1470"/>
                </a:lnTo>
                <a:lnTo>
                  <a:pt x="1681" y="1459"/>
                </a:lnTo>
                <a:lnTo>
                  <a:pt x="1702" y="1448"/>
                </a:lnTo>
                <a:lnTo>
                  <a:pt x="1721" y="1437"/>
                </a:lnTo>
                <a:lnTo>
                  <a:pt x="1737" y="1429"/>
                </a:lnTo>
                <a:lnTo>
                  <a:pt x="1754" y="1419"/>
                </a:lnTo>
                <a:lnTo>
                  <a:pt x="1771" y="1411"/>
                </a:lnTo>
                <a:lnTo>
                  <a:pt x="1790" y="1404"/>
                </a:lnTo>
                <a:lnTo>
                  <a:pt x="1812" y="1400"/>
                </a:lnTo>
                <a:lnTo>
                  <a:pt x="1837" y="1400"/>
                </a:lnTo>
                <a:lnTo>
                  <a:pt x="1843" y="1430"/>
                </a:lnTo>
                <a:lnTo>
                  <a:pt x="1845" y="1462"/>
                </a:lnTo>
                <a:lnTo>
                  <a:pt x="1845" y="1493"/>
                </a:lnTo>
                <a:lnTo>
                  <a:pt x="1840" y="1557"/>
                </a:lnTo>
                <a:lnTo>
                  <a:pt x="1837" y="1616"/>
                </a:lnTo>
                <a:lnTo>
                  <a:pt x="1832" y="1675"/>
                </a:lnTo>
                <a:lnTo>
                  <a:pt x="1825" y="1729"/>
                </a:lnTo>
                <a:lnTo>
                  <a:pt x="1814" y="1783"/>
                </a:lnTo>
                <a:lnTo>
                  <a:pt x="1797" y="1850"/>
                </a:lnTo>
                <a:lnTo>
                  <a:pt x="1778" y="1916"/>
                </a:lnTo>
                <a:lnTo>
                  <a:pt x="1760" y="1983"/>
                </a:lnTo>
                <a:lnTo>
                  <a:pt x="1705" y="1966"/>
                </a:lnTo>
                <a:lnTo>
                  <a:pt x="1649" y="1950"/>
                </a:lnTo>
                <a:lnTo>
                  <a:pt x="1592" y="1935"/>
                </a:lnTo>
                <a:lnTo>
                  <a:pt x="1530" y="1920"/>
                </a:lnTo>
                <a:lnTo>
                  <a:pt x="1464" y="1910"/>
                </a:lnTo>
                <a:lnTo>
                  <a:pt x="1425" y="1906"/>
                </a:lnTo>
                <a:lnTo>
                  <a:pt x="1384" y="1902"/>
                </a:lnTo>
                <a:lnTo>
                  <a:pt x="1339" y="1901"/>
                </a:lnTo>
                <a:lnTo>
                  <a:pt x="1292" y="1899"/>
                </a:lnTo>
                <a:lnTo>
                  <a:pt x="1271" y="1897"/>
                </a:lnTo>
                <a:lnTo>
                  <a:pt x="1225" y="1895"/>
                </a:lnTo>
                <a:lnTo>
                  <a:pt x="1201" y="1895"/>
                </a:lnTo>
                <a:lnTo>
                  <a:pt x="1180" y="1896"/>
                </a:lnTo>
                <a:lnTo>
                  <a:pt x="1160" y="1900"/>
                </a:lnTo>
                <a:lnTo>
                  <a:pt x="1144" y="1906"/>
                </a:lnTo>
                <a:lnTo>
                  <a:pt x="1133" y="1914"/>
                </a:lnTo>
                <a:lnTo>
                  <a:pt x="1127" y="1927"/>
                </a:lnTo>
                <a:lnTo>
                  <a:pt x="1125" y="1941"/>
                </a:lnTo>
                <a:lnTo>
                  <a:pt x="1125" y="1958"/>
                </a:lnTo>
                <a:lnTo>
                  <a:pt x="1127" y="1975"/>
                </a:lnTo>
                <a:lnTo>
                  <a:pt x="1130" y="1991"/>
                </a:lnTo>
                <a:lnTo>
                  <a:pt x="1137" y="2017"/>
                </a:lnTo>
                <a:lnTo>
                  <a:pt x="1147" y="2039"/>
                </a:lnTo>
                <a:lnTo>
                  <a:pt x="1158" y="2060"/>
                </a:lnTo>
                <a:lnTo>
                  <a:pt x="1171" y="2082"/>
                </a:lnTo>
                <a:lnTo>
                  <a:pt x="1183" y="2105"/>
                </a:lnTo>
                <a:lnTo>
                  <a:pt x="1192" y="2125"/>
                </a:lnTo>
                <a:lnTo>
                  <a:pt x="1199" y="2143"/>
                </a:lnTo>
                <a:lnTo>
                  <a:pt x="1204" y="2160"/>
                </a:lnTo>
                <a:lnTo>
                  <a:pt x="1204" y="2178"/>
                </a:lnTo>
                <a:lnTo>
                  <a:pt x="1200" y="2198"/>
                </a:lnTo>
                <a:lnTo>
                  <a:pt x="1192" y="2217"/>
                </a:lnTo>
                <a:lnTo>
                  <a:pt x="1191" y="2219"/>
                </a:lnTo>
                <a:lnTo>
                  <a:pt x="1188" y="2220"/>
                </a:lnTo>
                <a:lnTo>
                  <a:pt x="1184" y="2220"/>
                </a:lnTo>
                <a:lnTo>
                  <a:pt x="1183" y="2221"/>
                </a:lnTo>
                <a:lnTo>
                  <a:pt x="1176" y="2232"/>
                </a:lnTo>
                <a:lnTo>
                  <a:pt x="1165" y="2245"/>
                </a:lnTo>
                <a:lnTo>
                  <a:pt x="1153" y="2258"/>
                </a:lnTo>
                <a:lnTo>
                  <a:pt x="1142" y="2267"/>
                </a:lnTo>
                <a:lnTo>
                  <a:pt x="1115" y="2282"/>
                </a:lnTo>
                <a:lnTo>
                  <a:pt x="1082" y="2294"/>
                </a:lnTo>
                <a:lnTo>
                  <a:pt x="1047" y="2304"/>
                </a:lnTo>
                <a:lnTo>
                  <a:pt x="1007" y="2311"/>
                </a:lnTo>
                <a:lnTo>
                  <a:pt x="965" y="2315"/>
                </a:lnTo>
                <a:lnTo>
                  <a:pt x="924" y="2316"/>
                </a:lnTo>
                <a:lnTo>
                  <a:pt x="881" y="2315"/>
                </a:lnTo>
                <a:lnTo>
                  <a:pt x="840" y="2310"/>
                </a:lnTo>
                <a:lnTo>
                  <a:pt x="801" y="2304"/>
                </a:lnTo>
                <a:lnTo>
                  <a:pt x="766" y="2294"/>
                </a:lnTo>
                <a:lnTo>
                  <a:pt x="745" y="2287"/>
                </a:lnTo>
                <a:lnTo>
                  <a:pt x="727" y="2279"/>
                </a:lnTo>
                <a:lnTo>
                  <a:pt x="711" y="2271"/>
                </a:lnTo>
                <a:lnTo>
                  <a:pt x="694" y="2260"/>
                </a:lnTo>
                <a:lnTo>
                  <a:pt x="677" y="2248"/>
                </a:lnTo>
                <a:lnTo>
                  <a:pt x="661" y="2232"/>
                </a:lnTo>
                <a:lnTo>
                  <a:pt x="647" y="2214"/>
                </a:lnTo>
                <a:lnTo>
                  <a:pt x="637" y="2196"/>
                </a:lnTo>
                <a:lnTo>
                  <a:pt x="630" y="2180"/>
                </a:lnTo>
                <a:lnTo>
                  <a:pt x="626" y="2163"/>
                </a:lnTo>
                <a:lnTo>
                  <a:pt x="626" y="2146"/>
                </a:lnTo>
                <a:lnTo>
                  <a:pt x="630" y="2125"/>
                </a:lnTo>
                <a:lnTo>
                  <a:pt x="634" y="2102"/>
                </a:lnTo>
                <a:lnTo>
                  <a:pt x="643" y="2074"/>
                </a:lnTo>
                <a:lnTo>
                  <a:pt x="653" y="2049"/>
                </a:lnTo>
                <a:lnTo>
                  <a:pt x="662" y="2026"/>
                </a:lnTo>
                <a:lnTo>
                  <a:pt x="673" y="2002"/>
                </a:lnTo>
                <a:lnTo>
                  <a:pt x="679" y="1987"/>
                </a:lnTo>
                <a:lnTo>
                  <a:pt x="685" y="1974"/>
                </a:lnTo>
                <a:lnTo>
                  <a:pt x="688" y="1962"/>
                </a:lnTo>
                <a:lnTo>
                  <a:pt x="687" y="1948"/>
                </a:lnTo>
                <a:lnTo>
                  <a:pt x="679" y="1934"/>
                </a:lnTo>
                <a:lnTo>
                  <a:pt x="679" y="1933"/>
                </a:lnTo>
                <a:lnTo>
                  <a:pt x="678" y="1931"/>
                </a:lnTo>
                <a:lnTo>
                  <a:pt x="677" y="1929"/>
                </a:lnTo>
                <a:lnTo>
                  <a:pt x="670" y="1929"/>
                </a:lnTo>
                <a:lnTo>
                  <a:pt x="665" y="1924"/>
                </a:lnTo>
                <a:lnTo>
                  <a:pt x="664" y="1922"/>
                </a:lnTo>
                <a:lnTo>
                  <a:pt x="661" y="1920"/>
                </a:lnTo>
                <a:lnTo>
                  <a:pt x="660" y="1919"/>
                </a:lnTo>
                <a:lnTo>
                  <a:pt x="657" y="1918"/>
                </a:lnTo>
                <a:lnTo>
                  <a:pt x="639" y="1911"/>
                </a:lnTo>
                <a:lnTo>
                  <a:pt x="615" y="1906"/>
                </a:lnTo>
                <a:lnTo>
                  <a:pt x="588" y="1902"/>
                </a:lnTo>
                <a:lnTo>
                  <a:pt x="558" y="1900"/>
                </a:lnTo>
                <a:lnTo>
                  <a:pt x="526" y="1899"/>
                </a:lnTo>
                <a:lnTo>
                  <a:pt x="493" y="1899"/>
                </a:lnTo>
                <a:lnTo>
                  <a:pt x="463" y="1900"/>
                </a:lnTo>
                <a:lnTo>
                  <a:pt x="434" y="1901"/>
                </a:lnTo>
                <a:lnTo>
                  <a:pt x="408" y="1902"/>
                </a:lnTo>
                <a:lnTo>
                  <a:pt x="364" y="1908"/>
                </a:lnTo>
                <a:lnTo>
                  <a:pt x="322" y="1916"/>
                </a:lnTo>
                <a:lnTo>
                  <a:pt x="281" y="1927"/>
                </a:lnTo>
                <a:lnTo>
                  <a:pt x="243" y="1936"/>
                </a:lnTo>
                <a:lnTo>
                  <a:pt x="167" y="1959"/>
                </a:lnTo>
                <a:lnTo>
                  <a:pt x="89" y="1983"/>
                </a:lnTo>
                <a:lnTo>
                  <a:pt x="76" y="1939"/>
                </a:lnTo>
                <a:lnTo>
                  <a:pt x="62" y="1892"/>
                </a:lnTo>
                <a:lnTo>
                  <a:pt x="48" y="1845"/>
                </a:lnTo>
                <a:lnTo>
                  <a:pt x="34" y="1796"/>
                </a:lnTo>
                <a:lnTo>
                  <a:pt x="22" y="1745"/>
                </a:lnTo>
                <a:lnTo>
                  <a:pt x="13" y="1692"/>
                </a:lnTo>
                <a:lnTo>
                  <a:pt x="6" y="1636"/>
                </a:lnTo>
                <a:lnTo>
                  <a:pt x="5" y="1576"/>
                </a:lnTo>
                <a:lnTo>
                  <a:pt x="5" y="1547"/>
                </a:lnTo>
                <a:lnTo>
                  <a:pt x="6" y="1518"/>
                </a:lnTo>
                <a:lnTo>
                  <a:pt x="10" y="1488"/>
                </a:lnTo>
                <a:lnTo>
                  <a:pt x="16" y="1460"/>
                </a:lnTo>
                <a:lnTo>
                  <a:pt x="25" y="1434"/>
                </a:lnTo>
                <a:lnTo>
                  <a:pt x="54" y="1443"/>
                </a:lnTo>
                <a:lnTo>
                  <a:pt x="83" y="1456"/>
                </a:lnTo>
                <a:lnTo>
                  <a:pt x="110" y="1468"/>
                </a:lnTo>
                <a:lnTo>
                  <a:pt x="138" y="1479"/>
                </a:lnTo>
                <a:lnTo>
                  <a:pt x="166" y="1488"/>
                </a:lnTo>
                <a:lnTo>
                  <a:pt x="194" y="1495"/>
                </a:lnTo>
                <a:lnTo>
                  <a:pt x="223" y="1496"/>
                </a:lnTo>
                <a:lnTo>
                  <a:pt x="255" y="1491"/>
                </a:lnTo>
                <a:lnTo>
                  <a:pt x="281" y="1481"/>
                </a:lnTo>
                <a:lnTo>
                  <a:pt x="307" y="1465"/>
                </a:lnTo>
                <a:lnTo>
                  <a:pt x="331" y="1445"/>
                </a:lnTo>
                <a:lnTo>
                  <a:pt x="352" y="1420"/>
                </a:lnTo>
                <a:lnTo>
                  <a:pt x="370" y="1395"/>
                </a:lnTo>
                <a:lnTo>
                  <a:pt x="385" y="1368"/>
                </a:lnTo>
                <a:lnTo>
                  <a:pt x="399" y="1330"/>
                </a:lnTo>
                <a:lnTo>
                  <a:pt x="412" y="1289"/>
                </a:lnTo>
                <a:lnTo>
                  <a:pt x="419" y="1243"/>
                </a:lnTo>
                <a:lnTo>
                  <a:pt x="424" y="1195"/>
                </a:lnTo>
                <a:lnTo>
                  <a:pt x="424" y="1146"/>
                </a:lnTo>
                <a:lnTo>
                  <a:pt x="421" y="1099"/>
                </a:lnTo>
                <a:lnTo>
                  <a:pt x="415" y="1052"/>
                </a:lnTo>
                <a:lnTo>
                  <a:pt x="406" y="1008"/>
                </a:lnTo>
                <a:lnTo>
                  <a:pt x="392" y="969"/>
                </a:lnTo>
                <a:lnTo>
                  <a:pt x="384" y="949"/>
                </a:lnTo>
                <a:lnTo>
                  <a:pt x="373" y="929"/>
                </a:lnTo>
                <a:lnTo>
                  <a:pt x="359" y="909"/>
                </a:lnTo>
                <a:lnTo>
                  <a:pt x="344" y="890"/>
                </a:lnTo>
                <a:lnTo>
                  <a:pt x="326" y="873"/>
                </a:lnTo>
                <a:lnTo>
                  <a:pt x="306" y="858"/>
                </a:lnTo>
                <a:lnTo>
                  <a:pt x="283" y="847"/>
                </a:lnTo>
                <a:lnTo>
                  <a:pt x="258" y="840"/>
                </a:lnTo>
                <a:lnTo>
                  <a:pt x="232" y="839"/>
                </a:lnTo>
                <a:lnTo>
                  <a:pt x="215" y="841"/>
                </a:lnTo>
                <a:lnTo>
                  <a:pt x="201" y="845"/>
                </a:lnTo>
                <a:lnTo>
                  <a:pt x="188" y="851"/>
                </a:lnTo>
                <a:lnTo>
                  <a:pt x="174" y="858"/>
                </a:lnTo>
                <a:lnTo>
                  <a:pt x="134" y="876"/>
                </a:lnTo>
                <a:lnTo>
                  <a:pt x="96" y="896"/>
                </a:lnTo>
                <a:lnTo>
                  <a:pt x="83" y="903"/>
                </a:lnTo>
                <a:lnTo>
                  <a:pt x="68" y="910"/>
                </a:lnTo>
                <a:lnTo>
                  <a:pt x="50" y="915"/>
                </a:lnTo>
                <a:lnTo>
                  <a:pt x="31" y="919"/>
                </a:lnTo>
                <a:lnTo>
                  <a:pt x="9" y="919"/>
                </a:lnTo>
                <a:lnTo>
                  <a:pt x="3" y="888"/>
                </a:lnTo>
                <a:lnTo>
                  <a:pt x="0" y="857"/>
                </a:lnTo>
                <a:lnTo>
                  <a:pt x="0" y="825"/>
                </a:lnTo>
                <a:lnTo>
                  <a:pt x="5" y="762"/>
                </a:lnTo>
                <a:lnTo>
                  <a:pt x="9" y="702"/>
                </a:lnTo>
                <a:lnTo>
                  <a:pt x="14" y="644"/>
                </a:lnTo>
                <a:lnTo>
                  <a:pt x="21" y="589"/>
                </a:lnTo>
                <a:lnTo>
                  <a:pt x="32" y="536"/>
                </a:lnTo>
                <a:lnTo>
                  <a:pt x="49" y="469"/>
                </a:lnTo>
                <a:lnTo>
                  <a:pt x="67" y="400"/>
                </a:lnTo>
                <a:lnTo>
                  <a:pt x="86" y="336"/>
                </a:lnTo>
                <a:lnTo>
                  <a:pt x="188" y="365"/>
                </a:lnTo>
                <a:lnTo>
                  <a:pt x="241" y="380"/>
                </a:lnTo>
                <a:lnTo>
                  <a:pt x="296" y="393"/>
                </a:lnTo>
                <a:lnTo>
                  <a:pt x="354" y="404"/>
                </a:lnTo>
                <a:lnTo>
                  <a:pt x="414" y="413"/>
                </a:lnTo>
                <a:lnTo>
                  <a:pt x="479" y="418"/>
                </a:lnTo>
                <a:lnTo>
                  <a:pt x="547" y="420"/>
                </a:lnTo>
                <a:lnTo>
                  <a:pt x="655" y="420"/>
                </a:lnTo>
                <a:lnTo>
                  <a:pt x="671" y="421"/>
                </a:lnTo>
                <a:lnTo>
                  <a:pt x="684" y="420"/>
                </a:lnTo>
                <a:lnTo>
                  <a:pt x="701" y="413"/>
                </a:lnTo>
                <a:lnTo>
                  <a:pt x="707" y="408"/>
                </a:lnTo>
                <a:lnTo>
                  <a:pt x="711" y="404"/>
                </a:lnTo>
                <a:lnTo>
                  <a:pt x="716" y="394"/>
                </a:lnTo>
                <a:lnTo>
                  <a:pt x="718" y="381"/>
                </a:lnTo>
                <a:lnTo>
                  <a:pt x="720" y="366"/>
                </a:lnTo>
                <a:lnTo>
                  <a:pt x="718" y="340"/>
                </a:lnTo>
                <a:lnTo>
                  <a:pt x="713" y="315"/>
                </a:lnTo>
                <a:lnTo>
                  <a:pt x="705" y="293"/>
                </a:lnTo>
                <a:lnTo>
                  <a:pt x="683" y="252"/>
                </a:lnTo>
                <a:lnTo>
                  <a:pt x="661" y="213"/>
                </a:lnTo>
                <a:lnTo>
                  <a:pt x="653" y="196"/>
                </a:lnTo>
                <a:lnTo>
                  <a:pt x="647" y="180"/>
                </a:lnTo>
                <a:lnTo>
                  <a:pt x="642" y="163"/>
                </a:lnTo>
                <a:lnTo>
                  <a:pt x="640" y="147"/>
                </a:lnTo>
                <a:lnTo>
                  <a:pt x="643" y="129"/>
                </a:lnTo>
                <a:lnTo>
                  <a:pt x="650" y="110"/>
                </a:lnTo>
                <a:lnTo>
                  <a:pt x="657" y="100"/>
                </a:lnTo>
                <a:lnTo>
                  <a:pt x="661" y="94"/>
                </a:lnTo>
                <a:lnTo>
                  <a:pt x="671" y="80"/>
                </a:lnTo>
                <a:lnTo>
                  <a:pt x="682" y="68"/>
                </a:lnTo>
                <a:lnTo>
                  <a:pt x="696" y="55"/>
                </a:lnTo>
                <a:lnTo>
                  <a:pt x="717" y="41"/>
                </a:lnTo>
                <a:lnTo>
                  <a:pt x="744" y="29"/>
                </a:lnTo>
                <a:lnTo>
                  <a:pt x="774" y="20"/>
                </a:lnTo>
                <a:lnTo>
                  <a:pt x="806" y="11"/>
                </a:lnTo>
                <a:lnTo>
                  <a:pt x="838" y="5"/>
                </a:lnTo>
                <a:lnTo>
                  <a:pt x="869" y="1"/>
                </a:lnTo>
                <a:lnTo>
                  <a:pt x="909" y="0"/>
                </a:lnTo>
                <a:close/>
              </a:path>
            </a:pathLst>
          </a:custGeom>
          <a:solidFill>
            <a:schemeClr val="bg2"/>
          </a:solidFill>
          <a:ln w="12700">
            <a:solidFill>
              <a:schemeClr val="bg1"/>
            </a:solidFill>
            <a:round/>
            <a:headEnd/>
            <a:tailEnd/>
          </a:ln>
        </p:spPr>
        <p:txBody>
          <a:bodyPr/>
          <a:lstStyle/>
          <a:p>
            <a:endParaRPr lang="en-US"/>
          </a:p>
        </p:txBody>
      </p:sp>
      <p:sp>
        <p:nvSpPr>
          <p:cNvPr id="83" name="Rectangle 13"/>
          <p:cNvSpPr>
            <a:spLocks noChangeArrowheads="1"/>
          </p:cNvSpPr>
          <p:nvPr/>
        </p:nvSpPr>
        <p:spPr bwMode="gray">
          <a:xfrm rot="20057987">
            <a:off x="3397174" y="4581421"/>
            <a:ext cx="966212" cy="966182"/>
          </a:xfrm>
          <a:prstGeom prst="rect">
            <a:avLst/>
          </a:prstGeom>
          <a:noFill/>
          <a:ln w="19050" algn="ctr">
            <a:noFill/>
            <a:miter lim="800000"/>
            <a:headEnd/>
            <a:tailEnd/>
          </a:ln>
          <a:effectLst/>
        </p:spPr>
        <p:txBody>
          <a:bodyPr lIns="72000" tIns="72000" rIns="72000" bIns="72000" anchor="ctr"/>
          <a:lstStyle/>
          <a:p>
            <a:pPr lvl="0" algn="ctr" fontAlgn="base">
              <a:spcBef>
                <a:spcPct val="0"/>
              </a:spcBef>
              <a:spcAft>
                <a:spcPct val="0"/>
              </a:spcAft>
              <a:defRPr/>
            </a:pPr>
            <a:r>
              <a:rPr lang="en-US" sz="1400" b="1">
                <a:solidFill>
                  <a:srgbClr val="FFFFFF"/>
                </a:solidFill>
              </a:rPr>
              <a:t>Text</a:t>
            </a:r>
            <a:endParaRPr lang="en-US" sz="1400" b="1" dirty="0">
              <a:solidFill>
                <a:srgbClr val="FFFFFF"/>
              </a:solidFill>
            </a:endParaRPr>
          </a:p>
        </p:txBody>
      </p:sp>
    </p:spTree>
    <p:extLst>
      <p:ext uri="{BB962C8B-B14F-4D97-AF65-F5344CB8AC3E}">
        <p14:creationId xmlns:p14="http://schemas.microsoft.com/office/powerpoint/2010/main" val="771349596"/>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73" name="Rectangle 2"/>
          <p:cNvSpPr>
            <a:spLocks noGrp="1" noChangeArrowheads="1"/>
          </p:cNvSpPr>
          <p:nvPr>
            <p:ph type="title"/>
          </p:nvPr>
        </p:nvSpPr>
        <p:spPr/>
        <p:txBody>
          <a:bodyPr/>
          <a:lstStyle/>
          <a:p>
            <a:r>
              <a:rPr lang="en-US"/>
              <a:t>Puzzle (6 parts)</a:t>
            </a:r>
            <a:endParaRPr lang="en-US" dirty="0"/>
          </a:p>
        </p:txBody>
      </p:sp>
      <p:sp>
        <p:nvSpPr>
          <p:cNvPr id="176" name="AutoShape 4"/>
          <p:cNvSpPr>
            <a:spLocks/>
          </p:cNvSpPr>
          <p:nvPr/>
        </p:nvSpPr>
        <p:spPr bwMode="gray">
          <a:xfrm>
            <a:off x="7221011" y="2506220"/>
            <a:ext cx="1209675" cy="1522094"/>
          </a:xfrm>
          <a:custGeom>
            <a:avLst/>
            <a:gdLst>
              <a:gd name="T0" fmla="*/ 1082 w 1842"/>
              <a:gd name="T1" fmla="*/ 26 h 2318"/>
              <a:gd name="T2" fmla="*/ 1212 w 1842"/>
              <a:gd name="T3" fmla="*/ 129 h 2318"/>
              <a:gd name="T4" fmla="*/ 1193 w 1842"/>
              <a:gd name="T5" fmla="*/ 271 h 2318"/>
              <a:gd name="T6" fmla="*/ 1176 w 1842"/>
              <a:gd name="T7" fmla="*/ 310 h 2318"/>
              <a:gd name="T8" fmla="*/ 1159 w 1842"/>
              <a:gd name="T9" fmla="*/ 376 h 2318"/>
              <a:gd name="T10" fmla="*/ 1243 w 1842"/>
              <a:gd name="T11" fmla="*/ 416 h 2318"/>
              <a:gd name="T12" fmla="*/ 1491 w 1842"/>
              <a:gd name="T13" fmla="*/ 407 h 2318"/>
              <a:gd name="T14" fmla="*/ 1758 w 1842"/>
              <a:gd name="T15" fmla="*/ 335 h 2318"/>
              <a:gd name="T16" fmla="*/ 1834 w 1842"/>
              <a:gd name="T17" fmla="*/ 636 h 2318"/>
              <a:gd name="T18" fmla="*/ 1818 w 1842"/>
              <a:gd name="T19" fmla="*/ 885 h 2318"/>
              <a:gd name="T20" fmla="*/ 1687 w 1842"/>
              <a:gd name="T21" fmla="*/ 833 h 2318"/>
              <a:gd name="T22" fmla="*/ 1558 w 1842"/>
              <a:gd name="T23" fmla="*/ 842 h 2318"/>
              <a:gd name="T24" fmla="*/ 1508 w 1842"/>
              <a:gd name="T25" fmla="*/ 878 h 2318"/>
              <a:gd name="T26" fmla="*/ 1456 w 1842"/>
              <a:gd name="T27" fmla="*/ 956 h 2318"/>
              <a:gd name="T28" fmla="*/ 1437 w 1842"/>
              <a:gd name="T29" fmla="*/ 1017 h 2318"/>
              <a:gd name="T30" fmla="*/ 1423 w 1842"/>
              <a:gd name="T31" fmla="*/ 1226 h 2318"/>
              <a:gd name="T32" fmla="*/ 1460 w 1842"/>
              <a:gd name="T33" fmla="*/ 1375 h 2318"/>
              <a:gd name="T34" fmla="*/ 1479 w 1842"/>
              <a:gd name="T35" fmla="*/ 1399 h 2318"/>
              <a:gd name="T36" fmla="*/ 1519 w 1842"/>
              <a:gd name="T37" fmla="*/ 1449 h 2318"/>
              <a:gd name="T38" fmla="*/ 1546 w 1842"/>
              <a:gd name="T39" fmla="*/ 1461 h 2318"/>
              <a:gd name="T40" fmla="*/ 1650 w 1842"/>
              <a:gd name="T41" fmla="*/ 1474 h 2318"/>
              <a:gd name="T42" fmla="*/ 1778 w 1842"/>
              <a:gd name="T43" fmla="*/ 1410 h 2318"/>
              <a:gd name="T44" fmla="*/ 1842 w 1842"/>
              <a:gd name="T45" fmla="*/ 1560 h 2318"/>
              <a:gd name="T46" fmla="*/ 1777 w 1842"/>
              <a:gd name="T47" fmla="*/ 1917 h 2318"/>
              <a:gd name="T48" fmla="*/ 1659 w 1842"/>
              <a:gd name="T49" fmla="*/ 1957 h 2318"/>
              <a:gd name="T50" fmla="*/ 1415 w 1842"/>
              <a:gd name="T51" fmla="*/ 1905 h 2318"/>
              <a:gd name="T52" fmla="*/ 1143 w 1842"/>
              <a:gd name="T53" fmla="*/ 1908 h 2318"/>
              <a:gd name="T54" fmla="*/ 1127 w 1842"/>
              <a:gd name="T55" fmla="*/ 1991 h 2318"/>
              <a:gd name="T56" fmla="*/ 1174 w 1842"/>
              <a:gd name="T57" fmla="*/ 2088 h 2318"/>
              <a:gd name="T58" fmla="*/ 1188 w 1842"/>
              <a:gd name="T59" fmla="*/ 2221 h 2318"/>
              <a:gd name="T60" fmla="*/ 1055 w 1842"/>
              <a:gd name="T61" fmla="*/ 2304 h 2318"/>
              <a:gd name="T62" fmla="*/ 811 w 1842"/>
              <a:gd name="T63" fmla="*/ 2310 h 2318"/>
              <a:gd name="T64" fmla="*/ 682 w 1842"/>
              <a:gd name="T65" fmla="*/ 2256 h 2318"/>
              <a:gd name="T66" fmla="*/ 627 w 1842"/>
              <a:gd name="T67" fmla="*/ 2142 h 2318"/>
              <a:gd name="T68" fmla="*/ 669 w 1842"/>
              <a:gd name="T69" fmla="*/ 2012 h 2318"/>
              <a:gd name="T70" fmla="*/ 649 w 1842"/>
              <a:gd name="T71" fmla="*/ 1917 h 2318"/>
              <a:gd name="T72" fmla="*/ 488 w 1842"/>
              <a:gd name="T73" fmla="*/ 1901 h 2318"/>
              <a:gd name="T74" fmla="*/ 196 w 1842"/>
              <a:gd name="T75" fmla="*/ 1953 h 2318"/>
              <a:gd name="T76" fmla="*/ 31 w 1842"/>
              <a:gd name="T77" fmla="*/ 1796 h 2318"/>
              <a:gd name="T78" fmla="*/ 9 w 1842"/>
              <a:gd name="T79" fmla="*/ 1482 h 2318"/>
              <a:gd name="T80" fmla="*/ 120 w 1842"/>
              <a:gd name="T81" fmla="*/ 1474 h 2318"/>
              <a:gd name="T82" fmla="*/ 281 w 1842"/>
              <a:gd name="T83" fmla="*/ 1480 h 2318"/>
              <a:gd name="T84" fmla="*/ 355 w 1842"/>
              <a:gd name="T85" fmla="*/ 1415 h 2318"/>
              <a:gd name="T86" fmla="*/ 374 w 1842"/>
              <a:gd name="T87" fmla="*/ 1390 h 2318"/>
              <a:gd name="T88" fmla="*/ 414 w 1842"/>
              <a:gd name="T89" fmla="*/ 1275 h 2318"/>
              <a:gd name="T90" fmla="*/ 405 w 1842"/>
              <a:gd name="T91" fmla="*/ 1008 h 2318"/>
              <a:gd name="T92" fmla="*/ 369 w 1842"/>
              <a:gd name="T93" fmla="*/ 928 h 2318"/>
              <a:gd name="T94" fmla="*/ 343 w 1842"/>
              <a:gd name="T95" fmla="*/ 894 h 2318"/>
              <a:gd name="T96" fmla="*/ 288 w 1842"/>
              <a:gd name="T97" fmla="*/ 852 h 2318"/>
              <a:gd name="T98" fmla="*/ 175 w 1842"/>
              <a:gd name="T99" fmla="*/ 857 h 2318"/>
              <a:gd name="T100" fmla="*/ 33 w 1842"/>
              <a:gd name="T101" fmla="*/ 920 h 2318"/>
              <a:gd name="T102" fmla="*/ 19 w 1842"/>
              <a:gd name="T103" fmla="*/ 601 h 2318"/>
              <a:gd name="T104" fmla="*/ 75 w 1842"/>
              <a:gd name="T105" fmla="*/ 367 h 2318"/>
              <a:gd name="T106" fmla="*/ 303 w 1842"/>
              <a:gd name="T107" fmla="*/ 395 h 2318"/>
              <a:gd name="T108" fmla="*/ 669 w 1842"/>
              <a:gd name="T109" fmla="*/ 421 h 2318"/>
              <a:gd name="T110" fmla="*/ 717 w 1842"/>
              <a:gd name="T111" fmla="*/ 331 h 2318"/>
              <a:gd name="T112" fmla="*/ 648 w 1842"/>
              <a:gd name="T113" fmla="*/ 189 h 2318"/>
              <a:gd name="T114" fmla="*/ 674 w 1842"/>
              <a:gd name="T115" fmla="*/ 78 h 2318"/>
              <a:gd name="T116" fmla="*/ 854 w 1842"/>
              <a:gd name="T117" fmla="*/ 6 h 23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42"/>
              <a:gd name="T178" fmla="*/ 0 h 2318"/>
              <a:gd name="T179" fmla="*/ 1842 w 1842"/>
              <a:gd name="T180" fmla="*/ 2318 h 23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42" h="2318">
                <a:moveTo>
                  <a:pt x="897" y="0"/>
                </a:moveTo>
                <a:lnTo>
                  <a:pt x="947" y="0"/>
                </a:lnTo>
                <a:lnTo>
                  <a:pt x="991" y="6"/>
                </a:lnTo>
                <a:lnTo>
                  <a:pt x="1037" y="14"/>
                </a:lnTo>
                <a:lnTo>
                  <a:pt x="1082" y="26"/>
                </a:lnTo>
                <a:lnTo>
                  <a:pt x="1124" y="44"/>
                </a:lnTo>
                <a:lnTo>
                  <a:pt x="1152" y="59"/>
                </a:lnTo>
                <a:lnTo>
                  <a:pt x="1178" y="80"/>
                </a:lnTo>
                <a:lnTo>
                  <a:pt x="1197" y="103"/>
                </a:lnTo>
                <a:lnTo>
                  <a:pt x="1212" y="129"/>
                </a:lnTo>
                <a:lnTo>
                  <a:pt x="1219" y="158"/>
                </a:lnTo>
                <a:lnTo>
                  <a:pt x="1217" y="186"/>
                </a:lnTo>
                <a:lnTo>
                  <a:pt x="1212" y="217"/>
                </a:lnTo>
                <a:lnTo>
                  <a:pt x="1204" y="245"/>
                </a:lnTo>
                <a:lnTo>
                  <a:pt x="1193" y="271"/>
                </a:lnTo>
                <a:lnTo>
                  <a:pt x="1190" y="277"/>
                </a:lnTo>
                <a:lnTo>
                  <a:pt x="1185" y="286"/>
                </a:lnTo>
                <a:lnTo>
                  <a:pt x="1181" y="293"/>
                </a:lnTo>
                <a:lnTo>
                  <a:pt x="1179" y="302"/>
                </a:lnTo>
                <a:lnTo>
                  <a:pt x="1176" y="310"/>
                </a:lnTo>
                <a:lnTo>
                  <a:pt x="1174" y="319"/>
                </a:lnTo>
                <a:lnTo>
                  <a:pt x="1160" y="347"/>
                </a:lnTo>
                <a:lnTo>
                  <a:pt x="1157" y="359"/>
                </a:lnTo>
                <a:lnTo>
                  <a:pt x="1159" y="374"/>
                </a:lnTo>
                <a:lnTo>
                  <a:pt x="1159" y="376"/>
                </a:lnTo>
                <a:lnTo>
                  <a:pt x="1160" y="380"/>
                </a:lnTo>
                <a:lnTo>
                  <a:pt x="1178" y="397"/>
                </a:lnTo>
                <a:lnTo>
                  <a:pt x="1195" y="406"/>
                </a:lnTo>
                <a:lnTo>
                  <a:pt x="1219" y="412"/>
                </a:lnTo>
                <a:lnTo>
                  <a:pt x="1243" y="416"/>
                </a:lnTo>
                <a:lnTo>
                  <a:pt x="1269" y="418"/>
                </a:lnTo>
                <a:lnTo>
                  <a:pt x="1292" y="419"/>
                </a:lnTo>
                <a:lnTo>
                  <a:pt x="1363" y="421"/>
                </a:lnTo>
                <a:lnTo>
                  <a:pt x="1429" y="416"/>
                </a:lnTo>
                <a:lnTo>
                  <a:pt x="1491" y="407"/>
                </a:lnTo>
                <a:lnTo>
                  <a:pt x="1548" y="395"/>
                </a:lnTo>
                <a:lnTo>
                  <a:pt x="1602" y="381"/>
                </a:lnTo>
                <a:lnTo>
                  <a:pt x="1655" y="366"/>
                </a:lnTo>
                <a:lnTo>
                  <a:pt x="1706" y="350"/>
                </a:lnTo>
                <a:lnTo>
                  <a:pt x="1758" y="335"/>
                </a:lnTo>
                <a:lnTo>
                  <a:pt x="1773" y="393"/>
                </a:lnTo>
                <a:lnTo>
                  <a:pt x="1792" y="456"/>
                </a:lnTo>
                <a:lnTo>
                  <a:pt x="1811" y="522"/>
                </a:lnTo>
                <a:lnTo>
                  <a:pt x="1827" y="589"/>
                </a:lnTo>
                <a:lnTo>
                  <a:pt x="1834" y="636"/>
                </a:lnTo>
                <a:lnTo>
                  <a:pt x="1837" y="686"/>
                </a:lnTo>
                <a:lnTo>
                  <a:pt x="1837" y="804"/>
                </a:lnTo>
                <a:lnTo>
                  <a:pt x="1834" y="833"/>
                </a:lnTo>
                <a:lnTo>
                  <a:pt x="1829" y="861"/>
                </a:lnTo>
                <a:lnTo>
                  <a:pt x="1818" y="885"/>
                </a:lnTo>
                <a:lnTo>
                  <a:pt x="1791" y="876"/>
                </a:lnTo>
                <a:lnTo>
                  <a:pt x="1765" y="864"/>
                </a:lnTo>
                <a:lnTo>
                  <a:pt x="1740" y="852"/>
                </a:lnTo>
                <a:lnTo>
                  <a:pt x="1714" y="842"/>
                </a:lnTo>
                <a:lnTo>
                  <a:pt x="1687" y="833"/>
                </a:lnTo>
                <a:lnTo>
                  <a:pt x="1655" y="828"/>
                </a:lnTo>
                <a:lnTo>
                  <a:pt x="1626" y="826"/>
                </a:lnTo>
                <a:lnTo>
                  <a:pt x="1597" y="828"/>
                </a:lnTo>
                <a:lnTo>
                  <a:pt x="1572" y="835"/>
                </a:lnTo>
                <a:lnTo>
                  <a:pt x="1558" y="842"/>
                </a:lnTo>
                <a:lnTo>
                  <a:pt x="1550" y="850"/>
                </a:lnTo>
                <a:lnTo>
                  <a:pt x="1546" y="852"/>
                </a:lnTo>
                <a:lnTo>
                  <a:pt x="1541" y="852"/>
                </a:lnTo>
                <a:lnTo>
                  <a:pt x="1538" y="854"/>
                </a:lnTo>
                <a:lnTo>
                  <a:pt x="1508" y="878"/>
                </a:lnTo>
                <a:lnTo>
                  <a:pt x="1484" y="909"/>
                </a:lnTo>
                <a:lnTo>
                  <a:pt x="1465" y="942"/>
                </a:lnTo>
                <a:lnTo>
                  <a:pt x="1462" y="947"/>
                </a:lnTo>
                <a:lnTo>
                  <a:pt x="1458" y="951"/>
                </a:lnTo>
                <a:lnTo>
                  <a:pt x="1456" y="956"/>
                </a:lnTo>
                <a:lnTo>
                  <a:pt x="1453" y="961"/>
                </a:lnTo>
                <a:lnTo>
                  <a:pt x="1448" y="984"/>
                </a:lnTo>
                <a:lnTo>
                  <a:pt x="1442" y="1008"/>
                </a:lnTo>
                <a:lnTo>
                  <a:pt x="1441" y="1011"/>
                </a:lnTo>
                <a:lnTo>
                  <a:pt x="1437" y="1017"/>
                </a:lnTo>
                <a:lnTo>
                  <a:pt x="1434" y="1027"/>
                </a:lnTo>
                <a:lnTo>
                  <a:pt x="1427" y="1072"/>
                </a:lnTo>
                <a:lnTo>
                  <a:pt x="1422" y="1122"/>
                </a:lnTo>
                <a:lnTo>
                  <a:pt x="1422" y="1174"/>
                </a:lnTo>
                <a:lnTo>
                  <a:pt x="1423" y="1226"/>
                </a:lnTo>
                <a:lnTo>
                  <a:pt x="1430" y="1273"/>
                </a:lnTo>
                <a:lnTo>
                  <a:pt x="1439" y="1314"/>
                </a:lnTo>
                <a:lnTo>
                  <a:pt x="1444" y="1333"/>
                </a:lnTo>
                <a:lnTo>
                  <a:pt x="1451" y="1354"/>
                </a:lnTo>
                <a:lnTo>
                  <a:pt x="1460" y="1375"/>
                </a:lnTo>
                <a:lnTo>
                  <a:pt x="1468" y="1390"/>
                </a:lnTo>
                <a:lnTo>
                  <a:pt x="1472" y="1392"/>
                </a:lnTo>
                <a:lnTo>
                  <a:pt x="1474" y="1394"/>
                </a:lnTo>
                <a:lnTo>
                  <a:pt x="1477" y="1396"/>
                </a:lnTo>
                <a:lnTo>
                  <a:pt x="1479" y="1399"/>
                </a:lnTo>
                <a:lnTo>
                  <a:pt x="1479" y="1404"/>
                </a:lnTo>
                <a:lnTo>
                  <a:pt x="1481" y="1406"/>
                </a:lnTo>
                <a:lnTo>
                  <a:pt x="1493" y="1422"/>
                </a:lnTo>
                <a:lnTo>
                  <a:pt x="1507" y="1437"/>
                </a:lnTo>
                <a:lnTo>
                  <a:pt x="1519" y="1449"/>
                </a:lnTo>
                <a:lnTo>
                  <a:pt x="1524" y="1451"/>
                </a:lnTo>
                <a:lnTo>
                  <a:pt x="1527" y="1453"/>
                </a:lnTo>
                <a:lnTo>
                  <a:pt x="1538" y="1456"/>
                </a:lnTo>
                <a:lnTo>
                  <a:pt x="1543" y="1460"/>
                </a:lnTo>
                <a:lnTo>
                  <a:pt x="1546" y="1461"/>
                </a:lnTo>
                <a:lnTo>
                  <a:pt x="1553" y="1468"/>
                </a:lnTo>
                <a:lnTo>
                  <a:pt x="1576" y="1475"/>
                </a:lnTo>
                <a:lnTo>
                  <a:pt x="1597" y="1479"/>
                </a:lnTo>
                <a:lnTo>
                  <a:pt x="1626" y="1479"/>
                </a:lnTo>
                <a:lnTo>
                  <a:pt x="1650" y="1474"/>
                </a:lnTo>
                <a:lnTo>
                  <a:pt x="1695" y="1453"/>
                </a:lnTo>
                <a:lnTo>
                  <a:pt x="1714" y="1441"/>
                </a:lnTo>
                <a:lnTo>
                  <a:pt x="1735" y="1430"/>
                </a:lnTo>
                <a:lnTo>
                  <a:pt x="1756" y="1418"/>
                </a:lnTo>
                <a:lnTo>
                  <a:pt x="1778" y="1410"/>
                </a:lnTo>
                <a:lnTo>
                  <a:pt x="1804" y="1403"/>
                </a:lnTo>
                <a:lnTo>
                  <a:pt x="1834" y="1399"/>
                </a:lnTo>
                <a:lnTo>
                  <a:pt x="1841" y="1423"/>
                </a:lnTo>
                <a:lnTo>
                  <a:pt x="1842" y="1449"/>
                </a:lnTo>
                <a:lnTo>
                  <a:pt x="1842" y="1560"/>
                </a:lnTo>
                <a:lnTo>
                  <a:pt x="1836" y="1640"/>
                </a:lnTo>
                <a:lnTo>
                  <a:pt x="1825" y="1716"/>
                </a:lnTo>
                <a:lnTo>
                  <a:pt x="1811" y="1787"/>
                </a:lnTo>
                <a:lnTo>
                  <a:pt x="1794" y="1854"/>
                </a:lnTo>
                <a:lnTo>
                  <a:pt x="1777" y="1917"/>
                </a:lnTo>
                <a:lnTo>
                  <a:pt x="1773" y="1934"/>
                </a:lnTo>
                <a:lnTo>
                  <a:pt x="1763" y="1969"/>
                </a:lnTo>
                <a:lnTo>
                  <a:pt x="1752" y="1982"/>
                </a:lnTo>
                <a:lnTo>
                  <a:pt x="1707" y="1967"/>
                </a:lnTo>
                <a:lnTo>
                  <a:pt x="1659" y="1957"/>
                </a:lnTo>
                <a:lnTo>
                  <a:pt x="1610" y="1944"/>
                </a:lnTo>
                <a:lnTo>
                  <a:pt x="1564" y="1932"/>
                </a:lnTo>
                <a:lnTo>
                  <a:pt x="1515" y="1918"/>
                </a:lnTo>
                <a:lnTo>
                  <a:pt x="1465" y="1910"/>
                </a:lnTo>
                <a:lnTo>
                  <a:pt x="1415" y="1905"/>
                </a:lnTo>
                <a:lnTo>
                  <a:pt x="1359" y="1899"/>
                </a:lnTo>
                <a:lnTo>
                  <a:pt x="1295" y="1898"/>
                </a:lnTo>
                <a:lnTo>
                  <a:pt x="1186" y="1898"/>
                </a:lnTo>
                <a:lnTo>
                  <a:pt x="1162" y="1901"/>
                </a:lnTo>
                <a:lnTo>
                  <a:pt x="1143" y="1908"/>
                </a:lnTo>
                <a:lnTo>
                  <a:pt x="1131" y="1917"/>
                </a:lnTo>
                <a:lnTo>
                  <a:pt x="1124" y="1932"/>
                </a:lnTo>
                <a:lnTo>
                  <a:pt x="1122" y="1951"/>
                </a:lnTo>
                <a:lnTo>
                  <a:pt x="1124" y="1970"/>
                </a:lnTo>
                <a:lnTo>
                  <a:pt x="1127" y="1991"/>
                </a:lnTo>
                <a:lnTo>
                  <a:pt x="1134" y="2012"/>
                </a:lnTo>
                <a:lnTo>
                  <a:pt x="1145" y="2033"/>
                </a:lnTo>
                <a:lnTo>
                  <a:pt x="1153" y="2052"/>
                </a:lnTo>
                <a:lnTo>
                  <a:pt x="1162" y="2069"/>
                </a:lnTo>
                <a:lnTo>
                  <a:pt x="1174" y="2088"/>
                </a:lnTo>
                <a:lnTo>
                  <a:pt x="1195" y="2133"/>
                </a:lnTo>
                <a:lnTo>
                  <a:pt x="1202" y="2156"/>
                </a:lnTo>
                <a:lnTo>
                  <a:pt x="1204" y="2175"/>
                </a:lnTo>
                <a:lnTo>
                  <a:pt x="1198" y="2199"/>
                </a:lnTo>
                <a:lnTo>
                  <a:pt x="1188" y="2221"/>
                </a:lnTo>
                <a:lnTo>
                  <a:pt x="1171" y="2242"/>
                </a:lnTo>
                <a:lnTo>
                  <a:pt x="1152" y="2261"/>
                </a:lnTo>
                <a:lnTo>
                  <a:pt x="1131" y="2275"/>
                </a:lnTo>
                <a:lnTo>
                  <a:pt x="1096" y="2292"/>
                </a:lnTo>
                <a:lnTo>
                  <a:pt x="1055" y="2304"/>
                </a:lnTo>
                <a:lnTo>
                  <a:pt x="1008" y="2313"/>
                </a:lnTo>
                <a:lnTo>
                  <a:pt x="958" y="2318"/>
                </a:lnTo>
                <a:lnTo>
                  <a:pt x="907" y="2318"/>
                </a:lnTo>
                <a:lnTo>
                  <a:pt x="857" y="2315"/>
                </a:lnTo>
                <a:lnTo>
                  <a:pt x="811" y="2310"/>
                </a:lnTo>
                <a:lnTo>
                  <a:pt x="767" y="2299"/>
                </a:lnTo>
                <a:lnTo>
                  <a:pt x="731" y="2285"/>
                </a:lnTo>
                <a:lnTo>
                  <a:pt x="717" y="2279"/>
                </a:lnTo>
                <a:lnTo>
                  <a:pt x="700" y="2268"/>
                </a:lnTo>
                <a:lnTo>
                  <a:pt x="682" y="2256"/>
                </a:lnTo>
                <a:lnTo>
                  <a:pt x="669" y="2244"/>
                </a:lnTo>
                <a:lnTo>
                  <a:pt x="648" y="2220"/>
                </a:lnTo>
                <a:lnTo>
                  <a:pt x="639" y="2206"/>
                </a:lnTo>
                <a:lnTo>
                  <a:pt x="629" y="2175"/>
                </a:lnTo>
                <a:lnTo>
                  <a:pt x="627" y="2142"/>
                </a:lnTo>
                <a:lnTo>
                  <a:pt x="632" y="2111"/>
                </a:lnTo>
                <a:lnTo>
                  <a:pt x="641" y="2079"/>
                </a:lnTo>
                <a:lnTo>
                  <a:pt x="651" y="2052"/>
                </a:lnTo>
                <a:lnTo>
                  <a:pt x="660" y="2031"/>
                </a:lnTo>
                <a:lnTo>
                  <a:pt x="669" y="2012"/>
                </a:lnTo>
                <a:lnTo>
                  <a:pt x="677" y="1991"/>
                </a:lnTo>
                <a:lnTo>
                  <a:pt x="684" y="1969"/>
                </a:lnTo>
                <a:lnTo>
                  <a:pt x="686" y="1944"/>
                </a:lnTo>
                <a:lnTo>
                  <a:pt x="670" y="1929"/>
                </a:lnTo>
                <a:lnTo>
                  <a:pt x="649" y="1917"/>
                </a:lnTo>
                <a:lnTo>
                  <a:pt x="627" y="1910"/>
                </a:lnTo>
                <a:lnTo>
                  <a:pt x="601" y="1906"/>
                </a:lnTo>
                <a:lnTo>
                  <a:pt x="575" y="1905"/>
                </a:lnTo>
                <a:lnTo>
                  <a:pt x="547" y="1903"/>
                </a:lnTo>
                <a:lnTo>
                  <a:pt x="488" y="1901"/>
                </a:lnTo>
                <a:lnTo>
                  <a:pt x="430" y="1905"/>
                </a:lnTo>
                <a:lnTo>
                  <a:pt x="374" y="1910"/>
                </a:lnTo>
                <a:lnTo>
                  <a:pt x="312" y="1920"/>
                </a:lnTo>
                <a:lnTo>
                  <a:pt x="251" y="1936"/>
                </a:lnTo>
                <a:lnTo>
                  <a:pt x="196" y="1953"/>
                </a:lnTo>
                <a:lnTo>
                  <a:pt x="140" y="1969"/>
                </a:lnTo>
                <a:lnTo>
                  <a:pt x="87" y="1982"/>
                </a:lnTo>
                <a:lnTo>
                  <a:pt x="71" y="1924"/>
                </a:lnTo>
                <a:lnTo>
                  <a:pt x="50" y="1861"/>
                </a:lnTo>
                <a:lnTo>
                  <a:pt x="31" y="1796"/>
                </a:lnTo>
                <a:lnTo>
                  <a:pt x="14" y="1726"/>
                </a:lnTo>
                <a:lnTo>
                  <a:pt x="5" y="1657"/>
                </a:lnTo>
                <a:lnTo>
                  <a:pt x="4" y="1598"/>
                </a:lnTo>
                <a:lnTo>
                  <a:pt x="5" y="1538"/>
                </a:lnTo>
                <a:lnTo>
                  <a:pt x="9" y="1482"/>
                </a:lnTo>
                <a:lnTo>
                  <a:pt x="14" y="1456"/>
                </a:lnTo>
                <a:lnTo>
                  <a:pt x="24" y="1434"/>
                </a:lnTo>
                <a:lnTo>
                  <a:pt x="57" y="1446"/>
                </a:lnTo>
                <a:lnTo>
                  <a:pt x="89" y="1461"/>
                </a:lnTo>
                <a:lnTo>
                  <a:pt x="120" y="1474"/>
                </a:lnTo>
                <a:lnTo>
                  <a:pt x="153" y="1486"/>
                </a:lnTo>
                <a:lnTo>
                  <a:pt x="184" y="1494"/>
                </a:lnTo>
                <a:lnTo>
                  <a:pt x="218" y="1496"/>
                </a:lnTo>
                <a:lnTo>
                  <a:pt x="255" y="1491"/>
                </a:lnTo>
                <a:lnTo>
                  <a:pt x="281" y="1480"/>
                </a:lnTo>
                <a:lnTo>
                  <a:pt x="308" y="1465"/>
                </a:lnTo>
                <a:lnTo>
                  <a:pt x="333" y="1446"/>
                </a:lnTo>
                <a:lnTo>
                  <a:pt x="352" y="1425"/>
                </a:lnTo>
                <a:lnTo>
                  <a:pt x="355" y="1418"/>
                </a:lnTo>
                <a:lnTo>
                  <a:pt x="355" y="1415"/>
                </a:lnTo>
                <a:lnTo>
                  <a:pt x="357" y="1410"/>
                </a:lnTo>
                <a:lnTo>
                  <a:pt x="359" y="1406"/>
                </a:lnTo>
                <a:lnTo>
                  <a:pt x="367" y="1397"/>
                </a:lnTo>
                <a:lnTo>
                  <a:pt x="372" y="1394"/>
                </a:lnTo>
                <a:lnTo>
                  <a:pt x="374" y="1390"/>
                </a:lnTo>
                <a:lnTo>
                  <a:pt x="381" y="1373"/>
                </a:lnTo>
                <a:lnTo>
                  <a:pt x="390" y="1352"/>
                </a:lnTo>
                <a:lnTo>
                  <a:pt x="398" y="1333"/>
                </a:lnTo>
                <a:lnTo>
                  <a:pt x="405" y="1314"/>
                </a:lnTo>
                <a:lnTo>
                  <a:pt x="414" y="1275"/>
                </a:lnTo>
                <a:lnTo>
                  <a:pt x="419" y="1231"/>
                </a:lnTo>
                <a:lnTo>
                  <a:pt x="423" y="1183"/>
                </a:lnTo>
                <a:lnTo>
                  <a:pt x="419" y="1089"/>
                </a:lnTo>
                <a:lnTo>
                  <a:pt x="414" y="1046"/>
                </a:lnTo>
                <a:lnTo>
                  <a:pt x="405" y="1008"/>
                </a:lnTo>
                <a:lnTo>
                  <a:pt x="392" y="966"/>
                </a:lnTo>
                <a:lnTo>
                  <a:pt x="383" y="946"/>
                </a:lnTo>
                <a:lnTo>
                  <a:pt x="374" y="930"/>
                </a:lnTo>
                <a:lnTo>
                  <a:pt x="372" y="928"/>
                </a:lnTo>
                <a:lnTo>
                  <a:pt x="369" y="928"/>
                </a:lnTo>
                <a:lnTo>
                  <a:pt x="367" y="927"/>
                </a:lnTo>
                <a:lnTo>
                  <a:pt x="364" y="920"/>
                </a:lnTo>
                <a:lnTo>
                  <a:pt x="364" y="918"/>
                </a:lnTo>
                <a:lnTo>
                  <a:pt x="362" y="914"/>
                </a:lnTo>
                <a:lnTo>
                  <a:pt x="343" y="894"/>
                </a:lnTo>
                <a:lnTo>
                  <a:pt x="324" y="875"/>
                </a:lnTo>
                <a:lnTo>
                  <a:pt x="301" y="861"/>
                </a:lnTo>
                <a:lnTo>
                  <a:pt x="296" y="857"/>
                </a:lnTo>
                <a:lnTo>
                  <a:pt x="291" y="856"/>
                </a:lnTo>
                <a:lnTo>
                  <a:pt x="288" y="852"/>
                </a:lnTo>
                <a:lnTo>
                  <a:pt x="256" y="842"/>
                </a:lnTo>
                <a:lnTo>
                  <a:pt x="236" y="840"/>
                </a:lnTo>
                <a:lnTo>
                  <a:pt x="215" y="843"/>
                </a:lnTo>
                <a:lnTo>
                  <a:pt x="196" y="849"/>
                </a:lnTo>
                <a:lnTo>
                  <a:pt x="175" y="857"/>
                </a:lnTo>
                <a:lnTo>
                  <a:pt x="146" y="871"/>
                </a:lnTo>
                <a:lnTo>
                  <a:pt x="121" y="885"/>
                </a:lnTo>
                <a:lnTo>
                  <a:pt x="80" y="906"/>
                </a:lnTo>
                <a:lnTo>
                  <a:pt x="57" y="914"/>
                </a:lnTo>
                <a:lnTo>
                  <a:pt x="33" y="920"/>
                </a:lnTo>
                <a:lnTo>
                  <a:pt x="5" y="920"/>
                </a:lnTo>
                <a:lnTo>
                  <a:pt x="0" y="835"/>
                </a:lnTo>
                <a:lnTo>
                  <a:pt x="2" y="753"/>
                </a:lnTo>
                <a:lnTo>
                  <a:pt x="9" y="676"/>
                </a:lnTo>
                <a:lnTo>
                  <a:pt x="19" y="601"/>
                </a:lnTo>
                <a:lnTo>
                  <a:pt x="33" y="530"/>
                </a:lnTo>
                <a:lnTo>
                  <a:pt x="50" y="463"/>
                </a:lnTo>
                <a:lnTo>
                  <a:pt x="68" y="400"/>
                </a:lnTo>
                <a:lnTo>
                  <a:pt x="71" y="385"/>
                </a:lnTo>
                <a:lnTo>
                  <a:pt x="75" y="367"/>
                </a:lnTo>
                <a:lnTo>
                  <a:pt x="82" y="354"/>
                </a:lnTo>
                <a:lnTo>
                  <a:pt x="90" y="340"/>
                </a:lnTo>
                <a:lnTo>
                  <a:pt x="158" y="359"/>
                </a:lnTo>
                <a:lnTo>
                  <a:pt x="229" y="378"/>
                </a:lnTo>
                <a:lnTo>
                  <a:pt x="303" y="395"/>
                </a:lnTo>
                <a:lnTo>
                  <a:pt x="383" y="409"/>
                </a:lnTo>
                <a:lnTo>
                  <a:pt x="464" y="419"/>
                </a:lnTo>
                <a:lnTo>
                  <a:pt x="551" y="425"/>
                </a:lnTo>
                <a:lnTo>
                  <a:pt x="639" y="423"/>
                </a:lnTo>
                <a:lnTo>
                  <a:pt x="669" y="421"/>
                </a:lnTo>
                <a:lnTo>
                  <a:pt x="691" y="416"/>
                </a:lnTo>
                <a:lnTo>
                  <a:pt x="707" y="406"/>
                </a:lnTo>
                <a:lnTo>
                  <a:pt x="717" y="388"/>
                </a:lnTo>
                <a:lnTo>
                  <a:pt x="720" y="361"/>
                </a:lnTo>
                <a:lnTo>
                  <a:pt x="717" y="331"/>
                </a:lnTo>
                <a:lnTo>
                  <a:pt x="707" y="298"/>
                </a:lnTo>
                <a:lnTo>
                  <a:pt x="689" y="269"/>
                </a:lnTo>
                <a:lnTo>
                  <a:pt x="674" y="239"/>
                </a:lnTo>
                <a:lnTo>
                  <a:pt x="658" y="212"/>
                </a:lnTo>
                <a:lnTo>
                  <a:pt x="648" y="189"/>
                </a:lnTo>
                <a:lnTo>
                  <a:pt x="641" y="167"/>
                </a:lnTo>
                <a:lnTo>
                  <a:pt x="639" y="142"/>
                </a:lnTo>
                <a:lnTo>
                  <a:pt x="646" y="120"/>
                </a:lnTo>
                <a:lnTo>
                  <a:pt x="658" y="97"/>
                </a:lnTo>
                <a:lnTo>
                  <a:pt x="674" y="78"/>
                </a:lnTo>
                <a:lnTo>
                  <a:pt x="701" y="54"/>
                </a:lnTo>
                <a:lnTo>
                  <a:pt x="734" y="35"/>
                </a:lnTo>
                <a:lnTo>
                  <a:pt x="772" y="21"/>
                </a:lnTo>
                <a:lnTo>
                  <a:pt x="812" y="13"/>
                </a:lnTo>
                <a:lnTo>
                  <a:pt x="854" y="6"/>
                </a:lnTo>
                <a:lnTo>
                  <a:pt x="897" y="0"/>
                </a:lnTo>
                <a:close/>
              </a:path>
            </a:pathLst>
          </a:custGeom>
          <a:solidFill>
            <a:schemeClr val="accent1"/>
          </a:solidFill>
          <a:ln w="12700">
            <a:solidFill>
              <a:schemeClr val="bg1"/>
            </a:solidFill>
            <a:round/>
            <a:headEnd/>
            <a:tailEnd/>
          </a:ln>
        </p:spPr>
        <p:txBody>
          <a:bodyPr anchor="ctr"/>
          <a:lstStyle/>
          <a:p>
            <a:endParaRPr lang="en-US"/>
          </a:p>
        </p:txBody>
      </p:sp>
      <p:sp>
        <p:nvSpPr>
          <p:cNvPr id="69637" name="Rectangle 5"/>
          <p:cNvSpPr>
            <a:spLocks noChangeArrowheads="1"/>
          </p:cNvSpPr>
          <p:nvPr/>
        </p:nvSpPr>
        <p:spPr bwMode="gray">
          <a:xfrm>
            <a:off x="7454371" y="2793875"/>
            <a:ext cx="762000" cy="963930"/>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rgbClr val="FFFFFF"/>
                </a:solidFill>
              </a:rPr>
              <a:t>Text</a:t>
            </a:r>
          </a:p>
        </p:txBody>
      </p:sp>
      <p:sp>
        <p:nvSpPr>
          <p:cNvPr id="178" name="AutoShape 6"/>
          <p:cNvSpPr>
            <a:spLocks/>
          </p:cNvSpPr>
          <p:nvPr/>
        </p:nvSpPr>
        <p:spPr bwMode="gray">
          <a:xfrm>
            <a:off x="8178271" y="2660524"/>
            <a:ext cx="1524000" cy="1213486"/>
          </a:xfrm>
          <a:custGeom>
            <a:avLst/>
            <a:gdLst>
              <a:gd name="T0" fmla="*/ 1816 w 2318"/>
              <a:gd name="T1" fmla="*/ 41 h 1845"/>
              <a:gd name="T2" fmla="*/ 1979 w 2318"/>
              <a:gd name="T3" fmla="*/ 90 h 1845"/>
              <a:gd name="T4" fmla="*/ 1896 w 2318"/>
              <a:gd name="T5" fmla="*/ 547 h 1845"/>
              <a:gd name="T6" fmla="*/ 1906 w 2318"/>
              <a:gd name="T7" fmla="*/ 699 h 1845"/>
              <a:gd name="T8" fmla="*/ 2008 w 2318"/>
              <a:gd name="T9" fmla="*/ 709 h 1845"/>
              <a:gd name="T10" fmla="*/ 2150 w 2318"/>
              <a:gd name="T11" fmla="*/ 642 h 1845"/>
              <a:gd name="T12" fmla="*/ 2237 w 2318"/>
              <a:gd name="T13" fmla="*/ 670 h 1845"/>
              <a:gd name="T14" fmla="*/ 2308 w 2318"/>
              <a:gd name="T15" fmla="*/ 824 h 1845"/>
              <a:gd name="T16" fmla="*/ 2310 w 2318"/>
              <a:gd name="T17" fmla="*/ 1004 h 1845"/>
              <a:gd name="T18" fmla="*/ 2273 w 2318"/>
              <a:gd name="T19" fmla="*/ 1133 h 1845"/>
              <a:gd name="T20" fmla="*/ 2256 w 2318"/>
              <a:gd name="T21" fmla="*/ 1158 h 1845"/>
              <a:gd name="T22" fmla="*/ 2140 w 2318"/>
              <a:gd name="T23" fmla="*/ 1220 h 1845"/>
              <a:gd name="T24" fmla="*/ 2015 w 2318"/>
              <a:gd name="T25" fmla="*/ 1177 h 1845"/>
              <a:gd name="T26" fmla="*/ 1922 w 2318"/>
              <a:gd name="T27" fmla="*/ 1177 h 1845"/>
              <a:gd name="T28" fmla="*/ 1897 w 2318"/>
              <a:gd name="T29" fmla="*/ 1339 h 1845"/>
              <a:gd name="T30" fmla="*/ 1927 w 2318"/>
              <a:gd name="T31" fmla="*/ 1570 h 1845"/>
              <a:gd name="T32" fmla="*/ 1858 w 2318"/>
              <a:gd name="T33" fmla="*/ 1795 h 1845"/>
              <a:gd name="T34" fmla="*/ 1539 w 2318"/>
              <a:gd name="T35" fmla="*/ 1840 h 1845"/>
              <a:gd name="T36" fmla="*/ 1444 w 2318"/>
              <a:gd name="T37" fmla="*/ 1786 h 1845"/>
              <a:gd name="T38" fmla="*/ 1492 w 2318"/>
              <a:gd name="T39" fmla="*/ 1620 h 1845"/>
              <a:gd name="T40" fmla="*/ 1407 w 2318"/>
              <a:gd name="T41" fmla="*/ 1483 h 1845"/>
              <a:gd name="T42" fmla="*/ 1162 w 2318"/>
              <a:gd name="T43" fmla="*/ 1423 h 1845"/>
              <a:gd name="T44" fmla="*/ 931 w 2318"/>
              <a:gd name="T45" fmla="*/ 1471 h 1845"/>
              <a:gd name="T46" fmla="*/ 848 w 2318"/>
              <a:gd name="T47" fmla="*/ 1561 h 1845"/>
              <a:gd name="T48" fmla="*/ 859 w 2318"/>
              <a:gd name="T49" fmla="*/ 1679 h 1845"/>
              <a:gd name="T50" fmla="*/ 914 w 2318"/>
              <a:gd name="T51" fmla="*/ 1805 h 1845"/>
              <a:gd name="T52" fmla="*/ 758 w 2318"/>
              <a:gd name="T53" fmla="*/ 1841 h 1845"/>
              <a:gd name="T54" fmla="*/ 336 w 2318"/>
              <a:gd name="T55" fmla="*/ 1757 h 1845"/>
              <a:gd name="T56" fmla="*/ 412 w 2318"/>
              <a:gd name="T57" fmla="*/ 1423 h 1845"/>
              <a:gd name="T58" fmla="*/ 421 w 2318"/>
              <a:gd name="T59" fmla="*/ 1184 h 1845"/>
              <a:gd name="T60" fmla="*/ 363 w 2318"/>
              <a:gd name="T61" fmla="*/ 1123 h 1845"/>
              <a:gd name="T62" fmla="*/ 266 w 2318"/>
              <a:gd name="T63" fmla="*/ 1152 h 1845"/>
              <a:gd name="T64" fmla="*/ 147 w 2318"/>
              <a:gd name="T65" fmla="*/ 1208 h 1845"/>
              <a:gd name="T66" fmla="*/ 62 w 2318"/>
              <a:gd name="T67" fmla="*/ 1161 h 1845"/>
              <a:gd name="T68" fmla="*/ 53 w 2318"/>
              <a:gd name="T69" fmla="*/ 1144 h 1845"/>
              <a:gd name="T70" fmla="*/ 21 w 2318"/>
              <a:gd name="T71" fmla="*/ 1076 h 1845"/>
              <a:gd name="T72" fmla="*/ 8 w 2318"/>
              <a:gd name="T73" fmla="*/ 820 h 1845"/>
              <a:gd name="T74" fmla="*/ 78 w 2318"/>
              <a:gd name="T75" fmla="*/ 666 h 1845"/>
              <a:gd name="T76" fmla="*/ 216 w 2318"/>
              <a:gd name="T77" fmla="*/ 635 h 1845"/>
              <a:gd name="T78" fmla="*/ 351 w 2318"/>
              <a:gd name="T79" fmla="*/ 685 h 1845"/>
              <a:gd name="T80" fmla="*/ 408 w 2318"/>
              <a:gd name="T81" fmla="*/ 623 h 1845"/>
              <a:gd name="T82" fmla="*/ 414 w 2318"/>
              <a:gd name="T83" fmla="*/ 429 h 1845"/>
              <a:gd name="T84" fmla="*/ 348 w 2318"/>
              <a:gd name="T85" fmla="*/ 136 h 1845"/>
              <a:gd name="T86" fmla="*/ 588 w 2318"/>
              <a:gd name="T87" fmla="*/ 17 h 1845"/>
              <a:gd name="T88" fmla="*/ 829 w 2318"/>
              <a:gd name="T89" fmla="*/ 10 h 1845"/>
              <a:gd name="T90" fmla="*/ 843 w 2318"/>
              <a:gd name="T91" fmla="*/ 128 h 1845"/>
              <a:gd name="T92" fmla="*/ 824 w 2318"/>
              <a:gd name="T93" fmla="*/ 251 h 1845"/>
              <a:gd name="T94" fmla="*/ 878 w 2318"/>
              <a:gd name="T95" fmla="*/ 339 h 1845"/>
              <a:gd name="T96" fmla="*/ 895 w 2318"/>
              <a:gd name="T97" fmla="*/ 353 h 1845"/>
              <a:gd name="T98" fmla="*/ 912 w 2318"/>
              <a:gd name="T99" fmla="*/ 361 h 1845"/>
              <a:gd name="T100" fmla="*/ 973 w 2318"/>
              <a:gd name="T101" fmla="*/ 394 h 1845"/>
              <a:gd name="T102" fmla="*/ 1212 w 2318"/>
              <a:gd name="T103" fmla="*/ 420 h 1845"/>
              <a:gd name="T104" fmla="*/ 1376 w 2318"/>
              <a:gd name="T105" fmla="*/ 382 h 1845"/>
              <a:gd name="T106" fmla="*/ 1442 w 2318"/>
              <a:gd name="T107" fmla="*/ 327 h 1845"/>
              <a:gd name="T108" fmla="*/ 1475 w 2318"/>
              <a:gd name="T109" fmla="*/ 214 h 1845"/>
              <a:gd name="T110" fmla="*/ 1437 w 2318"/>
              <a:gd name="T111" fmla="*/ 123 h 1845"/>
              <a:gd name="T112" fmla="*/ 1402 w 2318"/>
              <a:gd name="T113" fmla="*/ 60 h 184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18"/>
              <a:gd name="T172" fmla="*/ 0 h 1845"/>
              <a:gd name="T173" fmla="*/ 2318 w 2318"/>
              <a:gd name="T174" fmla="*/ 1845 h 184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18" h="1845">
                <a:moveTo>
                  <a:pt x="1489" y="0"/>
                </a:moveTo>
                <a:lnTo>
                  <a:pt x="1577" y="3"/>
                </a:lnTo>
                <a:lnTo>
                  <a:pt x="1662" y="12"/>
                </a:lnTo>
                <a:lnTo>
                  <a:pt x="1742" y="24"/>
                </a:lnTo>
                <a:lnTo>
                  <a:pt x="1816" y="41"/>
                </a:lnTo>
                <a:lnTo>
                  <a:pt x="1884" y="58"/>
                </a:lnTo>
                <a:lnTo>
                  <a:pt x="1910" y="65"/>
                </a:lnTo>
                <a:lnTo>
                  <a:pt x="1936" y="71"/>
                </a:lnTo>
                <a:lnTo>
                  <a:pt x="1958" y="79"/>
                </a:lnTo>
                <a:lnTo>
                  <a:pt x="1979" y="90"/>
                </a:lnTo>
                <a:lnTo>
                  <a:pt x="1949" y="195"/>
                </a:lnTo>
                <a:lnTo>
                  <a:pt x="1922" y="301"/>
                </a:lnTo>
                <a:lnTo>
                  <a:pt x="1908" y="379"/>
                </a:lnTo>
                <a:lnTo>
                  <a:pt x="1899" y="460"/>
                </a:lnTo>
                <a:lnTo>
                  <a:pt x="1896" y="547"/>
                </a:lnTo>
                <a:lnTo>
                  <a:pt x="1894" y="573"/>
                </a:lnTo>
                <a:lnTo>
                  <a:pt x="1894" y="630"/>
                </a:lnTo>
                <a:lnTo>
                  <a:pt x="1896" y="657"/>
                </a:lnTo>
                <a:lnTo>
                  <a:pt x="1899" y="682"/>
                </a:lnTo>
                <a:lnTo>
                  <a:pt x="1906" y="699"/>
                </a:lnTo>
                <a:lnTo>
                  <a:pt x="1915" y="711"/>
                </a:lnTo>
                <a:lnTo>
                  <a:pt x="1937" y="721"/>
                </a:lnTo>
                <a:lnTo>
                  <a:pt x="1960" y="721"/>
                </a:lnTo>
                <a:lnTo>
                  <a:pt x="1984" y="718"/>
                </a:lnTo>
                <a:lnTo>
                  <a:pt x="2008" y="709"/>
                </a:lnTo>
                <a:lnTo>
                  <a:pt x="2029" y="699"/>
                </a:lnTo>
                <a:lnTo>
                  <a:pt x="2048" y="689"/>
                </a:lnTo>
                <a:lnTo>
                  <a:pt x="2107" y="661"/>
                </a:lnTo>
                <a:lnTo>
                  <a:pt x="2129" y="650"/>
                </a:lnTo>
                <a:lnTo>
                  <a:pt x="2150" y="642"/>
                </a:lnTo>
                <a:lnTo>
                  <a:pt x="2171" y="638"/>
                </a:lnTo>
                <a:lnTo>
                  <a:pt x="2187" y="642"/>
                </a:lnTo>
                <a:lnTo>
                  <a:pt x="2204" y="649"/>
                </a:lnTo>
                <a:lnTo>
                  <a:pt x="2221" y="659"/>
                </a:lnTo>
                <a:lnTo>
                  <a:pt x="2237" y="670"/>
                </a:lnTo>
                <a:lnTo>
                  <a:pt x="2254" y="689"/>
                </a:lnTo>
                <a:lnTo>
                  <a:pt x="2268" y="708"/>
                </a:lnTo>
                <a:lnTo>
                  <a:pt x="2285" y="742"/>
                </a:lnTo>
                <a:lnTo>
                  <a:pt x="2299" y="782"/>
                </a:lnTo>
                <a:lnTo>
                  <a:pt x="2308" y="824"/>
                </a:lnTo>
                <a:lnTo>
                  <a:pt x="2315" y="869"/>
                </a:lnTo>
                <a:lnTo>
                  <a:pt x="2318" y="912"/>
                </a:lnTo>
                <a:lnTo>
                  <a:pt x="2318" y="931"/>
                </a:lnTo>
                <a:lnTo>
                  <a:pt x="2315" y="966"/>
                </a:lnTo>
                <a:lnTo>
                  <a:pt x="2310" y="1004"/>
                </a:lnTo>
                <a:lnTo>
                  <a:pt x="2303" y="1042"/>
                </a:lnTo>
                <a:lnTo>
                  <a:pt x="2296" y="1075"/>
                </a:lnTo>
                <a:lnTo>
                  <a:pt x="2287" y="1104"/>
                </a:lnTo>
                <a:lnTo>
                  <a:pt x="2275" y="1130"/>
                </a:lnTo>
                <a:lnTo>
                  <a:pt x="2273" y="1133"/>
                </a:lnTo>
                <a:lnTo>
                  <a:pt x="2270" y="1135"/>
                </a:lnTo>
                <a:lnTo>
                  <a:pt x="2266" y="1139"/>
                </a:lnTo>
                <a:lnTo>
                  <a:pt x="2261" y="1149"/>
                </a:lnTo>
                <a:lnTo>
                  <a:pt x="2258" y="1154"/>
                </a:lnTo>
                <a:lnTo>
                  <a:pt x="2256" y="1158"/>
                </a:lnTo>
                <a:lnTo>
                  <a:pt x="2239" y="1178"/>
                </a:lnTo>
                <a:lnTo>
                  <a:pt x="2218" y="1196"/>
                </a:lnTo>
                <a:lnTo>
                  <a:pt x="2194" y="1211"/>
                </a:lnTo>
                <a:lnTo>
                  <a:pt x="2168" y="1218"/>
                </a:lnTo>
                <a:lnTo>
                  <a:pt x="2140" y="1220"/>
                </a:lnTo>
                <a:lnTo>
                  <a:pt x="2109" y="1215"/>
                </a:lnTo>
                <a:lnTo>
                  <a:pt x="2079" y="1206"/>
                </a:lnTo>
                <a:lnTo>
                  <a:pt x="2053" y="1196"/>
                </a:lnTo>
                <a:lnTo>
                  <a:pt x="2034" y="1187"/>
                </a:lnTo>
                <a:lnTo>
                  <a:pt x="2015" y="1177"/>
                </a:lnTo>
                <a:lnTo>
                  <a:pt x="1994" y="1168"/>
                </a:lnTo>
                <a:lnTo>
                  <a:pt x="1974" y="1161"/>
                </a:lnTo>
                <a:lnTo>
                  <a:pt x="1955" y="1159"/>
                </a:lnTo>
                <a:lnTo>
                  <a:pt x="1937" y="1165"/>
                </a:lnTo>
                <a:lnTo>
                  <a:pt x="1922" y="1177"/>
                </a:lnTo>
                <a:lnTo>
                  <a:pt x="1917" y="1187"/>
                </a:lnTo>
                <a:lnTo>
                  <a:pt x="1910" y="1211"/>
                </a:lnTo>
                <a:lnTo>
                  <a:pt x="1903" y="1249"/>
                </a:lnTo>
                <a:lnTo>
                  <a:pt x="1897" y="1293"/>
                </a:lnTo>
                <a:lnTo>
                  <a:pt x="1897" y="1339"/>
                </a:lnTo>
                <a:lnTo>
                  <a:pt x="1899" y="1384"/>
                </a:lnTo>
                <a:lnTo>
                  <a:pt x="1903" y="1426"/>
                </a:lnTo>
                <a:lnTo>
                  <a:pt x="1906" y="1464"/>
                </a:lnTo>
                <a:lnTo>
                  <a:pt x="1915" y="1519"/>
                </a:lnTo>
                <a:lnTo>
                  <a:pt x="1927" y="1570"/>
                </a:lnTo>
                <a:lnTo>
                  <a:pt x="1955" y="1663"/>
                </a:lnTo>
                <a:lnTo>
                  <a:pt x="1967" y="1708"/>
                </a:lnTo>
                <a:lnTo>
                  <a:pt x="1979" y="1757"/>
                </a:lnTo>
                <a:lnTo>
                  <a:pt x="1920" y="1776"/>
                </a:lnTo>
                <a:lnTo>
                  <a:pt x="1858" y="1795"/>
                </a:lnTo>
                <a:lnTo>
                  <a:pt x="1792" y="1812"/>
                </a:lnTo>
                <a:lnTo>
                  <a:pt x="1721" y="1828"/>
                </a:lnTo>
                <a:lnTo>
                  <a:pt x="1648" y="1838"/>
                </a:lnTo>
                <a:lnTo>
                  <a:pt x="1572" y="1841"/>
                </a:lnTo>
                <a:lnTo>
                  <a:pt x="1539" y="1840"/>
                </a:lnTo>
                <a:lnTo>
                  <a:pt x="1508" y="1838"/>
                </a:lnTo>
                <a:lnTo>
                  <a:pt x="1478" y="1835"/>
                </a:lnTo>
                <a:lnTo>
                  <a:pt x="1452" y="1828"/>
                </a:lnTo>
                <a:lnTo>
                  <a:pt x="1430" y="1817"/>
                </a:lnTo>
                <a:lnTo>
                  <a:pt x="1444" y="1786"/>
                </a:lnTo>
                <a:lnTo>
                  <a:pt x="1458" y="1753"/>
                </a:lnTo>
                <a:lnTo>
                  <a:pt x="1472" y="1722"/>
                </a:lnTo>
                <a:lnTo>
                  <a:pt x="1484" y="1689"/>
                </a:lnTo>
                <a:lnTo>
                  <a:pt x="1491" y="1656"/>
                </a:lnTo>
                <a:lnTo>
                  <a:pt x="1492" y="1620"/>
                </a:lnTo>
                <a:lnTo>
                  <a:pt x="1487" y="1584"/>
                </a:lnTo>
                <a:lnTo>
                  <a:pt x="1475" y="1554"/>
                </a:lnTo>
                <a:lnTo>
                  <a:pt x="1454" y="1526"/>
                </a:lnTo>
                <a:lnTo>
                  <a:pt x="1432" y="1502"/>
                </a:lnTo>
                <a:lnTo>
                  <a:pt x="1407" y="1483"/>
                </a:lnTo>
                <a:lnTo>
                  <a:pt x="1366" y="1461"/>
                </a:lnTo>
                <a:lnTo>
                  <a:pt x="1319" y="1443"/>
                </a:lnTo>
                <a:lnTo>
                  <a:pt x="1269" y="1431"/>
                </a:lnTo>
                <a:lnTo>
                  <a:pt x="1215" y="1424"/>
                </a:lnTo>
                <a:lnTo>
                  <a:pt x="1162" y="1423"/>
                </a:lnTo>
                <a:lnTo>
                  <a:pt x="1110" y="1424"/>
                </a:lnTo>
                <a:lnTo>
                  <a:pt x="1059" y="1429"/>
                </a:lnTo>
                <a:lnTo>
                  <a:pt x="1013" y="1438"/>
                </a:lnTo>
                <a:lnTo>
                  <a:pt x="969" y="1452"/>
                </a:lnTo>
                <a:lnTo>
                  <a:pt x="931" y="1471"/>
                </a:lnTo>
                <a:lnTo>
                  <a:pt x="898" y="1493"/>
                </a:lnTo>
                <a:lnTo>
                  <a:pt x="871" y="1521"/>
                </a:lnTo>
                <a:lnTo>
                  <a:pt x="850" y="1552"/>
                </a:lnTo>
                <a:lnTo>
                  <a:pt x="848" y="1556"/>
                </a:lnTo>
                <a:lnTo>
                  <a:pt x="848" y="1561"/>
                </a:lnTo>
                <a:lnTo>
                  <a:pt x="846" y="1564"/>
                </a:lnTo>
                <a:lnTo>
                  <a:pt x="840" y="1596"/>
                </a:lnTo>
                <a:lnTo>
                  <a:pt x="841" y="1627"/>
                </a:lnTo>
                <a:lnTo>
                  <a:pt x="848" y="1654"/>
                </a:lnTo>
                <a:lnTo>
                  <a:pt x="859" y="1679"/>
                </a:lnTo>
                <a:lnTo>
                  <a:pt x="871" y="1703"/>
                </a:lnTo>
                <a:lnTo>
                  <a:pt x="885" y="1727"/>
                </a:lnTo>
                <a:lnTo>
                  <a:pt x="897" y="1751"/>
                </a:lnTo>
                <a:lnTo>
                  <a:pt x="909" y="1777"/>
                </a:lnTo>
                <a:lnTo>
                  <a:pt x="914" y="1805"/>
                </a:lnTo>
                <a:lnTo>
                  <a:pt x="916" y="1836"/>
                </a:lnTo>
                <a:lnTo>
                  <a:pt x="876" y="1843"/>
                </a:lnTo>
                <a:lnTo>
                  <a:pt x="836" y="1845"/>
                </a:lnTo>
                <a:lnTo>
                  <a:pt x="796" y="1843"/>
                </a:lnTo>
                <a:lnTo>
                  <a:pt x="758" y="1841"/>
                </a:lnTo>
                <a:lnTo>
                  <a:pt x="680" y="1835"/>
                </a:lnTo>
                <a:lnTo>
                  <a:pt x="604" y="1826"/>
                </a:lnTo>
                <a:lnTo>
                  <a:pt x="509" y="1807"/>
                </a:lnTo>
                <a:lnTo>
                  <a:pt x="419" y="1784"/>
                </a:lnTo>
                <a:lnTo>
                  <a:pt x="336" y="1757"/>
                </a:lnTo>
                <a:lnTo>
                  <a:pt x="356" y="1684"/>
                </a:lnTo>
                <a:lnTo>
                  <a:pt x="376" y="1613"/>
                </a:lnTo>
                <a:lnTo>
                  <a:pt x="393" y="1542"/>
                </a:lnTo>
                <a:lnTo>
                  <a:pt x="403" y="1483"/>
                </a:lnTo>
                <a:lnTo>
                  <a:pt x="412" y="1423"/>
                </a:lnTo>
                <a:lnTo>
                  <a:pt x="417" y="1360"/>
                </a:lnTo>
                <a:lnTo>
                  <a:pt x="421" y="1291"/>
                </a:lnTo>
                <a:lnTo>
                  <a:pt x="422" y="1265"/>
                </a:lnTo>
                <a:lnTo>
                  <a:pt x="422" y="1210"/>
                </a:lnTo>
                <a:lnTo>
                  <a:pt x="421" y="1184"/>
                </a:lnTo>
                <a:lnTo>
                  <a:pt x="415" y="1161"/>
                </a:lnTo>
                <a:lnTo>
                  <a:pt x="408" y="1142"/>
                </a:lnTo>
                <a:lnTo>
                  <a:pt x="396" y="1130"/>
                </a:lnTo>
                <a:lnTo>
                  <a:pt x="381" y="1125"/>
                </a:lnTo>
                <a:lnTo>
                  <a:pt x="363" y="1123"/>
                </a:lnTo>
                <a:lnTo>
                  <a:pt x="346" y="1127"/>
                </a:lnTo>
                <a:lnTo>
                  <a:pt x="327" y="1130"/>
                </a:lnTo>
                <a:lnTo>
                  <a:pt x="306" y="1135"/>
                </a:lnTo>
                <a:lnTo>
                  <a:pt x="287" y="1144"/>
                </a:lnTo>
                <a:lnTo>
                  <a:pt x="266" y="1152"/>
                </a:lnTo>
                <a:lnTo>
                  <a:pt x="240" y="1168"/>
                </a:lnTo>
                <a:lnTo>
                  <a:pt x="213" y="1184"/>
                </a:lnTo>
                <a:lnTo>
                  <a:pt x="195" y="1192"/>
                </a:lnTo>
                <a:lnTo>
                  <a:pt x="161" y="1206"/>
                </a:lnTo>
                <a:lnTo>
                  <a:pt x="147" y="1208"/>
                </a:lnTo>
                <a:lnTo>
                  <a:pt x="130" y="1204"/>
                </a:lnTo>
                <a:lnTo>
                  <a:pt x="111" y="1194"/>
                </a:lnTo>
                <a:lnTo>
                  <a:pt x="90" y="1184"/>
                </a:lnTo>
                <a:lnTo>
                  <a:pt x="74" y="1172"/>
                </a:lnTo>
                <a:lnTo>
                  <a:pt x="62" y="1161"/>
                </a:lnTo>
                <a:lnTo>
                  <a:pt x="62" y="1158"/>
                </a:lnTo>
                <a:lnTo>
                  <a:pt x="60" y="1154"/>
                </a:lnTo>
                <a:lnTo>
                  <a:pt x="60" y="1152"/>
                </a:lnTo>
                <a:lnTo>
                  <a:pt x="59" y="1149"/>
                </a:lnTo>
                <a:lnTo>
                  <a:pt x="53" y="1144"/>
                </a:lnTo>
                <a:lnTo>
                  <a:pt x="50" y="1142"/>
                </a:lnTo>
                <a:lnTo>
                  <a:pt x="48" y="1139"/>
                </a:lnTo>
                <a:lnTo>
                  <a:pt x="36" y="1120"/>
                </a:lnTo>
                <a:lnTo>
                  <a:pt x="29" y="1101"/>
                </a:lnTo>
                <a:lnTo>
                  <a:pt x="21" y="1076"/>
                </a:lnTo>
                <a:lnTo>
                  <a:pt x="8" y="1028"/>
                </a:lnTo>
                <a:lnTo>
                  <a:pt x="2" y="978"/>
                </a:lnTo>
                <a:lnTo>
                  <a:pt x="0" y="924"/>
                </a:lnTo>
                <a:lnTo>
                  <a:pt x="2" y="872"/>
                </a:lnTo>
                <a:lnTo>
                  <a:pt x="8" y="820"/>
                </a:lnTo>
                <a:lnTo>
                  <a:pt x="19" y="773"/>
                </a:lnTo>
                <a:lnTo>
                  <a:pt x="34" y="732"/>
                </a:lnTo>
                <a:lnTo>
                  <a:pt x="55" y="695"/>
                </a:lnTo>
                <a:lnTo>
                  <a:pt x="66" y="680"/>
                </a:lnTo>
                <a:lnTo>
                  <a:pt x="78" y="666"/>
                </a:lnTo>
                <a:lnTo>
                  <a:pt x="90" y="654"/>
                </a:lnTo>
                <a:lnTo>
                  <a:pt x="119" y="637"/>
                </a:lnTo>
                <a:lnTo>
                  <a:pt x="150" y="628"/>
                </a:lnTo>
                <a:lnTo>
                  <a:pt x="182" y="628"/>
                </a:lnTo>
                <a:lnTo>
                  <a:pt x="216" y="635"/>
                </a:lnTo>
                <a:lnTo>
                  <a:pt x="256" y="647"/>
                </a:lnTo>
                <a:lnTo>
                  <a:pt x="292" y="661"/>
                </a:lnTo>
                <a:lnTo>
                  <a:pt x="311" y="671"/>
                </a:lnTo>
                <a:lnTo>
                  <a:pt x="332" y="680"/>
                </a:lnTo>
                <a:lnTo>
                  <a:pt x="351" y="685"/>
                </a:lnTo>
                <a:lnTo>
                  <a:pt x="370" y="685"/>
                </a:lnTo>
                <a:lnTo>
                  <a:pt x="384" y="676"/>
                </a:lnTo>
                <a:lnTo>
                  <a:pt x="395" y="663"/>
                </a:lnTo>
                <a:lnTo>
                  <a:pt x="403" y="645"/>
                </a:lnTo>
                <a:lnTo>
                  <a:pt x="408" y="623"/>
                </a:lnTo>
                <a:lnTo>
                  <a:pt x="412" y="600"/>
                </a:lnTo>
                <a:lnTo>
                  <a:pt x="414" y="574"/>
                </a:lnTo>
                <a:lnTo>
                  <a:pt x="415" y="550"/>
                </a:lnTo>
                <a:lnTo>
                  <a:pt x="417" y="488"/>
                </a:lnTo>
                <a:lnTo>
                  <a:pt x="414" y="429"/>
                </a:lnTo>
                <a:lnTo>
                  <a:pt x="408" y="377"/>
                </a:lnTo>
                <a:lnTo>
                  <a:pt x="400" y="323"/>
                </a:lnTo>
                <a:lnTo>
                  <a:pt x="388" y="273"/>
                </a:lnTo>
                <a:lnTo>
                  <a:pt x="360" y="183"/>
                </a:lnTo>
                <a:lnTo>
                  <a:pt x="348" y="136"/>
                </a:lnTo>
                <a:lnTo>
                  <a:pt x="336" y="86"/>
                </a:lnTo>
                <a:lnTo>
                  <a:pt x="396" y="71"/>
                </a:lnTo>
                <a:lnTo>
                  <a:pt x="459" y="52"/>
                </a:lnTo>
                <a:lnTo>
                  <a:pt x="523" y="33"/>
                </a:lnTo>
                <a:lnTo>
                  <a:pt x="588" y="17"/>
                </a:lnTo>
                <a:lnTo>
                  <a:pt x="644" y="8"/>
                </a:lnTo>
                <a:lnTo>
                  <a:pt x="701" y="5"/>
                </a:lnTo>
                <a:lnTo>
                  <a:pt x="760" y="5"/>
                </a:lnTo>
                <a:lnTo>
                  <a:pt x="815" y="8"/>
                </a:lnTo>
                <a:lnTo>
                  <a:pt x="829" y="10"/>
                </a:lnTo>
                <a:lnTo>
                  <a:pt x="845" y="12"/>
                </a:lnTo>
                <a:lnTo>
                  <a:pt x="859" y="13"/>
                </a:lnTo>
                <a:lnTo>
                  <a:pt x="871" y="19"/>
                </a:lnTo>
                <a:lnTo>
                  <a:pt x="881" y="27"/>
                </a:lnTo>
                <a:lnTo>
                  <a:pt x="843" y="128"/>
                </a:lnTo>
                <a:lnTo>
                  <a:pt x="836" y="148"/>
                </a:lnTo>
                <a:lnTo>
                  <a:pt x="827" y="171"/>
                </a:lnTo>
                <a:lnTo>
                  <a:pt x="822" y="195"/>
                </a:lnTo>
                <a:lnTo>
                  <a:pt x="821" y="221"/>
                </a:lnTo>
                <a:lnTo>
                  <a:pt x="824" y="251"/>
                </a:lnTo>
                <a:lnTo>
                  <a:pt x="831" y="266"/>
                </a:lnTo>
                <a:lnTo>
                  <a:pt x="840" y="282"/>
                </a:lnTo>
                <a:lnTo>
                  <a:pt x="850" y="303"/>
                </a:lnTo>
                <a:lnTo>
                  <a:pt x="864" y="323"/>
                </a:lnTo>
                <a:lnTo>
                  <a:pt x="878" y="339"/>
                </a:lnTo>
                <a:lnTo>
                  <a:pt x="885" y="342"/>
                </a:lnTo>
                <a:lnTo>
                  <a:pt x="890" y="346"/>
                </a:lnTo>
                <a:lnTo>
                  <a:pt x="893" y="348"/>
                </a:lnTo>
                <a:lnTo>
                  <a:pt x="895" y="348"/>
                </a:lnTo>
                <a:lnTo>
                  <a:pt x="895" y="353"/>
                </a:lnTo>
                <a:lnTo>
                  <a:pt x="898" y="356"/>
                </a:lnTo>
                <a:lnTo>
                  <a:pt x="902" y="356"/>
                </a:lnTo>
                <a:lnTo>
                  <a:pt x="904" y="358"/>
                </a:lnTo>
                <a:lnTo>
                  <a:pt x="907" y="358"/>
                </a:lnTo>
                <a:lnTo>
                  <a:pt x="912" y="361"/>
                </a:lnTo>
                <a:lnTo>
                  <a:pt x="916" y="367"/>
                </a:lnTo>
                <a:lnTo>
                  <a:pt x="919" y="370"/>
                </a:lnTo>
                <a:lnTo>
                  <a:pt x="926" y="374"/>
                </a:lnTo>
                <a:lnTo>
                  <a:pt x="935" y="377"/>
                </a:lnTo>
                <a:lnTo>
                  <a:pt x="973" y="394"/>
                </a:lnTo>
                <a:lnTo>
                  <a:pt x="1016" y="408"/>
                </a:lnTo>
                <a:lnTo>
                  <a:pt x="1063" y="417"/>
                </a:lnTo>
                <a:lnTo>
                  <a:pt x="1113" y="422"/>
                </a:lnTo>
                <a:lnTo>
                  <a:pt x="1163" y="422"/>
                </a:lnTo>
                <a:lnTo>
                  <a:pt x="1212" y="420"/>
                </a:lnTo>
                <a:lnTo>
                  <a:pt x="1260" y="413"/>
                </a:lnTo>
                <a:lnTo>
                  <a:pt x="1304" y="405"/>
                </a:lnTo>
                <a:lnTo>
                  <a:pt x="1330" y="398"/>
                </a:lnTo>
                <a:lnTo>
                  <a:pt x="1354" y="391"/>
                </a:lnTo>
                <a:lnTo>
                  <a:pt x="1376" y="382"/>
                </a:lnTo>
                <a:lnTo>
                  <a:pt x="1390" y="374"/>
                </a:lnTo>
                <a:lnTo>
                  <a:pt x="1404" y="363"/>
                </a:lnTo>
                <a:lnTo>
                  <a:pt x="1420" y="349"/>
                </a:lnTo>
                <a:lnTo>
                  <a:pt x="1433" y="337"/>
                </a:lnTo>
                <a:lnTo>
                  <a:pt x="1442" y="327"/>
                </a:lnTo>
                <a:lnTo>
                  <a:pt x="1456" y="306"/>
                </a:lnTo>
                <a:lnTo>
                  <a:pt x="1468" y="280"/>
                </a:lnTo>
                <a:lnTo>
                  <a:pt x="1477" y="254"/>
                </a:lnTo>
                <a:lnTo>
                  <a:pt x="1478" y="232"/>
                </a:lnTo>
                <a:lnTo>
                  <a:pt x="1475" y="214"/>
                </a:lnTo>
                <a:lnTo>
                  <a:pt x="1472" y="199"/>
                </a:lnTo>
                <a:lnTo>
                  <a:pt x="1458" y="171"/>
                </a:lnTo>
                <a:lnTo>
                  <a:pt x="1451" y="155"/>
                </a:lnTo>
                <a:lnTo>
                  <a:pt x="1444" y="138"/>
                </a:lnTo>
                <a:lnTo>
                  <a:pt x="1437" y="123"/>
                </a:lnTo>
                <a:lnTo>
                  <a:pt x="1430" y="112"/>
                </a:lnTo>
                <a:lnTo>
                  <a:pt x="1428" y="110"/>
                </a:lnTo>
                <a:lnTo>
                  <a:pt x="1428" y="107"/>
                </a:lnTo>
                <a:lnTo>
                  <a:pt x="1427" y="105"/>
                </a:lnTo>
                <a:lnTo>
                  <a:pt x="1402" y="60"/>
                </a:lnTo>
                <a:lnTo>
                  <a:pt x="1397" y="34"/>
                </a:lnTo>
                <a:lnTo>
                  <a:pt x="1399" y="5"/>
                </a:lnTo>
                <a:lnTo>
                  <a:pt x="1489" y="0"/>
                </a:lnTo>
                <a:close/>
              </a:path>
            </a:pathLst>
          </a:custGeom>
          <a:solidFill>
            <a:schemeClr val="tx2"/>
          </a:solidFill>
          <a:ln w="12700">
            <a:solidFill>
              <a:schemeClr val="bg1"/>
            </a:solidFill>
            <a:round/>
            <a:headEnd/>
            <a:tailEnd/>
          </a:ln>
        </p:spPr>
        <p:txBody>
          <a:bodyPr anchor="ctr"/>
          <a:lstStyle/>
          <a:p>
            <a:endParaRPr lang="en-US"/>
          </a:p>
        </p:txBody>
      </p:sp>
      <p:sp>
        <p:nvSpPr>
          <p:cNvPr id="69639" name="Rectangle 7"/>
          <p:cNvSpPr>
            <a:spLocks noChangeArrowheads="1"/>
          </p:cNvSpPr>
          <p:nvPr/>
        </p:nvSpPr>
        <p:spPr bwMode="gray">
          <a:xfrm>
            <a:off x="8432273" y="2793875"/>
            <a:ext cx="1008063" cy="963930"/>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chemeClr val="bg1"/>
                </a:solidFill>
              </a:rPr>
              <a:t>Text</a:t>
            </a:r>
          </a:p>
        </p:txBody>
      </p:sp>
      <p:sp>
        <p:nvSpPr>
          <p:cNvPr id="180" name="AutoShape 8"/>
          <p:cNvSpPr>
            <a:spLocks/>
          </p:cNvSpPr>
          <p:nvPr/>
        </p:nvSpPr>
        <p:spPr bwMode="gray">
          <a:xfrm>
            <a:off x="7065436" y="3776854"/>
            <a:ext cx="1520825" cy="1209676"/>
          </a:xfrm>
          <a:custGeom>
            <a:avLst/>
            <a:gdLst>
              <a:gd name="T0" fmla="*/ 1839 w 2317"/>
              <a:gd name="T1" fmla="*/ 43 h 1844"/>
              <a:gd name="T2" fmla="*/ 1934 w 2317"/>
              <a:gd name="T3" fmla="*/ 254 h 1844"/>
              <a:gd name="T4" fmla="*/ 1898 w 2317"/>
              <a:gd name="T5" fmla="*/ 556 h 1844"/>
              <a:gd name="T6" fmla="*/ 1917 w 2317"/>
              <a:gd name="T7" fmla="*/ 713 h 1844"/>
              <a:gd name="T8" fmla="*/ 2024 w 2317"/>
              <a:gd name="T9" fmla="*/ 705 h 1844"/>
              <a:gd name="T10" fmla="*/ 2171 w 2317"/>
              <a:gd name="T11" fmla="*/ 642 h 1844"/>
              <a:gd name="T12" fmla="*/ 2225 w 2317"/>
              <a:gd name="T13" fmla="*/ 663 h 1844"/>
              <a:gd name="T14" fmla="*/ 2260 w 2317"/>
              <a:gd name="T15" fmla="*/ 696 h 1844"/>
              <a:gd name="T16" fmla="*/ 2301 w 2317"/>
              <a:gd name="T17" fmla="*/ 786 h 1844"/>
              <a:gd name="T18" fmla="*/ 2310 w 2317"/>
              <a:gd name="T19" fmla="*/ 1020 h 1844"/>
              <a:gd name="T20" fmla="*/ 2256 w 2317"/>
              <a:gd name="T21" fmla="*/ 1155 h 1844"/>
              <a:gd name="T22" fmla="*/ 2163 w 2317"/>
              <a:gd name="T23" fmla="*/ 1220 h 1844"/>
              <a:gd name="T24" fmla="*/ 2026 w 2317"/>
              <a:gd name="T25" fmla="*/ 1184 h 1844"/>
              <a:gd name="T26" fmla="*/ 1951 w 2317"/>
              <a:gd name="T27" fmla="*/ 1158 h 1844"/>
              <a:gd name="T28" fmla="*/ 1903 w 2317"/>
              <a:gd name="T29" fmla="*/ 1245 h 1844"/>
              <a:gd name="T30" fmla="*/ 1908 w 2317"/>
              <a:gd name="T31" fmla="*/ 1490 h 1844"/>
              <a:gd name="T32" fmla="*/ 1982 w 2317"/>
              <a:gd name="T33" fmla="*/ 1757 h 1844"/>
              <a:gd name="T34" fmla="*/ 1678 w 2317"/>
              <a:gd name="T35" fmla="*/ 1833 h 1844"/>
              <a:gd name="T36" fmla="*/ 1465 w 2317"/>
              <a:gd name="T37" fmla="*/ 1831 h 1844"/>
              <a:gd name="T38" fmla="*/ 1482 w 2317"/>
              <a:gd name="T39" fmla="*/ 1693 h 1844"/>
              <a:gd name="T40" fmla="*/ 1460 w 2317"/>
              <a:gd name="T41" fmla="*/ 1532 h 1844"/>
              <a:gd name="T42" fmla="*/ 1423 w 2317"/>
              <a:gd name="T43" fmla="*/ 1494 h 1844"/>
              <a:gd name="T44" fmla="*/ 1415 w 2317"/>
              <a:gd name="T45" fmla="*/ 1487 h 1844"/>
              <a:gd name="T46" fmla="*/ 1402 w 2317"/>
              <a:gd name="T47" fmla="*/ 1477 h 1844"/>
              <a:gd name="T48" fmla="*/ 1342 w 2317"/>
              <a:gd name="T49" fmla="*/ 1449 h 1844"/>
              <a:gd name="T50" fmla="*/ 1115 w 2317"/>
              <a:gd name="T51" fmla="*/ 1425 h 1844"/>
              <a:gd name="T52" fmla="*/ 916 w 2317"/>
              <a:gd name="T53" fmla="*/ 1482 h 1844"/>
              <a:gd name="T54" fmla="*/ 854 w 2317"/>
              <a:gd name="T55" fmla="*/ 1549 h 1844"/>
              <a:gd name="T56" fmla="*/ 845 w 2317"/>
              <a:gd name="T57" fmla="*/ 1643 h 1844"/>
              <a:gd name="T58" fmla="*/ 890 w 2317"/>
              <a:gd name="T59" fmla="*/ 1741 h 1844"/>
              <a:gd name="T60" fmla="*/ 900 w 2317"/>
              <a:gd name="T61" fmla="*/ 1842 h 1844"/>
              <a:gd name="T62" fmla="*/ 661 w 2317"/>
              <a:gd name="T63" fmla="*/ 1835 h 1844"/>
              <a:gd name="T64" fmla="*/ 334 w 2317"/>
              <a:gd name="T65" fmla="*/ 1757 h 1844"/>
              <a:gd name="T66" fmla="*/ 416 w 2317"/>
              <a:gd name="T67" fmla="*/ 1380 h 1844"/>
              <a:gd name="T68" fmla="*/ 422 w 2317"/>
              <a:gd name="T69" fmla="*/ 1193 h 1844"/>
              <a:gd name="T70" fmla="*/ 367 w 2317"/>
              <a:gd name="T71" fmla="*/ 1122 h 1844"/>
              <a:gd name="T72" fmla="*/ 234 w 2317"/>
              <a:gd name="T73" fmla="*/ 1170 h 1844"/>
              <a:gd name="T74" fmla="*/ 99 w 2317"/>
              <a:gd name="T75" fmla="*/ 1189 h 1844"/>
              <a:gd name="T76" fmla="*/ 17 w 2317"/>
              <a:gd name="T77" fmla="*/ 1070 h 1844"/>
              <a:gd name="T78" fmla="*/ 9 w 2317"/>
              <a:gd name="T79" fmla="*/ 824 h 1844"/>
              <a:gd name="T80" fmla="*/ 59 w 2317"/>
              <a:gd name="T81" fmla="*/ 691 h 1844"/>
              <a:gd name="T82" fmla="*/ 152 w 2317"/>
              <a:gd name="T83" fmla="*/ 627 h 1844"/>
              <a:gd name="T84" fmla="*/ 312 w 2317"/>
              <a:gd name="T85" fmla="*/ 672 h 1844"/>
              <a:gd name="T86" fmla="*/ 393 w 2317"/>
              <a:gd name="T87" fmla="*/ 665 h 1844"/>
              <a:gd name="T88" fmla="*/ 419 w 2317"/>
              <a:gd name="T89" fmla="*/ 530 h 1844"/>
              <a:gd name="T90" fmla="*/ 395 w 2317"/>
              <a:gd name="T91" fmla="*/ 296 h 1844"/>
              <a:gd name="T92" fmla="*/ 455 w 2317"/>
              <a:gd name="T93" fmla="*/ 52 h 1844"/>
              <a:gd name="T94" fmla="*/ 736 w 2317"/>
              <a:gd name="T95" fmla="*/ 5 h 1844"/>
              <a:gd name="T96" fmla="*/ 880 w 2317"/>
              <a:gd name="T97" fmla="*/ 23 h 1844"/>
              <a:gd name="T98" fmla="*/ 845 w 2317"/>
              <a:gd name="T99" fmla="*/ 118 h 1844"/>
              <a:gd name="T100" fmla="*/ 836 w 2317"/>
              <a:gd name="T101" fmla="*/ 277 h 1844"/>
              <a:gd name="T102" fmla="*/ 923 w 2317"/>
              <a:gd name="T103" fmla="*/ 367 h 1844"/>
              <a:gd name="T104" fmla="*/ 1049 w 2317"/>
              <a:gd name="T105" fmla="*/ 414 h 1844"/>
              <a:gd name="T106" fmla="*/ 1319 w 2317"/>
              <a:gd name="T107" fmla="*/ 402 h 1844"/>
              <a:gd name="T108" fmla="*/ 1465 w 2317"/>
              <a:gd name="T109" fmla="*/ 294 h 1844"/>
              <a:gd name="T110" fmla="*/ 1437 w 2317"/>
              <a:gd name="T111" fmla="*/ 125 h 1844"/>
              <a:gd name="T112" fmla="*/ 1404 w 2317"/>
              <a:gd name="T113" fmla="*/ 5 h 18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17"/>
              <a:gd name="T172" fmla="*/ 0 h 1844"/>
              <a:gd name="T173" fmla="*/ 2317 w 2317"/>
              <a:gd name="T174" fmla="*/ 1844 h 18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17" h="1844">
                <a:moveTo>
                  <a:pt x="1506" y="0"/>
                </a:moveTo>
                <a:lnTo>
                  <a:pt x="1596" y="3"/>
                </a:lnTo>
                <a:lnTo>
                  <a:pt x="1681" y="14"/>
                </a:lnTo>
                <a:lnTo>
                  <a:pt x="1761" y="26"/>
                </a:lnTo>
                <a:lnTo>
                  <a:pt x="1839" y="43"/>
                </a:lnTo>
                <a:lnTo>
                  <a:pt x="1912" y="64"/>
                </a:lnTo>
                <a:lnTo>
                  <a:pt x="1982" y="87"/>
                </a:lnTo>
                <a:lnTo>
                  <a:pt x="1965" y="142"/>
                </a:lnTo>
                <a:lnTo>
                  <a:pt x="1950" y="197"/>
                </a:lnTo>
                <a:lnTo>
                  <a:pt x="1934" y="254"/>
                </a:lnTo>
                <a:lnTo>
                  <a:pt x="1920" y="317"/>
                </a:lnTo>
                <a:lnTo>
                  <a:pt x="1910" y="383"/>
                </a:lnTo>
                <a:lnTo>
                  <a:pt x="1905" y="435"/>
                </a:lnTo>
                <a:lnTo>
                  <a:pt x="1901" y="493"/>
                </a:lnTo>
                <a:lnTo>
                  <a:pt x="1898" y="556"/>
                </a:lnTo>
                <a:lnTo>
                  <a:pt x="1896" y="580"/>
                </a:lnTo>
                <a:lnTo>
                  <a:pt x="1896" y="660"/>
                </a:lnTo>
                <a:lnTo>
                  <a:pt x="1899" y="682"/>
                </a:lnTo>
                <a:lnTo>
                  <a:pt x="1906" y="701"/>
                </a:lnTo>
                <a:lnTo>
                  <a:pt x="1917" y="713"/>
                </a:lnTo>
                <a:lnTo>
                  <a:pt x="1934" y="720"/>
                </a:lnTo>
                <a:lnTo>
                  <a:pt x="1953" y="722"/>
                </a:lnTo>
                <a:lnTo>
                  <a:pt x="1974" y="720"/>
                </a:lnTo>
                <a:lnTo>
                  <a:pt x="1995" y="717"/>
                </a:lnTo>
                <a:lnTo>
                  <a:pt x="2024" y="705"/>
                </a:lnTo>
                <a:lnTo>
                  <a:pt x="2052" y="691"/>
                </a:lnTo>
                <a:lnTo>
                  <a:pt x="2100" y="663"/>
                </a:lnTo>
                <a:lnTo>
                  <a:pt x="2123" y="653"/>
                </a:lnTo>
                <a:lnTo>
                  <a:pt x="2147" y="644"/>
                </a:lnTo>
                <a:lnTo>
                  <a:pt x="2171" y="642"/>
                </a:lnTo>
                <a:lnTo>
                  <a:pt x="2195" y="646"/>
                </a:lnTo>
                <a:lnTo>
                  <a:pt x="2221" y="656"/>
                </a:lnTo>
                <a:lnTo>
                  <a:pt x="2223" y="658"/>
                </a:lnTo>
                <a:lnTo>
                  <a:pt x="2223" y="661"/>
                </a:lnTo>
                <a:lnTo>
                  <a:pt x="2225" y="663"/>
                </a:lnTo>
                <a:lnTo>
                  <a:pt x="2232" y="666"/>
                </a:lnTo>
                <a:lnTo>
                  <a:pt x="2239" y="672"/>
                </a:lnTo>
                <a:lnTo>
                  <a:pt x="2244" y="679"/>
                </a:lnTo>
                <a:lnTo>
                  <a:pt x="2251" y="686"/>
                </a:lnTo>
                <a:lnTo>
                  <a:pt x="2260" y="696"/>
                </a:lnTo>
                <a:lnTo>
                  <a:pt x="2266" y="705"/>
                </a:lnTo>
                <a:lnTo>
                  <a:pt x="2279" y="729"/>
                </a:lnTo>
                <a:lnTo>
                  <a:pt x="2285" y="744"/>
                </a:lnTo>
                <a:lnTo>
                  <a:pt x="2294" y="763"/>
                </a:lnTo>
                <a:lnTo>
                  <a:pt x="2301" y="786"/>
                </a:lnTo>
                <a:lnTo>
                  <a:pt x="2310" y="829"/>
                </a:lnTo>
                <a:lnTo>
                  <a:pt x="2315" y="874"/>
                </a:lnTo>
                <a:lnTo>
                  <a:pt x="2317" y="923"/>
                </a:lnTo>
                <a:lnTo>
                  <a:pt x="2315" y="973"/>
                </a:lnTo>
                <a:lnTo>
                  <a:pt x="2310" y="1020"/>
                </a:lnTo>
                <a:lnTo>
                  <a:pt x="2299" y="1065"/>
                </a:lnTo>
                <a:lnTo>
                  <a:pt x="2285" y="1106"/>
                </a:lnTo>
                <a:lnTo>
                  <a:pt x="2266" y="1143"/>
                </a:lnTo>
                <a:lnTo>
                  <a:pt x="2265" y="1146"/>
                </a:lnTo>
                <a:lnTo>
                  <a:pt x="2256" y="1155"/>
                </a:lnTo>
                <a:lnTo>
                  <a:pt x="2244" y="1170"/>
                </a:lnTo>
                <a:lnTo>
                  <a:pt x="2227" y="1188"/>
                </a:lnTo>
                <a:lnTo>
                  <a:pt x="2209" y="1203"/>
                </a:lnTo>
                <a:lnTo>
                  <a:pt x="2187" y="1213"/>
                </a:lnTo>
                <a:lnTo>
                  <a:pt x="2163" y="1220"/>
                </a:lnTo>
                <a:lnTo>
                  <a:pt x="2133" y="1219"/>
                </a:lnTo>
                <a:lnTo>
                  <a:pt x="2105" y="1213"/>
                </a:lnTo>
                <a:lnTo>
                  <a:pt x="2078" y="1203"/>
                </a:lnTo>
                <a:lnTo>
                  <a:pt x="2052" y="1193"/>
                </a:lnTo>
                <a:lnTo>
                  <a:pt x="2026" y="1184"/>
                </a:lnTo>
                <a:lnTo>
                  <a:pt x="2002" y="1174"/>
                </a:lnTo>
                <a:lnTo>
                  <a:pt x="1989" y="1167"/>
                </a:lnTo>
                <a:lnTo>
                  <a:pt x="1977" y="1162"/>
                </a:lnTo>
                <a:lnTo>
                  <a:pt x="1965" y="1158"/>
                </a:lnTo>
                <a:lnTo>
                  <a:pt x="1951" y="1158"/>
                </a:lnTo>
                <a:lnTo>
                  <a:pt x="1936" y="1165"/>
                </a:lnTo>
                <a:lnTo>
                  <a:pt x="1924" y="1179"/>
                </a:lnTo>
                <a:lnTo>
                  <a:pt x="1913" y="1196"/>
                </a:lnTo>
                <a:lnTo>
                  <a:pt x="1908" y="1219"/>
                </a:lnTo>
                <a:lnTo>
                  <a:pt x="1903" y="1245"/>
                </a:lnTo>
                <a:lnTo>
                  <a:pt x="1901" y="1271"/>
                </a:lnTo>
                <a:lnTo>
                  <a:pt x="1899" y="1326"/>
                </a:lnTo>
                <a:lnTo>
                  <a:pt x="1899" y="1381"/>
                </a:lnTo>
                <a:lnTo>
                  <a:pt x="1901" y="1432"/>
                </a:lnTo>
                <a:lnTo>
                  <a:pt x="1908" y="1490"/>
                </a:lnTo>
                <a:lnTo>
                  <a:pt x="1920" y="1546"/>
                </a:lnTo>
                <a:lnTo>
                  <a:pt x="1936" y="1600"/>
                </a:lnTo>
                <a:lnTo>
                  <a:pt x="1953" y="1651"/>
                </a:lnTo>
                <a:lnTo>
                  <a:pt x="1969" y="1703"/>
                </a:lnTo>
                <a:lnTo>
                  <a:pt x="1982" y="1757"/>
                </a:lnTo>
                <a:lnTo>
                  <a:pt x="1922" y="1773"/>
                </a:lnTo>
                <a:lnTo>
                  <a:pt x="1860" y="1792"/>
                </a:lnTo>
                <a:lnTo>
                  <a:pt x="1794" y="1811"/>
                </a:lnTo>
                <a:lnTo>
                  <a:pt x="1725" y="1826"/>
                </a:lnTo>
                <a:lnTo>
                  <a:pt x="1678" y="1833"/>
                </a:lnTo>
                <a:lnTo>
                  <a:pt x="1628" y="1837"/>
                </a:lnTo>
                <a:lnTo>
                  <a:pt x="1576" y="1838"/>
                </a:lnTo>
                <a:lnTo>
                  <a:pt x="1538" y="1838"/>
                </a:lnTo>
                <a:lnTo>
                  <a:pt x="1501" y="1837"/>
                </a:lnTo>
                <a:lnTo>
                  <a:pt x="1465" y="1831"/>
                </a:lnTo>
                <a:lnTo>
                  <a:pt x="1434" y="1819"/>
                </a:lnTo>
                <a:lnTo>
                  <a:pt x="1446" y="1785"/>
                </a:lnTo>
                <a:lnTo>
                  <a:pt x="1460" y="1754"/>
                </a:lnTo>
                <a:lnTo>
                  <a:pt x="1472" y="1722"/>
                </a:lnTo>
                <a:lnTo>
                  <a:pt x="1482" y="1693"/>
                </a:lnTo>
                <a:lnTo>
                  <a:pt x="1491" y="1660"/>
                </a:lnTo>
                <a:lnTo>
                  <a:pt x="1494" y="1627"/>
                </a:lnTo>
                <a:lnTo>
                  <a:pt x="1491" y="1593"/>
                </a:lnTo>
                <a:lnTo>
                  <a:pt x="1479" y="1561"/>
                </a:lnTo>
                <a:lnTo>
                  <a:pt x="1460" y="1532"/>
                </a:lnTo>
                <a:lnTo>
                  <a:pt x="1437" y="1508"/>
                </a:lnTo>
                <a:lnTo>
                  <a:pt x="1435" y="1506"/>
                </a:lnTo>
                <a:lnTo>
                  <a:pt x="1430" y="1496"/>
                </a:lnTo>
                <a:lnTo>
                  <a:pt x="1427" y="1496"/>
                </a:lnTo>
                <a:lnTo>
                  <a:pt x="1423" y="1494"/>
                </a:lnTo>
                <a:lnTo>
                  <a:pt x="1422" y="1494"/>
                </a:lnTo>
                <a:lnTo>
                  <a:pt x="1418" y="1492"/>
                </a:lnTo>
                <a:lnTo>
                  <a:pt x="1416" y="1490"/>
                </a:lnTo>
                <a:lnTo>
                  <a:pt x="1416" y="1489"/>
                </a:lnTo>
                <a:lnTo>
                  <a:pt x="1415" y="1487"/>
                </a:lnTo>
                <a:lnTo>
                  <a:pt x="1415" y="1485"/>
                </a:lnTo>
                <a:lnTo>
                  <a:pt x="1406" y="1485"/>
                </a:lnTo>
                <a:lnTo>
                  <a:pt x="1404" y="1484"/>
                </a:lnTo>
                <a:lnTo>
                  <a:pt x="1404" y="1478"/>
                </a:lnTo>
                <a:lnTo>
                  <a:pt x="1402" y="1477"/>
                </a:lnTo>
                <a:lnTo>
                  <a:pt x="1396" y="1477"/>
                </a:lnTo>
                <a:lnTo>
                  <a:pt x="1385" y="1470"/>
                </a:lnTo>
                <a:lnTo>
                  <a:pt x="1380" y="1464"/>
                </a:lnTo>
                <a:lnTo>
                  <a:pt x="1376" y="1463"/>
                </a:lnTo>
                <a:lnTo>
                  <a:pt x="1342" y="1449"/>
                </a:lnTo>
                <a:lnTo>
                  <a:pt x="1302" y="1439"/>
                </a:lnTo>
                <a:lnTo>
                  <a:pt x="1260" y="1430"/>
                </a:lnTo>
                <a:lnTo>
                  <a:pt x="1214" y="1425"/>
                </a:lnTo>
                <a:lnTo>
                  <a:pt x="1165" y="1423"/>
                </a:lnTo>
                <a:lnTo>
                  <a:pt x="1115" y="1425"/>
                </a:lnTo>
                <a:lnTo>
                  <a:pt x="1067" y="1430"/>
                </a:lnTo>
                <a:lnTo>
                  <a:pt x="1022" y="1437"/>
                </a:lnTo>
                <a:lnTo>
                  <a:pt x="980" y="1449"/>
                </a:lnTo>
                <a:lnTo>
                  <a:pt x="945" y="1463"/>
                </a:lnTo>
                <a:lnTo>
                  <a:pt x="916" y="1482"/>
                </a:lnTo>
                <a:lnTo>
                  <a:pt x="892" y="1501"/>
                </a:lnTo>
                <a:lnTo>
                  <a:pt x="869" y="1523"/>
                </a:lnTo>
                <a:lnTo>
                  <a:pt x="864" y="1530"/>
                </a:lnTo>
                <a:lnTo>
                  <a:pt x="859" y="1539"/>
                </a:lnTo>
                <a:lnTo>
                  <a:pt x="854" y="1549"/>
                </a:lnTo>
                <a:lnTo>
                  <a:pt x="850" y="1558"/>
                </a:lnTo>
                <a:lnTo>
                  <a:pt x="841" y="1586"/>
                </a:lnTo>
                <a:lnTo>
                  <a:pt x="838" y="1612"/>
                </a:lnTo>
                <a:lnTo>
                  <a:pt x="840" y="1629"/>
                </a:lnTo>
                <a:lnTo>
                  <a:pt x="845" y="1643"/>
                </a:lnTo>
                <a:lnTo>
                  <a:pt x="850" y="1655"/>
                </a:lnTo>
                <a:lnTo>
                  <a:pt x="857" y="1669"/>
                </a:lnTo>
                <a:lnTo>
                  <a:pt x="869" y="1696"/>
                </a:lnTo>
                <a:lnTo>
                  <a:pt x="880" y="1722"/>
                </a:lnTo>
                <a:lnTo>
                  <a:pt x="890" y="1741"/>
                </a:lnTo>
                <a:lnTo>
                  <a:pt x="902" y="1760"/>
                </a:lnTo>
                <a:lnTo>
                  <a:pt x="911" y="1783"/>
                </a:lnTo>
                <a:lnTo>
                  <a:pt x="918" y="1807"/>
                </a:lnTo>
                <a:lnTo>
                  <a:pt x="919" y="1835"/>
                </a:lnTo>
                <a:lnTo>
                  <a:pt x="900" y="1842"/>
                </a:lnTo>
                <a:lnTo>
                  <a:pt x="881" y="1844"/>
                </a:lnTo>
                <a:lnTo>
                  <a:pt x="861" y="1842"/>
                </a:lnTo>
                <a:lnTo>
                  <a:pt x="781" y="1842"/>
                </a:lnTo>
                <a:lnTo>
                  <a:pt x="720" y="1840"/>
                </a:lnTo>
                <a:lnTo>
                  <a:pt x="661" y="1835"/>
                </a:lnTo>
                <a:lnTo>
                  <a:pt x="604" y="1826"/>
                </a:lnTo>
                <a:lnTo>
                  <a:pt x="532" y="1812"/>
                </a:lnTo>
                <a:lnTo>
                  <a:pt x="462" y="1795"/>
                </a:lnTo>
                <a:lnTo>
                  <a:pt x="396" y="1776"/>
                </a:lnTo>
                <a:lnTo>
                  <a:pt x="334" y="1757"/>
                </a:lnTo>
                <a:lnTo>
                  <a:pt x="353" y="1695"/>
                </a:lnTo>
                <a:lnTo>
                  <a:pt x="384" y="1584"/>
                </a:lnTo>
                <a:lnTo>
                  <a:pt x="396" y="1527"/>
                </a:lnTo>
                <a:lnTo>
                  <a:pt x="407" y="1463"/>
                </a:lnTo>
                <a:lnTo>
                  <a:pt x="416" y="1380"/>
                </a:lnTo>
                <a:lnTo>
                  <a:pt x="419" y="1290"/>
                </a:lnTo>
                <a:lnTo>
                  <a:pt x="421" y="1265"/>
                </a:lnTo>
                <a:lnTo>
                  <a:pt x="421" y="1241"/>
                </a:lnTo>
                <a:lnTo>
                  <a:pt x="422" y="1217"/>
                </a:lnTo>
                <a:lnTo>
                  <a:pt x="422" y="1193"/>
                </a:lnTo>
                <a:lnTo>
                  <a:pt x="421" y="1170"/>
                </a:lnTo>
                <a:lnTo>
                  <a:pt x="416" y="1151"/>
                </a:lnTo>
                <a:lnTo>
                  <a:pt x="407" y="1137"/>
                </a:lnTo>
                <a:lnTo>
                  <a:pt x="393" y="1129"/>
                </a:lnTo>
                <a:lnTo>
                  <a:pt x="367" y="1122"/>
                </a:lnTo>
                <a:lnTo>
                  <a:pt x="341" y="1123"/>
                </a:lnTo>
                <a:lnTo>
                  <a:pt x="315" y="1130"/>
                </a:lnTo>
                <a:lnTo>
                  <a:pt x="287" y="1141"/>
                </a:lnTo>
                <a:lnTo>
                  <a:pt x="261" y="1155"/>
                </a:lnTo>
                <a:lnTo>
                  <a:pt x="234" y="1170"/>
                </a:lnTo>
                <a:lnTo>
                  <a:pt x="206" y="1188"/>
                </a:lnTo>
                <a:lnTo>
                  <a:pt x="177" y="1200"/>
                </a:lnTo>
                <a:lnTo>
                  <a:pt x="151" y="1205"/>
                </a:lnTo>
                <a:lnTo>
                  <a:pt x="125" y="1201"/>
                </a:lnTo>
                <a:lnTo>
                  <a:pt x="99" y="1189"/>
                </a:lnTo>
                <a:lnTo>
                  <a:pt x="78" y="1172"/>
                </a:lnTo>
                <a:lnTo>
                  <a:pt x="59" y="1151"/>
                </a:lnTo>
                <a:lnTo>
                  <a:pt x="43" y="1129"/>
                </a:lnTo>
                <a:lnTo>
                  <a:pt x="31" y="1108"/>
                </a:lnTo>
                <a:lnTo>
                  <a:pt x="17" y="1070"/>
                </a:lnTo>
                <a:lnTo>
                  <a:pt x="7" y="1025"/>
                </a:lnTo>
                <a:lnTo>
                  <a:pt x="2" y="976"/>
                </a:lnTo>
                <a:lnTo>
                  <a:pt x="0" y="924"/>
                </a:lnTo>
                <a:lnTo>
                  <a:pt x="2" y="874"/>
                </a:lnTo>
                <a:lnTo>
                  <a:pt x="9" y="824"/>
                </a:lnTo>
                <a:lnTo>
                  <a:pt x="17" y="779"/>
                </a:lnTo>
                <a:lnTo>
                  <a:pt x="31" y="739"/>
                </a:lnTo>
                <a:lnTo>
                  <a:pt x="40" y="720"/>
                </a:lnTo>
                <a:lnTo>
                  <a:pt x="48" y="705"/>
                </a:lnTo>
                <a:lnTo>
                  <a:pt x="59" y="691"/>
                </a:lnTo>
                <a:lnTo>
                  <a:pt x="73" y="675"/>
                </a:lnTo>
                <a:lnTo>
                  <a:pt x="90" y="658"/>
                </a:lnTo>
                <a:lnTo>
                  <a:pt x="107" y="644"/>
                </a:lnTo>
                <a:lnTo>
                  <a:pt x="128" y="634"/>
                </a:lnTo>
                <a:lnTo>
                  <a:pt x="152" y="627"/>
                </a:lnTo>
                <a:lnTo>
                  <a:pt x="180" y="627"/>
                </a:lnTo>
                <a:lnTo>
                  <a:pt x="211" y="632"/>
                </a:lnTo>
                <a:lnTo>
                  <a:pt x="248" y="644"/>
                </a:lnTo>
                <a:lnTo>
                  <a:pt x="280" y="656"/>
                </a:lnTo>
                <a:lnTo>
                  <a:pt x="312" y="672"/>
                </a:lnTo>
                <a:lnTo>
                  <a:pt x="331" y="679"/>
                </a:lnTo>
                <a:lnTo>
                  <a:pt x="348" y="686"/>
                </a:lnTo>
                <a:lnTo>
                  <a:pt x="365" y="686"/>
                </a:lnTo>
                <a:lnTo>
                  <a:pt x="381" y="679"/>
                </a:lnTo>
                <a:lnTo>
                  <a:pt x="393" y="665"/>
                </a:lnTo>
                <a:lnTo>
                  <a:pt x="403" y="646"/>
                </a:lnTo>
                <a:lnTo>
                  <a:pt x="410" y="621"/>
                </a:lnTo>
                <a:lnTo>
                  <a:pt x="416" y="592"/>
                </a:lnTo>
                <a:lnTo>
                  <a:pt x="417" y="563"/>
                </a:lnTo>
                <a:lnTo>
                  <a:pt x="419" y="530"/>
                </a:lnTo>
                <a:lnTo>
                  <a:pt x="419" y="467"/>
                </a:lnTo>
                <a:lnTo>
                  <a:pt x="417" y="438"/>
                </a:lnTo>
                <a:lnTo>
                  <a:pt x="416" y="414"/>
                </a:lnTo>
                <a:lnTo>
                  <a:pt x="409" y="353"/>
                </a:lnTo>
                <a:lnTo>
                  <a:pt x="395" y="296"/>
                </a:lnTo>
                <a:lnTo>
                  <a:pt x="379" y="242"/>
                </a:lnTo>
                <a:lnTo>
                  <a:pt x="348" y="139"/>
                </a:lnTo>
                <a:lnTo>
                  <a:pt x="334" y="87"/>
                </a:lnTo>
                <a:lnTo>
                  <a:pt x="393" y="69"/>
                </a:lnTo>
                <a:lnTo>
                  <a:pt x="455" y="52"/>
                </a:lnTo>
                <a:lnTo>
                  <a:pt x="521" y="31"/>
                </a:lnTo>
                <a:lnTo>
                  <a:pt x="589" y="16"/>
                </a:lnTo>
                <a:lnTo>
                  <a:pt x="658" y="7"/>
                </a:lnTo>
                <a:lnTo>
                  <a:pt x="696" y="5"/>
                </a:lnTo>
                <a:lnTo>
                  <a:pt x="736" y="5"/>
                </a:lnTo>
                <a:lnTo>
                  <a:pt x="776" y="7"/>
                </a:lnTo>
                <a:lnTo>
                  <a:pt x="803" y="7"/>
                </a:lnTo>
                <a:lnTo>
                  <a:pt x="829" y="9"/>
                </a:lnTo>
                <a:lnTo>
                  <a:pt x="855" y="14"/>
                </a:lnTo>
                <a:lnTo>
                  <a:pt x="880" y="23"/>
                </a:lnTo>
                <a:lnTo>
                  <a:pt x="881" y="35"/>
                </a:lnTo>
                <a:lnTo>
                  <a:pt x="878" y="47"/>
                </a:lnTo>
                <a:lnTo>
                  <a:pt x="864" y="68"/>
                </a:lnTo>
                <a:lnTo>
                  <a:pt x="854" y="94"/>
                </a:lnTo>
                <a:lnTo>
                  <a:pt x="845" y="118"/>
                </a:lnTo>
                <a:lnTo>
                  <a:pt x="835" y="149"/>
                </a:lnTo>
                <a:lnTo>
                  <a:pt x="826" y="184"/>
                </a:lnTo>
                <a:lnTo>
                  <a:pt x="822" y="218"/>
                </a:lnTo>
                <a:lnTo>
                  <a:pt x="826" y="253"/>
                </a:lnTo>
                <a:lnTo>
                  <a:pt x="836" y="277"/>
                </a:lnTo>
                <a:lnTo>
                  <a:pt x="864" y="322"/>
                </a:lnTo>
                <a:lnTo>
                  <a:pt x="876" y="334"/>
                </a:lnTo>
                <a:lnTo>
                  <a:pt x="893" y="348"/>
                </a:lnTo>
                <a:lnTo>
                  <a:pt x="911" y="360"/>
                </a:lnTo>
                <a:lnTo>
                  <a:pt x="923" y="367"/>
                </a:lnTo>
                <a:lnTo>
                  <a:pt x="937" y="376"/>
                </a:lnTo>
                <a:lnTo>
                  <a:pt x="954" y="383"/>
                </a:lnTo>
                <a:lnTo>
                  <a:pt x="980" y="398"/>
                </a:lnTo>
                <a:lnTo>
                  <a:pt x="1015" y="407"/>
                </a:lnTo>
                <a:lnTo>
                  <a:pt x="1049" y="414"/>
                </a:lnTo>
                <a:lnTo>
                  <a:pt x="1105" y="421"/>
                </a:lnTo>
                <a:lnTo>
                  <a:pt x="1162" y="424"/>
                </a:lnTo>
                <a:lnTo>
                  <a:pt x="1217" y="421"/>
                </a:lnTo>
                <a:lnTo>
                  <a:pt x="1271" y="414"/>
                </a:lnTo>
                <a:lnTo>
                  <a:pt x="1319" y="402"/>
                </a:lnTo>
                <a:lnTo>
                  <a:pt x="1364" y="384"/>
                </a:lnTo>
                <a:lnTo>
                  <a:pt x="1402" y="364"/>
                </a:lnTo>
                <a:lnTo>
                  <a:pt x="1427" y="345"/>
                </a:lnTo>
                <a:lnTo>
                  <a:pt x="1447" y="322"/>
                </a:lnTo>
                <a:lnTo>
                  <a:pt x="1465" y="294"/>
                </a:lnTo>
                <a:lnTo>
                  <a:pt x="1475" y="263"/>
                </a:lnTo>
                <a:lnTo>
                  <a:pt x="1479" y="232"/>
                </a:lnTo>
                <a:lnTo>
                  <a:pt x="1473" y="203"/>
                </a:lnTo>
                <a:lnTo>
                  <a:pt x="1465" y="177"/>
                </a:lnTo>
                <a:lnTo>
                  <a:pt x="1437" y="125"/>
                </a:lnTo>
                <a:lnTo>
                  <a:pt x="1427" y="106"/>
                </a:lnTo>
                <a:lnTo>
                  <a:pt x="1406" y="64"/>
                </a:lnTo>
                <a:lnTo>
                  <a:pt x="1401" y="38"/>
                </a:lnTo>
                <a:lnTo>
                  <a:pt x="1399" y="10"/>
                </a:lnTo>
                <a:lnTo>
                  <a:pt x="1404" y="5"/>
                </a:lnTo>
                <a:lnTo>
                  <a:pt x="1411" y="2"/>
                </a:lnTo>
                <a:lnTo>
                  <a:pt x="1506" y="0"/>
                </a:lnTo>
                <a:close/>
              </a:path>
            </a:pathLst>
          </a:custGeom>
          <a:solidFill>
            <a:schemeClr val="tx2"/>
          </a:solidFill>
          <a:ln w="12700">
            <a:solidFill>
              <a:schemeClr val="bg1"/>
            </a:solidFill>
            <a:round/>
            <a:headEnd/>
            <a:tailEnd/>
          </a:ln>
        </p:spPr>
        <p:txBody>
          <a:bodyPr anchor="ctr"/>
          <a:lstStyle/>
          <a:p>
            <a:endParaRPr lang="en-US"/>
          </a:p>
        </p:txBody>
      </p:sp>
      <p:sp>
        <p:nvSpPr>
          <p:cNvPr id="69641" name="Rectangle 9"/>
          <p:cNvSpPr>
            <a:spLocks noChangeArrowheads="1"/>
          </p:cNvSpPr>
          <p:nvPr/>
        </p:nvSpPr>
        <p:spPr bwMode="gray">
          <a:xfrm>
            <a:off x="7281334" y="3874010"/>
            <a:ext cx="1079500" cy="965834"/>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rgbClr val="FFFFFF"/>
                </a:solidFill>
              </a:rPr>
              <a:t>Text</a:t>
            </a:r>
          </a:p>
        </p:txBody>
      </p:sp>
      <p:sp>
        <p:nvSpPr>
          <p:cNvPr id="177" name="AutoShape 10"/>
          <p:cNvSpPr>
            <a:spLocks/>
          </p:cNvSpPr>
          <p:nvPr/>
        </p:nvSpPr>
        <p:spPr bwMode="gray">
          <a:xfrm>
            <a:off x="9446686" y="2506220"/>
            <a:ext cx="1209675" cy="1522094"/>
          </a:xfrm>
          <a:custGeom>
            <a:avLst/>
            <a:gdLst>
              <a:gd name="T0" fmla="*/ 1082 w 1843"/>
              <a:gd name="T1" fmla="*/ 26 h 2318"/>
              <a:gd name="T2" fmla="*/ 1212 w 1843"/>
              <a:gd name="T3" fmla="*/ 129 h 2318"/>
              <a:gd name="T4" fmla="*/ 1192 w 1843"/>
              <a:gd name="T5" fmla="*/ 271 h 2318"/>
              <a:gd name="T6" fmla="*/ 1178 w 1843"/>
              <a:gd name="T7" fmla="*/ 300 h 2318"/>
              <a:gd name="T8" fmla="*/ 1157 w 1843"/>
              <a:gd name="T9" fmla="*/ 359 h 2318"/>
              <a:gd name="T10" fmla="*/ 1169 w 1843"/>
              <a:gd name="T11" fmla="*/ 390 h 2318"/>
              <a:gd name="T12" fmla="*/ 1244 w 1843"/>
              <a:gd name="T13" fmla="*/ 416 h 2318"/>
              <a:gd name="T14" fmla="*/ 1491 w 1843"/>
              <a:gd name="T15" fmla="*/ 407 h 2318"/>
              <a:gd name="T16" fmla="*/ 1758 w 1843"/>
              <a:gd name="T17" fmla="*/ 335 h 2318"/>
              <a:gd name="T18" fmla="*/ 1834 w 1843"/>
              <a:gd name="T19" fmla="*/ 636 h 2318"/>
              <a:gd name="T20" fmla="*/ 1818 w 1843"/>
              <a:gd name="T21" fmla="*/ 885 h 2318"/>
              <a:gd name="T22" fmla="*/ 1656 w 1843"/>
              <a:gd name="T23" fmla="*/ 828 h 2318"/>
              <a:gd name="T24" fmla="*/ 1560 w 1843"/>
              <a:gd name="T25" fmla="*/ 840 h 2318"/>
              <a:gd name="T26" fmla="*/ 1541 w 1843"/>
              <a:gd name="T27" fmla="*/ 852 h 2318"/>
              <a:gd name="T28" fmla="*/ 1462 w 1843"/>
              <a:gd name="T29" fmla="*/ 947 h 2318"/>
              <a:gd name="T30" fmla="*/ 1441 w 1843"/>
              <a:gd name="T31" fmla="*/ 1011 h 2318"/>
              <a:gd name="T32" fmla="*/ 1422 w 1843"/>
              <a:gd name="T33" fmla="*/ 1122 h 2318"/>
              <a:gd name="T34" fmla="*/ 1444 w 1843"/>
              <a:gd name="T35" fmla="*/ 1333 h 2318"/>
              <a:gd name="T36" fmla="*/ 1474 w 1843"/>
              <a:gd name="T37" fmla="*/ 1394 h 2318"/>
              <a:gd name="T38" fmla="*/ 1493 w 1843"/>
              <a:gd name="T39" fmla="*/ 1422 h 2318"/>
              <a:gd name="T40" fmla="*/ 1538 w 1843"/>
              <a:gd name="T41" fmla="*/ 1456 h 2318"/>
              <a:gd name="T42" fmla="*/ 1595 w 1843"/>
              <a:gd name="T43" fmla="*/ 1479 h 2318"/>
              <a:gd name="T44" fmla="*/ 1714 w 1843"/>
              <a:gd name="T45" fmla="*/ 1441 h 2318"/>
              <a:gd name="T46" fmla="*/ 1834 w 1843"/>
              <a:gd name="T47" fmla="*/ 1399 h 2318"/>
              <a:gd name="T48" fmla="*/ 1836 w 1843"/>
              <a:gd name="T49" fmla="*/ 1640 h 2318"/>
              <a:gd name="T50" fmla="*/ 1772 w 1843"/>
              <a:gd name="T51" fmla="*/ 1934 h 2318"/>
              <a:gd name="T52" fmla="*/ 1659 w 1843"/>
              <a:gd name="T53" fmla="*/ 1957 h 2318"/>
              <a:gd name="T54" fmla="*/ 1415 w 1843"/>
              <a:gd name="T55" fmla="*/ 1905 h 2318"/>
              <a:gd name="T56" fmla="*/ 1143 w 1843"/>
              <a:gd name="T57" fmla="*/ 1908 h 2318"/>
              <a:gd name="T58" fmla="*/ 1128 w 1843"/>
              <a:gd name="T59" fmla="*/ 1991 h 2318"/>
              <a:gd name="T60" fmla="*/ 1195 w 1843"/>
              <a:gd name="T61" fmla="*/ 2133 h 2318"/>
              <a:gd name="T62" fmla="*/ 1171 w 1843"/>
              <a:gd name="T63" fmla="*/ 2242 h 2318"/>
              <a:gd name="T64" fmla="*/ 1006 w 1843"/>
              <a:gd name="T65" fmla="*/ 2313 h 2318"/>
              <a:gd name="T66" fmla="*/ 767 w 1843"/>
              <a:gd name="T67" fmla="*/ 2299 h 2318"/>
              <a:gd name="T68" fmla="*/ 669 w 1843"/>
              <a:gd name="T69" fmla="*/ 2244 h 2318"/>
              <a:gd name="T70" fmla="*/ 632 w 1843"/>
              <a:gd name="T71" fmla="*/ 2111 h 2318"/>
              <a:gd name="T72" fmla="*/ 677 w 1843"/>
              <a:gd name="T73" fmla="*/ 1991 h 2318"/>
              <a:gd name="T74" fmla="*/ 627 w 1843"/>
              <a:gd name="T75" fmla="*/ 1910 h 2318"/>
              <a:gd name="T76" fmla="*/ 430 w 1843"/>
              <a:gd name="T77" fmla="*/ 1905 h 2318"/>
              <a:gd name="T78" fmla="*/ 141 w 1843"/>
              <a:gd name="T79" fmla="*/ 1969 h 2318"/>
              <a:gd name="T80" fmla="*/ 14 w 1843"/>
              <a:gd name="T81" fmla="*/ 1726 h 2318"/>
              <a:gd name="T82" fmla="*/ 14 w 1843"/>
              <a:gd name="T83" fmla="*/ 1456 h 2318"/>
              <a:gd name="T84" fmla="*/ 153 w 1843"/>
              <a:gd name="T85" fmla="*/ 1486 h 2318"/>
              <a:gd name="T86" fmla="*/ 309 w 1843"/>
              <a:gd name="T87" fmla="*/ 1465 h 2318"/>
              <a:gd name="T88" fmla="*/ 357 w 1843"/>
              <a:gd name="T89" fmla="*/ 1410 h 2318"/>
              <a:gd name="T90" fmla="*/ 383 w 1843"/>
              <a:gd name="T91" fmla="*/ 1373 h 2318"/>
              <a:gd name="T92" fmla="*/ 419 w 1843"/>
              <a:gd name="T93" fmla="*/ 1216 h 2318"/>
              <a:gd name="T94" fmla="*/ 392 w 1843"/>
              <a:gd name="T95" fmla="*/ 966 h 2318"/>
              <a:gd name="T96" fmla="*/ 366 w 1843"/>
              <a:gd name="T97" fmla="*/ 927 h 2318"/>
              <a:gd name="T98" fmla="*/ 324 w 1843"/>
              <a:gd name="T99" fmla="*/ 875 h 2318"/>
              <a:gd name="T100" fmla="*/ 257 w 1843"/>
              <a:gd name="T101" fmla="*/ 842 h 2318"/>
              <a:gd name="T102" fmla="*/ 146 w 1843"/>
              <a:gd name="T103" fmla="*/ 871 h 2318"/>
              <a:gd name="T104" fmla="*/ 33 w 1843"/>
              <a:gd name="T105" fmla="*/ 920 h 2318"/>
              <a:gd name="T106" fmla="*/ 19 w 1843"/>
              <a:gd name="T107" fmla="*/ 601 h 2318"/>
              <a:gd name="T108" fmla="*/ 75 w 1843"/>
              <a:gd name="T109" fmla="*/ 367 h 2318"/>
              <a:gd name="T110" fmla="*/ 303 w 1843"/>
              <a:gd name="T111" fmla="*/ 395 h 2318"/>
              <a:gd name="T112" fmla="*/ 669 w 1843"/>
              <a:gd name="T113" fmla="*/ 421 h 2318"/>
              <a:gd name="T114" fmla="*/ 719 w 1843"/>
              <a:gd name="T115" fmla="*/ 352 h 2318"/>
              <a:gd name="T116" fmla="*/ 648 w 1843"/>
              <a:gd name="T117" fmla="*/ 189 h 2318"/>
              <a:gd name="T118" fmla="*/ 674 w 1843"/>
              <a:gd name="T119" fmla="*/ 78 h 2318"/>
              <a:gd name="T120" fmla="*/ 854 w 1843"/>
              <a:gd name="T121" fmla="*/ 6 h 231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43"/>
              <a:gd name="T184" fmla="*/ 0 h 2318"/>
              <a:gd name="T185" fmla="*/ 1843 w 1843"/>
              <a:gd name="T186" fmla="*/ 2318 h 231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43" h="2318">
                <a:moveTo>
                  <a:pt x="897" y="0"/>
                </a:moveTo>
                <a:lnTo>
                  <a:pt x="946" y="0"/>
                </a:lnTo>
                <a:lnTo>
                  <a:pt x="991" y="6"/>
                </a:lnTo>
                <a:lnTo>
                  <a:pt x="1037" y="14"/>
                </a:lnTo>
                <a:lnTo>
                  <a:pt x="1082" y="26"/>
                </a:lnTo>
                <a:lnTo>
                  <a:pt x="1124" y="44"/>
                </a:lnTo>
                <a:lnTo>
                  <a:pt x="1152" y="59"/>
                </a:lnTo>
                <a:lnTo>
                  <a:pt x="1178" y="80"/>
                </a:lnTo>
                <a:lnTo>
                  <a:pt x="1197" y="103"/>
                </a:lnTo>
                <a:lnTo>
                  <a:pt x="1212" y="129"/>
                </a:lnTo>
                <a:lnTo>
                  <a:pt x="1219" y="158"/>
                </a:lnTo>
                <a:lnTo>
                  <a:pt x="1218" y="186"/>
                </a:lnTo>
                <a:lnTo>
                  <a:pt x="1212" y="217"/>
                </a:lnTo>
                <a:lnTo>
                  <a:pt x="1202" y="245"/>
                </a:lnTo>
                <a:lnTo>
                  <a:pt x="1192" y="271"/>
                </a:lnTo>
                <a:lnTo>
                  <a:pt x="1190" y="276"/>
                </a:lnTo>
                <a:lnTo>
                  <a:pt x="1186" y="281"/>
                </a:lnTo>
                <a:lnTo>
                  <a:pt x="1185" y="288"/>
                </a:lnTo>
                <a:lnTo>
                  <a:pt x="1181" y="293"/>
                </a:lnTo>
                <a:lnTo>
                  <a:pt x="1178" y="300"/>
                </a:lnTo>
                <a:lnTo>
                  <a:pt x="1176" y="305"/>
                </a:lnTo>
                <a:lnTo>
                  <a:pt x="1173" y="319"/>
                </a:lnTo>
                <a:lnTo>
                  <a:pt x="1166" y="333"/>
                </a:lnTo>
                <a:lnTo>
                  <a:pt x="1160" y="347"/>
                </a:lnTo>
                <a:lnTo>
                  <a:pt x="1157" y="359"/>
                </a:lnTo>
                <a:lnTo>
                  <a:pt x="1157" y="374"/>
                </a:lnTo>
                <a:lnTo>
                  <a:pt x="1159" y="376"/>
                </a:lnTo>
                <a:lnTo>
                  <a:pt x="1160" y="381"/>
                </a:lnTo>
                <a:lnTo>
                  <a:pt x="1166" y="385"/>
                </a:lnTo>
                <a:lnTo>
                  <a:pt x="1169" y="390"/>
                </a:lnTo>
                <a:lnTo>
                  <a:pt x="1173" y="393"/>
                </a:lnTo>
                <a:lnTo>
                  <a:pt x="1178" y="397"/>
                </a:lnTo>
                <a:lnTo>
                  <a:pt x="1195" y="406"/>
                </a:lnTo>
                <a:lnTo>
                  <a:pt x="1219" y="412"/>
                </a:lnTo>
                <a:lnTo>
                  <a:pt x="1244" y="416"/>
                </a:lnTo>
                <a:lnTo>
                  <a:pt x="1269" y="418"/>
                </a:lnTo>
                <a:lnTo>
                  <a:pt x="1292" y="419"/>
                </a:lnTo>
                <a:lnTo>
                  <a:pt x="1363" y="421"/>
                </a:lnTo>
                <a:lnTo>
                  <a:pt x="1429" y="416"/>
                </a:lnTo>
                <a:lnTo>
                  <a:pt x="1491" y="407"/>
                </a:lnTo>
                <a:lnTo>
                  <a:pt x="1548" y="395"/>
                </a:lnTo>
                <a:lnTo>
                  <a:pt x="1602" y="381"/>
                </a:lnTo>
                <a:lnTo>
                  <a:pt x="1656" y="366"/>
                </a:lnTo>
                <a:lnTo>
                  <a:pt x="1706" y="350"/>
                </a:lnTo>
                <a:lnTo>
                  <a:pt x="1758" y="335"/>
                </a:lnTo>
                <a:lnTo>
                  <a:pt x="1773" y="393"/>
                </a:lnTo>
                <a:lnTo>
                  <a:pt x="1792" y="456"/>
                </a:lnTo>
                <a:lnTo>
                  <a:pt x="1811" y="522"/>
                </a:lnTo>
                <a:lnTo>
                  <a:pt x="1827" y="589"/>
                </a:lnTo>
                <a:lnTo>
                  <a:pt x="1834" y="636"/>
                </a:lnTo>
                <a:lnTo>
                  <a:pt x="1837" y="686"/>
                </a:lnTo>
                <a:lnTo>
                  <a:pt x="1837" y="804"/>
                </a:lnTo>
                <a:lnTo>
                  <a:pt x="1834" y="833"/>
                </a:lnTo>
                <a:lnTo>
                  <a:pt x="1829" y="861"/>
                </a:lnTo>
                <a:lnTo>
                  <a:pt x="1818" y="885"/>
                </a:lnTo>
                <a:lnTo>
                  <a:pt x="1789" y="876"/>
                </a:lnTo>
                <a:lnTo>
                  <a:pt x="1740" y="852"/>
                </a:lnTo>
                <a:lnTo>
                  <a:pt x="1714" y="842"/>
                </a:lnTo>
                <a:lnTo>
                  <a:pt x="1687" y="833"/>
                </a:lnTo>
                <a:lnTo>
                  <a:pt x="1656" y="828"/>
                </a:lnTo>
                <a:lnTo>
                  <a:pt x="1626" y="826"/>
                </a:lnTo>
                <a:lnTo>
                  <a:pt x="1597" y="828"/>
                </a:lnTo>
                <a:lnTo>
                  <a:pt x="1572" y="835"/>
                </a:lnTo>
                <a:lnTo>
                  <a:pt x="1566" y="838"/>
                </a:lnTo>
                <a:lnTo>
                  <a:pt x="1560" y="840"/>
                </a:lnTo>
                <a:lnTo>
                  <a:pt x="1555" y="845"/>
                </a:lnTo>
                <a:lnTo>
                  <a:pt x="1552" y="847"/>
                </a:lnTo>
                <a:lnTo>
                  <a:pt x="1550" y="850"/>
                </a:lnTo>
                <a:lnTo>
                  <a:pt x="1547" y="852"/>
                </a:lnTo>
                <a:lnTo>
                  <a:pt x="1541" y="852"/>
                </a:lnTo>
                <a:lnTo>
                  <a:pt x="1538" y="854"/>
                </a:lnTo>
                <a:lnTo>
                  <a:pt x="1508" y="878"/>
                </a:lnTo>
                <a:lnTo>
                  <a:pt x="1484" y="909"/>
                </a:lnTo>
                <a:lnTo>
                  <a:pt x="1465" y="942"/>
                </a:lnTo>
                <a:lnTo>
                  <a:pt x="1462" y="947"/>
                </a:lnTo>
                <a:lnTo>
                  <a:pt x="1460" y="951"/>
                </a:lnTo>
                <a:lnTo>
                  <a:pt x="1453" y="961"/>
                </a:lnTo>
                <a:lnTo>
                  <a:pt x="1448" y="984"/>
                </a:lnTo>
                <a:lnTo>
                  <a:pt x="1443" y="1008"/>
                </a:lnTo>
                <a:lnTo>
                  <a:pt x="1441" y="1011"/>
                </a:lnTo>
                <a:lnTo>
                  <a:pt x="1439" y="1017"/>
                </a:lnTo>
                <a:lnTo>
                  <a:pt x="1436" y="1022"/>
                </a:lnTo>
                <a:lnTo>
                  <a:pt x="1434" y="1027"/>
                </a:lnTo>
                <a:lnTo>
                  <a:pt x="1427" y="1072"/>
                </a:lnTo>
                <a:lnTo>
                  <a:pt x="1422" y="1122"/>
                </a:lnTo>
                <a:lnTo>
                  <a:pt x="1422" y="1174"/>
                </a:lnTo>
                <a:lnTo>
                  <a:pt x="1424" y="1226"/>
                </a:lnTo>
                <a:lnTo>
                  <a:pt x="1429" y="1273"/>
                </a:lnTo>
                <a:lnTo>
                  <a:pt x="1437" y="1314"/>
                </a:lnTo>
                <a:lnTo>
                  <a:pt x="1444" y="1333"/>
                </a:lnTo>
                <a:lnTo>
                  <a:pt x="1451" y="1354"/>
                </a:lnTo>
                <a:lnTo>
                  <a:pt x="1460" y="1375"/>
                </a:lnTo>
                <a:lnTo>
                  <a:pt x="1469" y="1390"/>
                </a:lnTo>
                <a:lnTo>
                  <a:pt x="1472" y="1392"/>
                </a:lnTo>
                <a:lnTo>
                  <a:pt x="1474" y="1394"/>
                </a:lnTo>
                <a:lnTo>
                  <a:pt x="1477" y="1396"/>
                </a:lnTo>
                <a:lnTo>
                  <a:pt x="1479" y="1399"/>
                </a:lnTo>
                <a:lnTo>
                  <a:pt x="1479" y="1404"/>
                </a:lnTo>
                <a:lnTo>
                  <a:pt x="1481" y="1406"/>
                </a:lnTo>
                <a:lnTo>
                  <a:pt x="1493" y="1422"/>
                </a:lnTo>
                <a:lnTo>
                  <a:pt x="1507" y="1437"/>
                </a:lnTo>
                <a:lnTo>
                  <a:pt x="1519" y="1449"/>
                </a:lnTo>
                <a:lnTo>
                  <a:pt x="1529" y="1453"/>
                </a:lnTo>
                <a:lnTo>
                  <a:pt x="1533" y="1455"/>
                </a:lnTo>
                <a:lnTo>
                  <a:pt x="1538" y="1456"/>
                </a:lnTo>
                <a:lnTo>
                  <a:pt x="1543" y="1460"/>
                </a:lnTo>
                <a:lnTo>
                  <a:pt x="1547" y="1461"/>
                </a:lnTo>
                <a:lnTo>
                  <a:pt x="1553" y="1468"/>
                </a:lnTo>
                <a:lnTo>
                  <a:pt x="1574" y="1475"/>
                </a:lnTo>
                <a:lnTo>
                  <a:pt x="1595" y="1479"/>
                </a:lnTo>
                <a:lnTo>
                  <a:pt x="1624" y="1479"/>
                </a:lnTo>
                <a:lnTo>
                  <a:pt x="1650" y="1474"/>
                </a:lnTo>
                <a:lnTo>
                  <a:pt x="1673" y="1463"/>
                </a:lnTo>
                <a:lnTo>
                  <a:pt x="1694" y="1453"/>
                </a:lnTo>
                <a:lnTo>
                  <a:pt x="1714" y="1441"/>
                </a:lnTo>
                <a:lnTo>
                  <a:pt x="1735" y="1430"/>
                </a:lnTo>
                <a:lnTo>
                  <a:pt x="1756" y="1418"/>
                </a:lnTo>
                <a:lnTo>
                  <a:pt x="1779" y="1410"/>
                </a:lnTo>
                <a:lnTo>
                  <a:pt x="1805" y="1403"/>
                </a:lnTo>
                <a:lnTo>
                  <a:pt x="1834" y="1399"/>
                </a:lnTo>
                <a:lnTo>
                  <a:pt x="1841" y="1423"/>
                </a:lnTo>
                <a:lnTo>
                  <a:pt x="1843" y="1449"/>
                </a:lnTo>
                <a:lnTo>
                  <a:pt x="1841" y="1475"/>
                </a:lnTo>
                <a:lnTo>
                  <a:pt x="1841" y="1560"/>
                </a:lnTo>
                <a:lnTo>
                  <a:pt x="1836" y="1640"/>
                </a:lnTo>
                <a:lnTo>
                  <a:pt x="1825" y="1716"/>
                </a:lnTo>
                <a:lnTo>
                  <a:pt x="1811" y="1787"/>
                </a:lnTo>
                <a:lnTo>
                  <a:pt x="1794" y="1854"/>
                </a:lnTo>
                <a:lnTo>
                  <a:pt x="1777" y="1917"/>
                </a:lnTo>
                <a:lnTo>
                  <a:pt x="1772" y="1934"/>
                </a:lnTo>
                <a:lnTo>
                  <a:pt x="1768" y="1951"/>
                </a:lnTo>
                <a:lnTo>
                  <a:pt x="1761" y="1969"/>
                </a:lnTo>
                <a:lnTo>
                  <a:pt x="1753" y="1982"/>
                </a:lnTo>
                <a:lnTo>
                  <a:pt x="1706" y="1967"/>
                </a:lnTo>
                <a:lnTo>
                  <a:pt x="1659" y="1957"/>
                </a:lnTo>
                <a:lnTo>
                  <a:pt x="1611" y="1944"/>
                </a:lnTo>
                <a:lnTo>
                  <a:pt x="1564" y="1932"/>
                </a:lnTo>
                <a:lnTo>
                  <a:pt x="1515" y="1918"/>
                </a:lnTo>
                <a:lnTo>
                  <a:pt x="1465" y="1910"/>
                </a:lnTo>
                <a:lnTo>
                  <a:pt x="1415" y="1905"/>
                </a:lnTo>
                <a:lnTo>
                  <a:pt x="1360" y="1899"/>
                </a:lnTo>
                <a:lnTo>
                  <a:pt x="1295" y="1898"/>
                </a:lnTo>
                <a:lnTo>
                  <a:pt x="1186" y="1898"/>
                </a:lnTo>
                <a:lnTo>
                  <a:pt x="1162" y="1901"/>
                </a:lnTo>
                <a:lnTo>
                  <a:pt x="1143" y="1908"/>
                </a:lnTo>
                <a:lnTo>
                  <a:pt x="1131" y="1917"/>
                </a:lnTo>
                <a:lnTo>
                  <a:pt x="1124" y="1932"/>
                </a:lnTo>
                <a:lnTo>
                  <a:pt x="1122" y="1951"/>
                </a:lnTo>
                <a:lnTo>
                  <a:pt x="1124" y="1970"/>
                </a:lnTo>
                <a:lnTo>
                  <a:pt x="1128" y="1991"/>
                </a:lnTo>
                <a:lnTo>
                  <a:pt x="1138" y="2022"/>
                </a:lnTo>
                <a:lnTo>
                  <a:pt x="1153" y="2052"/>
                </a:lnTo>
                <a:lnTo>
                  <a:pt x="1162" y="2069"/>
                </a:lnTo>
                <a:lnTo>
                  <a:pt x="1174" y="2088"/>
                </a:lnTo>
                <a:lnTo>
                  <a:pt x="1195" y="2133"/>
                </a:lnTo>
                <a:lnTo>
                  <a:pt x="1202" y="2156"/>
                </a:lnTo>
                <a:lnTo>
                  <a:pt x="1204" y="2175"/>
                </a:lnTo>
                <a:lnTo>
                  <a:pt x="1199" y="2199"/>
                </a:lnTo>
                <a:lnTo>
                  <a:pt x="1188" y="2221"/>
                </a:lnTo>
                <a:lnTo>
                  <a:pt x="1171" y="2242"/>
                </a:lnTo>
                <a:lnTo>
                  <a:pt x="1152" y="2261"/>
                </a:lnTo>
                <a:lnTo>
                  <a:pt x="1131" y="2275"/>
                </a:lnTo>
                <a:lnTo>
                  <a:pt x="1095" y="2292"/>
                </a:lnTo>
                <a:lnTo>
                  <a:pt x="1053" y="2304"/>
                </a:lnTo>
                <a:lnTo>
                  <a:pt x="1006" y="2313"/>
                </a:lnTo>
                <a:lnTo>
                  <a:pt x="956" y="2318"/>
                </a:lnTo>
                <a:lnTo>
                  <a:pt x="906" y="2318"/>
                </a:lnTo>
                <a:lnTo>
                  <a:pt x="857" y="2315"/>
                </a:lnTo>
                <a:lnTo>
                  <a:pt x="809" y="2310"/>
                </a:lnTo>
                <a:lnTo>
                  <a:pt x="767" y="2299"/>
                </a:lnTo>
                <a:lnTo>
                  <a:pt x="731" y="2285"/>
                </a:lnTo>
                <a:lnTo>
                  <a:pt x="717" y="2279"/>
                </a:lnTo>
                <a:lnTo>
                  <a:pt x="700" y="2268"/>
                </a:lnTo>
                <a:lnTo>
                  <a:pt x="683" y="2256"/>
                </a:lnTo>
                <a:lnTo>
                  <a:pt x="669" y="2244"/>
                </a:lnTo>
                <a:lnTo>
                  <a:pt x="648" y="2220"/>
                </a:lnTo>
                <a:lnTo>
                  <a:pt x="639" y="2206"/>
                </a:lnTo>
                <a:lnTo>
                  <a:pt x="629" y="2175"/>
                </a:lnTo>
                <a:lnTo>
                  <a:pt x="627" y="2142"/>
                </a:lnTo>
                <a:lnTo>
                  <a:pt x="632" y="2111"/>
                </a:lnTo>
                <a:lnTo>
                  <a:pt x="641" y="2079"/>
                </a:lnTo>
                <a:lnTo>
                  <a:pt x="651" y="2052"/>
                </a:lnTo>
                <a:lnTo>
                  <a:pt x="660" y="2031"/>
                </a:lnTo>
                <a:lnTo>
                  <a:pt x="669" y="2012"/>
                </a:lnTo>
                <a:lnTo>
                  <a:pt x="677" y="1991"/>
                </a:lnTo>
                <a:lnTo>
                  <a:pt x="684" y="1969"/>
                </a:lnTo>
                <a:lnTo>
                  <a:pt x="686" y="1944"/>
                </a:lnTo>
                <a:lnTo>
                  <a:pt x="670" y="1929"/>
                </a:lnTo>
                <a:lnTo>
                  <a:pt x="650" y="1917"/>
                </a:lnTo>
                <a:lnTo>
                  <a:pt x="627" y="1910"/>
                </a:lnTo>
                <a:lnTo>
                  <a:pt x="601" y="1906"/>
                </a:lnTo>
                <a:lnTo>
                  <a:pt x="575" y="1905"/>
                </a:lnTo>
                <a:lnTo>
                  <a:pt x="547" y="1903"/>
                </a:lnTo>
                <a:lnTo>
                  <a:pt x="489" y="1901"/>
                </a:lnTo>
                <a:lnTo>
                  <a:pt x="430" y="1905"/>
                </a:lnTo>
                <a:lnTo>
                  <a:pt x="374" y="1910"/>
                </a:lnTo>
                <a:lnTo>
                  <a:pt x="312" y="1920"/>
                </a:lnTo>
                <a:lnTo>
                  <a:pt x="251" y="1936"/>
                </a:lnTo>
                <a:lnTo>
                  <a:pt x="194" y="1953"/>
                </a:lnTo>
                <a:lnTo>
                  <a:pt x="141" y="1969"/>
                </a:lnTo>
                <a:lnTo>
                  <a:pt x="87" y="1982"/>
                </a:lnTo>
                <a:lnTo>
                  <a:pt x="71" y="1924"/>
                </a:lnTo>
                <a:lnTo>
                  <a:pt x="51" y="1861"/>
                </a:lnTo>
                <a:lnTo>
                  <a:pt x="32" y="1796"/>
                </a:lnTo>
                <a:lnTo>
                  <a:pt x="14" y="1726"/>
                </a:lnTo>
                <a:lnTo>
                  <a:pt x="6" y="1657"/>
                </a:lnTo>
                <a:lnTo>
                  <a:pt x="4" y="1598"/>
                </a:lnTo>
                <a:lnTo>
                  <a:pt x="6" y="1538"/>
                </a:lnTo>
                <a:lnTo>
                  <a:pt x="9" y="1482"/>
                </a:lnTo>
                <a:lnTo>
                  <a:pt x="14" y="1456"/>
                </a:lnTo>
                <a:lnTo>
                  <a:pt x="25" y="1434"/>
                </a:lnTo>
                <a:lnTo>
                  <a:pt x="57" y="1446"/>
                </a:lnTo>
                <a:lnTo>
                  <a:pt x="89" y="1461"/>
                </a:lnTo>
                <a:lnTo>
                  <a:pt x="120" y="1474"/>
                </a:lnTo>
                <a:lnTo>
                  <a:pt x="153" y="1486"/>
                </a:lnTo>
                <a:lnTo>
                  <a:pt x="184" y="1494"/>
                </a:lnTo>
                <a:lnTo>
                  <a:pt x="219" y="1496"/>
                </a:lnTo>
                <a:lnTo>
                  <a:pt x="255" y="1491"/>
                </a:lnTo>
                <a:lnTo>
                  <a:pt x="283" y="1480"/>
                </a:lnTo>
                <a:lnTo>
                  <a:pt x="309" y="1465"/>
                </a:lnTo>
                <a:lnTo>
                  <a:pt x="333" y="1446"/>
                </a:lnTo>
                <a:lnTo>
                  <a:pt x="352" y="1425"/>
                </a:lnTo>
                <a:lnTo>
                  <a:pt x="355" y="1418"/>
                </a:lnTo>
                <a:lnTo>
                  <a:pt x="355" y="1415"/>
                </a:lnTo>
                <a:lnTo>
                  <a:pt x="357" y="1410"/>
                </a:lnTo>
                <a:lnTo>
                  <a:pt x="359" y="1406"/>
                </a:lnTo>
                <a:lnTo>
                  <a:pt x="362" y="1401"/>
                </a:lnTo>
                <a:lnTo>
                  <a:pt x="367" y="1397"/>
                </a:lnTo>
                <a:lnTo>
                  <a:pt x="374" y="1390"/>
                </a:lnTo>
                <a:lnTo>
                  <a:pt x="383" y="1373"/>
                </a:lnTo>
                <a:lnTo>
                  <a:pt x="390" y="1352"/>
                </a:lnTo>
                <a:lnTo>
                  <a:pt x="399" y="1333"/>
                </a:lnTo>
                <a:lnTo>
                  <a:pt x="406" y="1314"/>
                </a:lnTo>
                <a:lnTo>
                  <a:pt x="414" y="1268"/>
                </a:lnTo>
                <a:lnTo>
                  <a:pt x="419" y="1216"/>
                </a:lnTo>
                <a:lnTo>
                  <a:pt x="421" y="1159"/>
                </a:lnTo>
                <a:lnTo>
                  <a:pt x="419" y="1103"/>
                </a:lnTo>
                <a:lnTo>
                  <a:pt x="414" y="1053"/>
                </a:lnTo>
                <a:lnTo>
                  <a:pt x="406" y="1008"/>
                </a:lnTo>
                <a:lnTo>
                  <a:pt x="392" y="966"/>
                </a:lnTo>
                <a:lnTo>
                  <a:pt x="383" y="946"/>
                </a:lnTo>
                <a:lnTo>
                  <a:pt x="374" y="930"/>
                </a:lnTo>
                <a:lnTo>
                  <a:pt x="373" y="928"/>
                </a:lnTo>
                <a:lnTo>
                  <a:pt x="367" y="928"/>
                </a:lnTo>
                <a:lnTo>
                  <a:pt x="366" y="927"/>
                </a:lnTo>
                <a:lnTo>
                  <a:pt x="364" y="923"/>
                </a:lnTo>
                <a:lnTo>
                  <a:pt x="364" y="918"/>
                </a:lnTo>
                <a:lnTo>
                  <a:pt x="362" y="914"/>
                </a:lnTo>
                <a:lnTo>
                  <a:pt x="343" y="894"/>
                </a:lnTo>
                <a:lnTo>
                  <a:pt x="324" y="875"/>
                </a:lnTo>
                <a:lnTo>
                  <a:pt x="302" y="861"/>
                </a:lnTo>
                <a:lnTo>
                  <a:pt x="296" y="857"/>
                </a:lnTo>
                <a:lnTo>
                  <a:pt x="291" y="856"/>
                </a:lnTo>
                <a:lnTo>
                  <a:pt x="288" y="852"/>
                </a:lnTo>
                <a:lnTo>
                  <a:pt x="257" y="842"/>
                </a:lnTo>
                <a:lnTo>
                  <a:pt x="234" y="840"/>
                </a:lnTo>
                <a:lnTo>
                  <a:pt x="215" y="843"/>
                </a:lnTo>
                <a:lnTo>
                  <a:pt x="196" y="849"/>
                </a:lnTo>
                <a:lnTo>
                  <a:pt x="175" y="857"/>
                </a:lnTo>
                <a:lnTo>
                  <a:pt x="146" y="871"/>
                </a:lnTo>
                <a:lnTo>
                  <a:pt x="120" y="885"/>
                </a:lnTo>
                <a:lnTo>
                  <a:pt x="101" y="895"/>
                </a:lnTo>
                <a:lnTo>
                  <a:pt x="80" y="906"/>
                </a:lnTo>
                <a:lnTo>
                  <a:pt x="57" y="914"/>
                </a:lnTo>
                <a:lnTo>
                  <a:pt x="33" y="920"/>
                </a:lnTo>
                <a:lnTo>
                  <a:pt x="6" y="920"/>
                </a:lnTo>
                <a:lnTo>
                  <a:pt x="0" y="835"/>
                </a:lnTo>
                <a:lnTo>
                  <a:pt x="2" y="753"/>
                </a:lnTo>
                <a:lnTo>
                  <a:pt x="7" y="676"/>
                </a:lnTo>
                <a:lnTo>
                  <a:pt x="19" y="601"/>
                </a:lnTo>
                <a:lnTo>
                  <a:pt x="33" y="530"/>
                </a:lnTo>
                <a:lnTo>
                  <a:pt x="49" y="463"/>
                </a:lnTo>
                <a:lnTo>
                  <a:pt x="66" y="400"/>
                </a:lnTo>
                <a:lnTo>
                  <a:pt x="71" y="385"/>
                </a:lnTo>
                <a:lnTo>
                  <a:pt x="75" y="367"/>
                </a:lnTo>
                <a:lnTo>
                  <a:pt x="82" y="354"/>
                </a:lnTo>
                <a:lnTo>
                  <a:pt x="90" y="340"/>
                </a:lnTo>
                <a:lnTo>
                  <a:pt x="158" y="359"/>
                </a:lnTo>
                <a:lnTo>
                  <a:pt x="229" y="378"/>
                </a:lnTo>
                <a:lnTo>
                  <a:pt x="303" y="395"/>
                </a:lnTo>
                <a:lnTo>
                  <a:pt x="383" y="409"/>
                </a:lnTo>
                <a:lnTo>
                  <a:pt x="464" y="419"/>
                </a:lnTo>
                <a:lnTo>
                  <a:pt x="551" y="425"/>
                </a:lnTo>
                <a:lnTo>
                  <a:pt x="639" y="423"/>
                </a:lnTo>
                <a:lnTo>
                  <a:pt x="669" y="421"/>
                </a:lnTo>
                <a:lnTo>
                  <a:pt x="691" y="416"/>
                </a:lnTo>
                <a:lnTo>
                  <a:pt x="705" y="406"/>
                </a:lnTo>
                <a:lnTo>
                  <a:pt x="715" y="388"/>
                </a:lnTo>
                <a:lnTo>
                  <a:pt x="719" y="371"/>
                </a:lnTo>
                <a:lnTo>
                  <a:pt x="719" y="352"/>
                </a:lnTo>
                <a:lnTo>
                  <a:pt x="715" y="331"/>
                </a:lnTo>
                <a:lnTo>
                  <a:pt x="705" y="298"/>
                </a:lnTo>
                <a:lnTo>
                  <a:pt x="674" y="239"/>
                </a:lnTo>
                <a:lnTo>
                  <a:pt x="658" y="212"/>
                </a:lnTo>
                <a:lnTo>
                  <a:pt x="648" y="189"/>
                </a:lnTo>
                <a:lnTo>
                  <a:pt x="641" y="167"/>
                </a:lnTo>
                <a:lnTo>
                  <a:pt x="639" y="142"/>
                </a:lnTo>
                <a:lnTo>
                  <a:pt x="644" y="120"/>
                </a:lnTo>
                <a:lnTo>
                  <a:pt x="658" y="97"/>
                </a:lnTo>
                <a:lnTo>
                  <a:pt x="674" y="78"/>
                </a:lnTo>
                <a:lnTo>
                  <a:pt x="702" y="54"/>
                </a:lnTo>
                <a:lnTo>
                  <a:pt x="734" y="35"/>
                </a:lnTo>
                <a:lnTo>
                  <a:pt x="773" y="21"/>
                </a:lnTo>
                <a:lnTo>
                  <a:pt x="812" y="13"/>
                </a:lnTo>
                <a:lnTo>
                  <a:pt x="854" y="6"/>
                </a:lnTo>
                <a:lnTo>
                  <a:pt x="897" y="0"/>
                </a:lnTo>
                <a:close/>
              </a:path>
            </a:pathLst>
          </a:custGeom>
          <a:solidFill>
            <a:schemeClr val="tx1"/>
          </a:solidFill>
          <a:ln w="12700">
            <a:solidFill>
              <a:schemeClr val="bg1"/>
            </a:solidFill>
            <a:round/>
            <a:headEnd/>
            <a:tailEnd/>
          </a:ln>
        </p:spPr>
        <p:txBody>
          <a:bodyPr anchor="ctr"/>
          <a:lstStyle/>
          <a:p>
            <a:endParaRPr lang="en-US"/>
          </a:p>
        </p:txBody>
      </p:sp>
      <p:sp>
        <p:nvSpPr>
          <p:cNvPr id="69643" name="Rectangle 11"/>
          <p:cNvSpPr>
            <a:spLocks noChangeArrowheads="1"/>
          </p:cNvSpPr>
          <p:nvPr/>
        </p:nvSpPr>
        <p:spPr bwMode="gray">
          <a:xfrm>
            <a:off x="9656234" y="2793875"/>
            <a:ext cx="762000" cy="963930"/>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rgbClr val="FFFFFF"/>
                </a:solidFill>
              </a:rPr>
              <a:t>Text</a:t>
            </a:r>
          </a:p>
        </p:txBody>
      </p:sp>
      <p:sp>
        <p:nvSpPr>
          <p:cNvPr id="181" name="AutoShape 12"/>
          <p:cNvSpPr>
            <a:spLocks/>
          </p:cNvSpPr>
          <p:nvPr/>
        </p:nvSpPr>
        <p:spPr bwMode="gray">
          <a:xfrm>
            <a:off x="9286347" y="3776854"/>
            <a:ext cx="1522413" cy="1209676"/>
          </a:xfrm>
          <a:custGeom>
            <a:avLst/>
            <a:gdLst>
              <a:gd name="T0" fmla="*/ 1839 w 2317"/>
              <a:gd name="T1" fmla="*/ 43 h 1844"/>
              <a:gd name="T2" fmla="*/ 1934 w 2317"/>
              <a:gd name="T3" fmla="*/ 254 h 1844"/>
              <a:gd name="T4" fmla="*/ 1899 w 2317"/>
              <a:gd name="T5" fmla="*/ 556 h 1844"/>
              <a:gd name="T6" fmla="*/ 1908 w 2317"/>
              <a:gd name="T7" fmla="*/ 701 h 1844"/>
              <a:gd name="T8" fmla="*/ 1995 w 2317"/>
              <a:gd name="T9" fmla="*/ 717 h 1844"/>
              <a:gd name="T10" fmla="*/ 2147 w 2317"/>
              <a:gd name="T11" fmla="*/ 644 h 1844"/>
              <a:gd name="T12" fmla="*/ 2223 w 2317"/>
              <a:gd name="T13" fmla="*/ 661 h 1844"/>
              <a:gd name="T14" fmla="*/ 2266 w 2317"/>
              <a:gd name="T15" fmla="*/ 705 h 1844"/>
              <a:gd name="T16" fmla="*/ 2317 w 2317"/>
              <a:gd name="T17" fmla="*/ 923 h 1844"/>
              <a:gd name="T18" fmla="*/ 2268 w 2317"/>
              <a:gd name="T19" fmla="*/ 1143 h 1844"/>
              <a:gd name="T20" fmla="*/ 2244 w 2317"/>
              <a:gd name="T21" fmla="*/ 1170 h 1844"/>
              <a:gd name="T22" fmla="*/ 2135 w 2317"/>
              <a:gd name="T23" fmla="*/ 1219 h 1844"/>
              <a:gd name="T24" fmla="*/ 2001 w 2317"/>
              <a:gd name="T25" fmla="*/ 1174 h 1844"/>
              <a:gd name="T26" fmla="*/ 1936 w 2317"/>
              <a:gd name="T27" fmla="*/ 1165 h 1844"/>
              <a:gd name="T28" fmla="*/ 1903 w 2317"/>
              <a:gd name="T29" fmla="*/ 1271 h 1844"/>
              <a:gd name="T30" fmla="*/ 1922 w 2317"/>
              <a:gd name="T31" fmla="*/ 1546 h 1844"/>
              <a:gd name="T32" fmla="*/ 1860 w 2317"/>
              <a:gd name="T33" fmla="*/ 1792 h 1844"/>
              <a:gd name="T34" fmla="*/ 1576 w 2317"/>
              <a:gd name="T35" fmla="*/ 1838 h 1844"/>
              <a:gd name="T36" fmla="*/ 1446 w 2317"/>
              <a:gd name="T37" fmla="*/ 1785 h 1844"/>
              <a:gd name="T38" fmla="*/ 1496 w 2317"/>
              <a:gd name="T39" fmla="*/ 1627 h 1844"/>
              <a:gd name="T40" fmla="*/ 1430 w 2317"/>
              <a:gd name="T41" fmla="*/ 1496 h 1844"/>
              <a:gd name="T42" fmla="*/ 1418 w 2317"/>
              <a:gd name="T43" fmla="*/ 1490 h 1844"/>
              <a:gd name="T44" fmla="*/ 1406 w 2317"/>
              <a:gd name="T45" fmla="*/ 1482 h 1844"/>
              <a:gd name="T46" fmla="*/ 1382 w 2317"/>
              <a:gd name="T47" fmla="*/ 1464 h 1844"/>
              <a:gd name="T48" fmla="*/ 1215 w 2317"/>
              <a:gd name="T49" fmla="*/ 1425 h 1844"/>
              <a:gd name="T50" fmla="*/ 982 w 2317"/>
              <a:gd name="T51" fmla="*/ 1449 h 1844"/>
              <a:gd name="T52" fmla="*/ 866 w 2317"/>
              <a:gd name="T53" fmla="*/ 1530 h 1844"/>
              <a:gd name="T54" fmla="*/ 838 w 2317"/>
              <a:gd name="T55" fmla="*/ 1612 h 1844"/>
              <a:gd name="T56" fmla="*/ 881 w 2317"/>
              <a:gd name="T57" fmla="*/ 1722 h 1844"/>
              <a:gd name="T58" fmla="*/ 902 w 2317"/>
              <a:gd name="T59" fmla="*/ 1842 h 1844"/>
              <a:gd name="T60" fmla="*/ 661 w 2317"/>
              <a:gd name="T61" fmla="*/ 1835 h 1844"/>
              <a:gd name="T62" fmla="*/ 336 w 2317"/>
              <a:gd name="T63" fmla="*/ 1757 h 1844"/>
              <a:gd name="T64" fmla="*/ 409 w 2317"/>
              <a:gd name="T65" fmla="*/ 1463 h 1844"/>
              <a:gd name="T66" fmla="*/ 421 w 2317"/>
              <a:gd name="T67" fmla="*/ 1170 h 1844"/>
              <a:gd name="T68" fmla="*/ 343 w 2317"/>
              <a:gd name="T69" fmla="*/ 1123 h 1844"/>
              <a:gd name="T70" fmla="*/ 206 w 2317"/>
              <a:gd name="T71" fmla="*/ 1188 h 1844"/>
              <a:gd name="T72" fmla="*/ 78 w 2317"/>
              <a:gd name="T73" fmla="*/ 1172 h 1844"/>
              <a:gd name="T74" fmla="*/ 9 w 2317"/>
              <a:gd name="T75" fmla="*/ 1025 h 1844"/>
              <a:gd name="T76" fmla="*/ 17 w 2317"/>
              <a:gd name="T77" fmla="*/ 779 h 1844"/>
              <a:gd name="T78" fmla="*/ 74 w 2317"/>
              <a:gd name="T79" fmla="*/ 675 h 1844"/>
              <a:gd name="T80" fmla="*/ 182 w 2317"/>
              <a:gd name="T81" fmla="*/ 627 h 1844"/>
              <a:gd name="T82" fmla="*/ 331 w 2317"/>
              <a:gd name="T83" fmla="*/ 679 h 1844"/>
              <a:gd name="T84" fmla="*/ 403 w 2317"/>
              <a:gd name="T85" fmla="*/ 646 h 1844"/>
              <a:gd name="T86" fmla="*/ 419 w 2317"/>
              <a:gd name="T87" fmla="*/ 467 h 1844"/>
              <a:gd name="T88" fmla="*/ 381 w 2317"/>
              <a:gd name="T89" fmla="*/ 242 h 1844"/>
              <a:gd name="T90" fmla="*/ 521 w 2317"/>
              <a:gd name="T91" fmla="*/ 31 h 1844"/>
              <a:gd name="T92" fmla="*/ 803 w 2317"/>
              <a:gd name="T93" fmla="*/ 7 h 1844"/>
              <a:gd name="T94" fmla="*/ 878 w 2317"/>
              <a:gd name="T95" fmla="*/ 47 h 1844"/>
              <a:gd name="T96" fmla="*/ 836 w 2317"/>
              <a:gd name="T97" fmla="*/ 149 h 1844"/>
              <a:gd name="T98" fmla="*/ 850 w 2317"/>
              <a:gd name="T99" fmla="*/ 299 h 1844"/>
              <a:gd name="T100" fmla="*/ 923 w 2317"/>
              <a:gd name="T101" fmla="*/ 367 h 1844"/>
              <a:gd name="T102" fmla="*/ 1049 w 2317"/>
              <a:gd name="T103" fmla="*/ 414 h 1844"/>
              <a:gd name="T104" fmla="*/ 1319 w 2317"/>
              <a:gd name="T105" fmla="*/ 402 h 1844"/>
              <a:gd name="T106" fmla="*/ 1465 w 2317"/>
              <a:gd name="T107" fmla="*/ 294 h 1844"/>
              <a:gd name="T108" fmla="*/ 1437 w 2317"/>
              <a:gd name="T109" fmla="*/ 125 h 1844"/>
              <a:gd name="T110" fmla="*/ 1399 w 2317"/>
              <a:gd name="T111" fmla="*/ 10 h 184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17"/>
              <a:gd name="T169" fmla="*/ 0 h 1844"/>
              <a:gd name="T170" fmla="*/ 2317 w 2317"/>
              <a:gd name="T171" fmla="*/ 1844 h 184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17" h="1844">
                <a:moveTo>
                  <a:pt x="1506" y="0"/>
                </a:moveTo>
                <a:lnTo>
                  <a:pt x="1596" y="3"/>
                </a:lnTo>
                <a:lnTo>
                  <a:pt x="1681" y="14"/>
                </a:lnTo>
                <a:lnTo>
                  <a:pt x="1761" y="26"/>
                </a:lnTo>
                <a:lnTo>
                  <a:pt x="1839" y="43"/>
                </a:lnTo>
                <a:lnTo>
                  <a:pt x="1911" y="64"/>
                </a:lnTo>
                <a:lnTo>
                  <a:pt x="1982" y="87"/>
                </a:lnTo>
                <a:lnTo>
                  <a:pt x="1965" y="142"/>
                </a:lnTo>
                <a:lnTo>
                  <a:pt x="1950" y="197"/>
                </a:lnTo>
                <a:lnTo>
                  <a:pt x="1934" y="254"/>
                </a:lnTo>
                <a:lnTo>
                  <a:pt x="1922" y="317"/>
                </a:lnTo>
                <a:lnTo>
                  <a:pt x="1910" y="383"/>
                </a:lnTo>
                <a:lnTo>
                  <a:pt x="1905" y="435"/>
                </a:lnTo>
                <a:lnTo>
                  <a:pt x="1901" y="493"/>
                </a:lnTo>
                <a:lnTo>
                  <a:pt x="1899" y="556"/>
                </a:lnTo>
                <a:lnTo>
                  <a:pt x="1898" y="580"/>
                </a:lnTo>
                <a:lnTo>
                  <a:pt x="1896" y="608"/>
                </a:lnTo>
                <a:lnTo>
                  <a:pt x="1896" y="660"/>
                </a:lnTo>
                <a:lnTo>
                  <a:pt x="1901" y="682"/>
                </a:lnTo>
                <a:lnTo>
                  <a:pt x="1908" y="701"/>
                </a:lnTo>
                <a:lnTo>
                  <a:pt x="1918" y="713"/>
                </a:lnTo>
                <a:lnTo>
                  <a:pt x="1936" y="720"/>
                </a:lnTo>
                <a:lnTo>
                  <a:pt x="1955" y="722"/>
                </a:lnTo>
                <a:lnTo>
                  <a:pt x="1976" y="720"/>
                </a:lnTo>
                <a:lnTo>
                  <a:pt x="1995" y="717"/>
                </a:lnTo>
                <a:lnTo>
                  <a:pt x="2026" y="705"/>
                </a:lnTo>
                <a:lnTo>
                  <a:pt x="2052" y="691"/>
                </a:lnTo>
                <a:lnTo>
                  <a:pt x="2100" y="663"/>
                </a:lnTo>
                <a:lnTo>
                  <a:pt x="2124" y="653"/>
                </a:lnTo>
                <a:lnTo>
                  <a:pt x="2147" y="644"/>
                </a:lnTo>
                <a:lnTo>
                  <a:pt x="2171" y="642"/>
                </a:lnTo>
                <a:lnTo>
                  <a:pt x="2195" y="646"/>
                </a:lnTo>
                <a:lnTo>
                  <a:pt x="2221" y="656"/>
                </a:lnTo>
                <a:lnTo>
                  <a:pt x="2223" y="658"/>
                </a:lnTo>
                <a:lnTo>
                  <a:pt x="2223" y="661"/>
                </a:lnTo>
                <a:lnTo>
                  <a:pt x="2225" y="663"/>
                </a:lnTo>
                <a:lnTo>
                  <a:pt x="2239" y="672"/>
                </a:lnTo>
                <a:lnTo>
                  <a:pt x="2253" y="686"/>
                </a:lnTo>
                <a:lnTo>
                  <a:pt x="2261" y="696"/>
                </a:lnTo>
                <a:lnTo>
                  <a:pt x="2266" y="705"/>
                </a:lnTo>
                <a:lnTo>
                  <a:pt x="2291" y="753"/>
                </a:lnTo>
                <a:lnTo>
                  <a:pt x="2303" y="786"/>
                </a:lnTo>
                <a:lnTo>
                  <a:pt x="2311" y="829"/>
                </a:lnTo>
                <a:lnTo>
                  <a:pt x="2317" y="874"/>
                </a:lnTo>
                <a:lnTo>
                  <a:pt x="2317" y="923"/>
                </a:lnTo>
                <a:lnTo>
                  <a:pt x="2315" y="973"/>
                </a:lnTo>
                <a:lnTo>
                  <a:pt x="2310" y="1020"/>
                </a:lnTo>
                <a:lnTo>
                  <a:pt x="2299" y="1065"/>
                </a:lnTo>
                <a:lnTo>
                  <a:pt x="2285" y="1106"/>
                </a:lnTo>
                <a:lnTo>
                  <a:pt x="2268" y="1143"/>
                </a:lnTo>
                <a:lnTo>
                  <a:pt x="2265" y="1146"/>
                </a:lnTo>
                <a:lnTo>
                  <a:pt x="2263" y="1149"/>
                </a:lnTo>
                <a:lnTo>
                  <a:pt x="2259" y="1151"/>
                </a:lnTo>
                <a:lnTo>
                  <a:pt x="2256" y="1155"/>
                </a:lnTo>
                <a:lnTo>
                  <a:pt x="2244" y="1170"/>
                </a:lnTo>
                <a:lnTo>
                  <a:pt x="2228" y="1188"/>
                </a:lnTo>
                <a:lnTo>
                  <a:pt x="2209" y="1203"/>
                </a:lnTo>
                <a:lnTo>
                  <a:pt x="2188" y="1213"/>
                </a:lnTo>
                <a:lnTo>
                  <a:pt x="2164" y="1220"/>
                </a:lnTo>
                <a:lnTo>
                  <a:pt x="2135" y="1219"/>
                </a:lnTo>
                <a:lnTo>
                  <a:pt x="2105" y="1213"/>
                </a:lnTo>
                <a:lnTo>
                  <a:pt x="2078" y="1203"/>
                </a:lnTo>
                <a:lnTo>
                  <a:pt x="2052" y="1193"/>
                </a:lnTo>
                <a:lnTo>
                  <a:pt x="2027" y="1184"/>
                </a:lnTo>
                <a:lnTo>
                  <a:pt x="2001" y="1174"/>
                </a:lnTo>
                <a:lnTo>
                  <a:pt x="1989" y="1167"/>
                </a:lnTo>
                <a:lnTo>
                  <a:pt x="1977" y="1162"/>
                </a:lnTo>
                <a:lnTo>
                  <a:pt x="1965" y="1158"/>
                </a:lnTo>
                <a:lnTo>
                  <a:pt x="1953" y="1158"/>
                </a:lnTo>
                <a:lnTo>
                  <a:pt x="1936" y="1165"/>
                </a:lnTo>
                <a:lnTo>
                  <a:pt x="1924" y="1179"/>
                </a:lnTo>
                <a:lnTo>
                  <a:pt x="1915" y="1196"/>
                </a:lnTo>
                <a:lnTo>
                  <a:pt x="1908" y="1219"/>
                </a:lnTo>
                <a:lnTo>
                  <a:pt x="1905" y="1245"/>
                </a:lnTo>
                <a:lnTo>
                  <a:pt x="1903" y="1271"/>
                </a:lnTo>
                <a:lnTo>
                  <a:pt x="1901" y="1326"/>
                </a:lnTo>
                <a:lnTo>
                  <a:pt x="1901" y="1381"/>
                </a:lnTo>
                <a:lnTo>
                  <a:pt x="1903" y="1432"/>
                </a:lnTo>
                <a:lnTo>
                  <a:pt x="1910" y="1490"/>
                </a:lnTo>
                <a:lnTo>
                  <a:pt x="1922" y="1546"/>
                </a:lnTo>
                <a:lnTo>
                  <a:pt x="1937" y="1600"/>
                </a:lnTo>
                <a:lnTo>
                  <a:pt x="1969" y="1703"/>
                </a:lnTo>
                <a:lnTo>
                  <a:pt x="1982" y="1757"/>
                </a:lnTo>
                <a:lnTo>
                  <a:pt x="1922" y="1773"/>
                </a:lnTo>
                <a:lnTo>
                  <a:pt x="1860" y="1792"/>
                </a:lnTo>
                <a:lnTo>
                  <a:pt x="1795" y="1811"/>
                </a:lnTo>
                <a:lnTo>
                  <a:pt x="1726" y="1826"/>
                </a:lnTo>
                <a:lnTo>
                  <a:pt x="1679" y="1833"/>
                </a:lnTo>
                <a:lnTo>
                  <a:pt x="1629" y="1837"/>
                </a:lnTo>
                <a:lnTo>
                  <a:pt x="1576" y="1838"/>
                </a:lnTo>
                <a:lnTo>
                  <a:pt x="1539" y="1838"/>
                </a:lnTo>
                <a:lnTo>
                  <a:pt x="1501" y="1837"/>
                </a:lnTo>
                <a:lnTo>
                  <a:pt x="1466" y="1831"/>
                </a:lnTo>
                <a:lnTo>
                  <a:pt x="1434" y="1819"/>
                </a:lnTo>
                <a:lnTo>
                  <a:pt x="1446" y="1785"/>
                </a:lnTo>
                <a:lnTo>
                  <a:pt x="1460" y="1754"/>
                </a:lnTo>
                <a:lnTo>
                  <a:pt x="1472" y="1722"/>
                </a:lnTo>
                <a:lnTo>
                  <a:pt x="1484" y="1693"/>
                </a:lnTo>
                <a:lnTo>
                  <a:pt x="1492" y="1660"/>
                </a:lnTo>
                <a:lnTo>
                  <a:pt x="1496" y="1627"/>
                </a:lnTo>
                <a:lnTo>
                  <a:pt x="1491" y="1593"/>
                </a:lnTo>
                <a:lnTo>
                  <a:pt x="1480" y="1561"/>
                </a:lnTo>
                <a:lnTo>
                  <a:pt x="1461" y="1532"/>
                </a:lnTo>
                <a:lnTo>
                  <a:pt x="1435" y="1506"/>
                </a:lnTo>
                <a:lnTo>
                  <a:pt x="1430" y="1496"/>
                </a:lnTo>
                <a:lnTo>
                  <a:pt x="1427" y="1496"/>
                </a:lnTo>
                <a:lnTo>
                  <a:pt x="1425" y="1494"/>
                </a:lnTo>
                <a:lnTo>
                  <a:pt x="1421" y="1494"/>
                </a:lnTo>
                <a:lnTo>
                  <a:pt x="1418" y="1492"/>
                </a:lnTo>
                <a:lnTo>
                  <a:pt x="1418" y="1490"/>
                </a:lnTo>
                <a:lnTo>
                  <a:pt x="1416" y="1489"/>
                </a:lnTo>
                <a:lnTo>
                  <a:pt x="1416" y="1487"/>
                </a:lnTo>
                <a:lnTo>
                  <a:pt x="1415" y="1485"/>
                </a:lnTo>
                <a:lnTo>
                  <a:pt x="1408" y="1485"/>
                </a:lnTo>
                <a:lnTo>
                  <a:pt x="1406" y="1482"/>
                </a:lnTo>
                <a:lnTo>
                  <a:pt x="1404" y="1480"/>
                </a:lnTo>
                <a:lnTo>
                  <a:pt x="1402" y="1477"/>
                </a:lnTo>
                <a:lnTo>
                  <a:pt x="1395" y="1477"/>
                </a:lnTo>
                <a:lnTo>
                  <a:pt x="1390" y="1473"/>
                </a:lnTo>
                <a:lnTo>
                  <a:pt x="1382" y="1464"/>
                </a:lnTo>
                <a:lnTo>
                  <a:pt x="1376" y="1463"/>
                </a:lnTo>
                <a:lnTo>
                  <a:pt x="1342" y="1449"/>
                </a:lnTo>
                <a:lnTo>
                  <a:pt x="1304" y="1439"/>
                </a:lnTo>
                <a:lnTo>
                  <a:pt x="1262" y="1430"/>
                </a:lnTo>
                <a:lnTo>
                  <a:pt x="1215" y="1425"/>
                </a:lnTo>
                <a:lnTo>
                  <a:pt x="1167" y="1423"/>
                </a:lnTo>
                <a:lnTo>
                  <a:pt x="1117" y="1425"/>
                </a:lnTo>
                <a:lnTo>
                  <a:pt x="1068" y="1430"/>
                </a:lnTo>
                <a:lnTo>
                  <a:pt x="1023" y="1437"/>
                </a:lnTo>
                <a:lnTo>
                  <a:pt x="982" y="1449"/>
                </a:lnTo>
                <a:lnTo>
                  <a:pt x="945" y="1463"/>
                </a:lnTo>
                <a:lnTo>
                  <a:pt x="916" y="1482"/>
                </a:lnTo>
                <a:lnTo>
                  <a:pt x="892" y="1501"/>
                </a:lnTo>
                <a:lnTo>
                  <a:pt x="869" y="1523"/>
                </a:lnTo>
                <a:lnTo>
                  <a:pt x="866" y="1530"/>
                </a:lnTo>
                <a:lnTo>
                  <a:pt x="860" y="1539"/>
                </a:lnTo>
                <a:lnTo>
                  <a:pt x="854" y="1549"/>
                </a:lnTo>
                <a:lnTo>
                  <a:pt x="850" y="1558"/>
                </a:lnTo>
                <a:lnTo>
                  <a:pt x="841" y="1586"/>
                </a:lnTo>
                <a:lnTo>
                  <a:pt x="838" y="1612"/>
                </a:lnTo>
                <a:lnTo>
                  <a:pt x="841" y="1632"/>
                </a:lnTo>
                <a:lnTo>
                  <a:pt x="848" y="1651"/>
                </a:lnTo>
                <a:lnTo>
                  <a:pt x="857" y="1669"/>
                </a:lnTo>
                <a:lnTo>
                  <a:pt x="869" y="1696"/>
                </a:lnTo>
                <a:lnTo>
                  <a:pt x="881" y="1722"/>
                </a:lnTo>
                <a:lnTo>
                  <a:pt x="902" y="1760"/>
                </a:lnTo>
                <a:lnTo>
                  <a:pt x="912" y="1783"/>
                </a:lnTo>
                <a:lnTo>
                  <a:pt x="918" y="1807"/>
                </a:lnTo>
                <a:lnTo>
                  <a:pt x="919" y="1835"/>
                </a:lnTo>
                <a:lnTo>
                  <a:pt x="902" y="1842"/>
                </a:lnTo>
                <a:lnTo>
                  <a:pt x="881" y="1844"/>
                </a:lnTo>
                <a:lnTo>
                  <a:pt x="862" y="1842"/>
                </a:lnTo>
                <a:lnTo>
                  <a:pt x="781" y="1842"/>
                </a:lnTo>
                <a:lnTo>
                  <a:pt x="720" y="1840"/>
                </a:lnTo>
                <a:lnTo>
                  <a:pt x="661" y="1835"/>
                </a:lnTo>
                <a:lnTo>
                  <a:pt x="604" y="1826"/>
                </a:lnTo>
                <a:lnTo>
                  <a:pt x="533" y="1812"/>
                </a:lnTo>
                <a:lnTo>
                  <a:pt x="464" y="1795"/>
                </a:lnTo>
                <a:lnTo>
                  <a:pt x="398" y="1776"/>
                </a:lnTo>
                <a:lnTo>
                  <a:pt x="336" y="1757"/>
                </a:lnTo>
                <a:lnTo>
                  <a:pt x="353" y="1695"/>
                </a:lnTo>
                <a:lnTo>
                  <a:pt x="370" y="1639"/>
                </a:lnTo>
                <a:lnTo>
                  <a:pt x="386" y="1584"/>
                </a:lnTo>
                <a:lnTo>
                  <a:pt x="398" y="1527"/>
                </a:lnTo>
                <a:lnTo>
                  <a:pt x="409" y="1463"/>
                </a:lnTo>
                <a:lnTo>
                  <a:pt x="415" y="1380"/>
                </a:lnTo>
                <a:lnTo>
                  <a:pt x="419" y="1290"/>
                </a:lnTo>
                <a:lnTo>
                  <a:pt x="422" y="1241"/>
                </a:lnTo>
                <a:lnTo>
                  <a:pt x="422" y="1193"/>
                </a:lnTo>
                <a:lnTo>
                  <a:pt x="421" y="1170"/>
                </a:lnTo>
                <a:lnTo>
                  <a:pt x="415" y="1151"/>
                </a:lnTo>
                <a:lnTo>
                  <a:pt x="407" y="1137"/>
                </a:lnTo>
                <a:lnTo>
                  <a:pt x="393" y="1129"/>
                </a:lnTo>
                <a:lnTo>
                  <a:pt x="369" y="1122"/>
                </a:lnTo>
                <a:lnTo>
                  <a:pt x="343" y="1123"/>
                </a:lnTo>
                <a:lnTo>
                  <a:pt x="317" y="1130"/>
                </a:lnTo>
                <a:lnTo>
                  <a:pt x="289" y="1141"/>
                </a:lnTo>
                <a:lnTo>
                  <a:pt x="263" y="1155"/>
                </a:lnTo>
                <a:lnTo>
                  <a:pt x="234" y="1170"/>
                </a:lnTo>
                <a:lnTo>
                  <a:pt x="206" y="1188"/>
                </a:lnTo>
                <a:lnTo>
                  <a:pt x="178" y="1200"/>
                </a:lnTo>
                <a:lnTo>
                  <a:pt x="151" y="1205"/>
                </a:lnTo>
                <a:lnTo>
                  <a:pt x="125" y="1201"/>
                </a:lnTo>
                <a:lnTo>
                  <a:pt x="100" y="1189"/>
                </a:lnTo>
                <a:lnTo>
                  <a:pt x="78" y="1172"/>
                </a:lnTo>
                <a:lnTo>
                  <a:pt x="59" y="1151"/>
                </a:lnTo>
                <a:lnTo>
                  <a:pt x="43" y="1129"/>
                </a:lnTo>
                <a:lnTo>
                  <a:pt x="31" y="1108"/>
                </a:lnTo>
                <a:lnTo>
                  <a:pt x="17" y="1070"/>
                </a:lnTo>
                <a:lnTo>
                  <a:pt x="9" y="1025"/>
                </a:lnTo>
                <a:lnTo>
                  <a:pt x="2" y="976"/>
                </a:lnTo>
                <a:lnTo>
                  <a:pt x="0" y="924"/>
                </a:lnTo>
                <a:lnTo>
                  <a:pt x="3" y="874"/>
                </a:lnTo>
                <a:lnTo>
                  <a:pt x="9" y="824"/>
                </a:lnTo>
                <a:lnTo>
                  <a:pt x="17" y="779"/>
                </a:lnTo>
                <a:lnTo>
                  <a:pt x="31" y="739"/>
                </a:lnTo>
                <a:lnTo>
                  <a:pt x="40" y="720"/>
                </a:lnTo>
                <a:lnTo>
                  <a:pt x="50" y="705"/>
                </a:lnTo>
                <a:lnTo>
                  <a:pt x="61" y="691"/>
                </a:lnTo>
                <a:lnTo>
                  <a:pt x="74" y="675"/>
                </a:lnTo>
                <a:lnTo>
                  <a:pt x="92" y="658"/>
                </a:lnTo>
                <a:lnTo>
                  <a:pt x="109" y="644"/>
                </a:lnTo>
                <a:lnTo>
                  <a:pt x="130" y="634"/>
                </a:lnTo>
                <a:lnTo>
                  <a:pt x="154" y="627"/>
                </a:lnTo>
                <a:lnTo>
                  <a:pt x="182" y="627"/>
                </a:lnTo>
                <a:lnTo>
                  <a:pt x="213" y="632"/>
                </a:lnTo>
                <a:lnTo>
                  <a:pt x="248" y="644"/>
                </a:lnTo>
                <a:lnTo>
                  <a:pt x="280" y="656"/>
                </a:lnTo>
                <a:lnTo>
                  <a:pt x="312" y="672"/>
                </a:lnTo>
                <a:lnTo>
                  <a:pt x="331" y="679"/>
                </a:lnTo>
                <a:lnTo>
                  <a:pt x="348" y="686"/>
                </a:lnTo>
                <a:lnTo>
                  <a:pt x="365" y="686"/>
                </a:lnTo>
                <a:lnTo>
                  <a:pt x="381" y="679"/>
                </a:lnTo>
                <a:lnTo>
                  <a:pt x="393" y="665"/>
                </a:lnTo>
                <a:lnTo>
                  <a:pt x="403" y="646"/>
                </a:lnTo>
                <a:lnTo>
                  <a:pt x="410" y="621"/>
                </a:lnTo>
                <a:lnTo>
                  <a:pt x="415" y="592"/>
                </a:lnTo>
                <a:lnTo>
                  <a:pt x="417" y="563"/>
                </a:lnTo>
                <a:lnTo>
                  <a:pt x="419" y="530"/>
                </a:lnTo>
                <a:lnTo>
                  <a:pt x="419" y="467"/>
                </a:lnTo>
                <a:lnTo>
                  <a:pt x="417" y="438"/>
                </a:lnTo>
                <a:lnTo>
                  <a:pt x="415" y="414"/>
                </a:lnTo>
                <a:lnTo>
                  <a:pt x="409" y="353"/>
                </a:lnTo>
                <a:lnTo>
                  <a:pt x="396" y="296"/>
                </a:lnTo>
                <a:lnTo>
                  <a:pt x="381" y="242"/>
                </a:lnTo>
                <a:lnTo>
                  <a:pt x="350" y="139"/>
                </a:lnTo>
                <a:lnTo>
                  <a:pt x="336" y="87"/>
                </a:lnTo>
                <a:lnTo>
                  <a:pt x="395" y="69"/>
                </a:lnTo>
                <a:lnTo>
                  <a:pt x="457" y="52"/>
                </a:lnTo>
                <a:lnTo>
                  <a:pt x="521" y="31"/>
                </a:lnTo>
                <a:lnTo>
                  <a:pt x="589" y="16"/>
                </a:lnTo>
                <a:lnTo>
                  <a:pt x="658" y="7"/>
                </a:lnTo>
                <a:lnTo>
                  <a:pt x="717" y="5"/>
                </a:lnTo>
                <a:lnTo>
                  <a:pt x="777" y="7"/>
                </a:lnTo>
                <a:lnTo>
                  <a:pt x="803" y="7"/>
                </a:lnTo>
                <a:lnTo>
                  <a:pt x="831" y="9"/>
                </a:lnTo>
                <a:lnTo>
                  <a:pt x="857" y="14"/>
                </a:lnTo>
                <a:lnTo>
                  <a:pt x="881" y="23"/>
                </a:lnTo>
                <a:lnTo>
                  <a:pt x="883" y="35"/>
                </a:lnTo>
                <a:lnTo>
                  <a:pt x="878" y="47"/>
                </a:lnTo>
                <a:lnTo>
                  <a:pt x="871" y="57"/>
                </a:lnTo>
                <a:lnTo>
                  <a:pt x="866" y="68"/>
                </a:lnTo>
                <a:lnTo>
                  <a:pt x="855" y="94"/>
                </a:lnTo>
                <a:lnTo>
                  <a:pt x="847" y="118"/>
                </a:lnTo>
                <a:lnTo>
                  <a:pt x="836" y="149"/>
                </a:lnTo>
                <a:lnTo>
                  <a:pt x="828" y="184"/>
                </a:lnTo>
                <a:lnTo>
                  <a:pt x="824" y="218"/>
                </a:lnTo>
                <a:lnTo>
                  <a:pt x="828" y="253"/>
                </a:lnTo>
                <a:lnTo>
                  <a:pt x="836" y="277"/>
                </a:lnTo>
                <a:lnTo>
                  <a:pt x="850" y="299"/>
                </a:lnTo>
                <a:lnTo>
                  <a:pt x="866" y="322"/>
                </a:lnTo>
                <a:lnTo>
                  <a:pt x="876" y="334"/>
                </a:lnTo>
                <a:lnTo>
                  <a:pt x="893" y="348"/>
                </a:lnTo>
                <a:lnTo>
                  <a:pt x="911" y="360"/>
                </a:lnTo>
                <a:lnTo>
                  <a:pt x="923" y="367"/>
                </a:lnTo>
                <a:lnTo>
                  <a:pt x="937" y="376"/>
                </a:lnTo>
                <a:lnTo>
                  <a:pt x="954" y="383"/>
                </a:lnTo>
                <a:lnTo>
                  <a:pt x="980" y="398"/>
                </a:lnTo>
                <a:lnTo>
                  <a:pt x="1015" y="407"/>
                </a:lnTo>
                <a:lnTo>
                  <a:pt x="1049" y="414"/>
                </a:lnTo>
                <a:lnTo>
                  <a:pt x="1105" y="421"/>
                </a:lnTo>
                <a:lnTo>
                  <a:pt x="1162" y="424"/>
                </a:lnTo>
                <a:lnTo>
                  <a:pt x="1217" y="421"/>
                </a:lnTo>
                <a:lnTo>
                  <a:pt x="1271" y="414"/>
                </a:lnTo>
                <a:lnTo>
                  <a:pt x="1319" y="402"/>
                </a:lnTo>
                <a:lnTo>
                  <a:pt x="1364" y="384"/>
                </a:lnTo>
                <a:lnTo>
                  <a:pt x="1402" y="364"/>
                </a:lnTo>
                <a:lnTo>
                  <a:pt x="1428" y="345"/>
                </a:lnTo>
                <a:lnTo>
                  <a:pt x="1449" y="322"/>
                </a:lnTo>
                <a:lnTo>
                  <a:pt x="1465" y="294"/>
                </a:lnTo>
                <a:lnTo>
                  <a:pt x="1477" y="263"/>
                </a:lnTo>
                <a:lnTo>
                  <a:pt x="1480" y="232"/>
                </a:lnTo>
                <a:lnTo>
                  <a:pt x="1475" y="203"/>
                </a:lnTo>
                <a:lnTo>
                  <a:pt x="1465" y="177"/>
                </a:lnTo>
                <a:lnTo>
                  <a:pt x="1437" y="125"/>
                </a:lnTo>
                <a:lnTo>
                  <a:pt x="1427" y="106"/>
                </a:lnTo>
                <a:lnTo>
                  <a:pt x="1416" y="85"/>
                </a:lnTo>
                <a:lnTo>
                  <a:pt x="1408" y="64"/>
                </a:lnTo>
                <a:lnTo>
                  <a:pt x="1401" y="38"/>
                </a:lnTo>
                <a:lnTo>
                  <a:pt x="1399" y="10"/>
                </a:lnTo>
                <a:lnTo>
                  <a:pt x="1402" y="7"/>
                </a:lnTo>
                <a:lnTo>
                  <a:pt x="1406" y="5"/>
                </a:lnTo>
                <a:lnTo>
                  <a:pt x="1411" y="2"/>
                </a:lnTo>
                <a:lnTo>
                  <a:pt x="1506" y="0"/>
                </a:lnTo>
                <a:close/>
              </a:path>
            </a:pathLst>
          </a:custGeom>
          <a:solidFill>
            <a:schemeClr val="bg2"/>
          </a:solidFill>
          <a:ln w="12700">
            <a:solidFill>
              <a:schemeClr val="bg1"/>
            </a:solidFill>
            <a:round/>
            <a:headEnd/>
            <a:tailEnd/>
          </a:ln>
        </p:spPr>
        <p:txBody>
          <a:bodyPr anchor="ctr"/>
          <a:lstStyle/>
          <a:p>
            <a:endParaRPr lang="en-US"/>
          </a:p>
        </p:txBody>
      </p:sp>
      <p:sp>
        <p:nvSpPr>
          <p:cNvPr id="69645" name="Rectangle 13"/>
          <p:cNvSpPr>
            <a:spLocks noChangeArrowheads="1"/>
          </p:cNvSpPr>
          <p:nvPr/>
        </p:nvSpPr>
        <p:spPr bwMode="gray">
          <a:xfrm>
            <a:off x="9513359" y="3874010"/>
            <a:ext cx="1079500" cy="965834"/>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chemeClr val="bg1"/>
                </a:solidFill>
              </a:rPr>
              <a:t>Text</a:t>
            </a:r>
          </a:p>
        </p:txBody>
      </p:sp>
      <p:sp>
        <p:nvSpPr>
          <p:cNvPr id="179" name="AutoShape 14"/>
          <p:cNvSpPr>
            <a:spLocks/>
          </p:cNvSpPr>
          <p:nvPr/>
        </p:nvSpPr>
        <p:spPr bwMode="gray">
          <a:xfrm>
            <a:off x="8333848" y="3618740"/>
            <a:ext cx="1211263" cy="1522094"/>
          </a:xfrm>
          <a:custGeom>
            <a:avLst/>
            <a:gdLst>
              <a:gd name="T0" fmla="*/ 1082 w 1846"/>
              <a:gd name="T1" fmla="*/ 22 h 2316"/>
              <a:gd name="T2" fmla="*/ 1140 w 1846"/>
              <a:gd name="T3" fmla="*/ 48 h 2316"/>
              <a:gd name="T4" fmla="*/ 1185 w 1846"/>
              <a:gd name="T5" fmla="*/ 83 h 2316"/>
              <a:gd name="T6" fmla="*/ 1192 w 1846"/>
              <a:gd name="T7" fmla="*/ 97 h 2316"/>
              <a:gd name="T8" fmla="*/ 1221 w 1846"/>
              <a:gd name="T9" fmla="*/ 185 h 2316"/>
              <a:gd name="T10" fmla="*/ 1181 w 1846"/>
              <a:gd name="T11" fmla="*/ 296 h 2316"/>
              <a:gd name="T12" fmla="*/ 1164 w 1846"/>
              <a:gd name="T13" fmla="*/ 379 h 2316"/>
              <a:gd name="T14" fmla="*/ 1264 w 1846"/>
              <a:gd name="T15" fmla="*/ 417 h 2316"/>
              <a:gd name="T16" fmla="*/ 1543 w 1846"/>
              <a:gd name="T17" fmla="*/ 398 h 2316"/>
              <a:gd name="T18" fmla="*/ 1773 w 1846"/>
              <a:gd name="T19" fmla="*/ 389 h 2316"/>
              <a:gd name="T20" fmla="*/ 1830 w 1846"/>
              <a:gd name="T21" fmla="*/ 609 h 2316"/>
              <a:gd name="T22" fmla="*/ 1832 w 1846"/>
              <a:gd name="T23" fmla="*/ 848 h 2316"/>
              <a:gd name="T24" fmla="*/ 1723 w 1846"/>
              <a:gd name="T25" fmla="*/ 843 h 2316"/>
              <a:gd name="T26" fmla="*/ 1559 w 1846"/>
              <a:gd name="T27" fmla="*/ 841 h 2316"/>
              <a:gd name="T28" fmla="*/ 1441 w 1846"/>
              <a:gd name="T29" fmla="*/ 1009 h 2316"/>
              <a:gd name="T30" fmla="*/ 1429 w 1846"/>
              <a:gd name="T31" fmla="*/ 1269 h 2316"/>
              <a:gd name="T32" fmla="*/ 1510 w 1846"/>
              <a:gd name="T33" fmla="*/ 1435 h 2316"/>
              <a:gd name="T34" fmla="*/ 1642 w 1846"/>
              <a:gd name="T35" fmla="*/ 1476 h 2316"/>
              <a:gd name="T36" fmla="*/ 1761 w 1846"/>
              <a:gd name="T37" fmla="*/ 1416 h 2316"/>
              <a:gd name="T38" fmla="*/ 1846 w 1846"/>
              <a:gd name="T39" fmla="*/ 1478 h 2316"/>
              <a:gd name="T40" fmla="*/ 1813 w 1846"/>
              <a:gd name="T41" fmla="*/ 1783 h 2316"/>
              <a:gd name="T42" fmla="*/ 1591 w 1846"/>
              <a:gd name="T43" fmla="*/ 1935 h 2316"/>
              <a:gd name="T44" fmla="*/ 1292 w 1846"/>
              <a:gd name="T45" fmla="*/ 1899 h 2316"/>
              <a:gd name="T46" fmla="*/ 1166 w 1846"/>
              <a:gd name="T47" fmla="*/ 1899 h 2316"/>
              <a:gd name="T48" fmla="*/ 1127 w 1846"/>
              <a:gd name="T49" fmla="*/ 1972 h 2316"/>
              <a:gd name="T50" fmla="*/ 1185 w 1846"/>
              <a:gd name="T51" fmla="*/ 2107 h 2316"/>
              <a:gd name="T52" fmla="*/ 1192 w 1846"/>
              <a:gd name="T53" fmla="*/ 2217 h 2316"/>
              <a:gd name="T54" fmla="*/ 1153 w 1846"/>
              <a:gd name="T55" fmla="*/ 2257 h 2316"/>
              <a:gd name="T56" fmla="*/ 989 w 1846"/>
              <a:gd name="T57" fmla="*/ 2313 h 2316"/>
              <a:gd name="T58" fmla="*/ 766 w 1846"/>
              <a:gd name="T59" fmla="*/ 2293 h 2316"/>
              <a:gd name="T60" fmla="*/ 646 w 1846"/>
              <a:gd name="T61" fmla="*/ 2214 h 2316"/>
              <a:gd name="T62" fmla="*/ 634 w 1846"/>
              <a:gd name="T63" fmla="*/ 2101 h 2316"/>
              <a:gd name="T64" fmla="*/ 686 w 1846"/>
              <a:gd name="T65" fmla="*/ 1968 h 2316"/>
              <a:gd name="T66" fmla="*/ 677 w 1846"/>
              <a:gd name="T67" fmla="*/ 1930 h 2316"/>
              <a:gd name="T68" fmla="*/ 632 w 1846"/>
              <a:gd name="T69" fmla="*/ 1909 h 2316"/>
              <a:gd name="T70" fmla="*/ 440 w 1846"/>
              <a:gd name="T71" fmla="*/ 1901 h 2316"/>
              <a:gd name="T72" fmla="*/ 166 w 1846"/>
              <a:gd name="T73" fmla="*/ 1959 h 2316"/>
              <a:gd name="T74" fmla="*/ 14 w 1846"/>
              <a:gd name="T75" fmla="*/ 1707 h 2316"/>
              <a:gd name="T76" fmla="*/ 14 w 1846"/>
              <a:gd name="T77" fmla="*/ 1468 h 2316"/>
              <a:gd name="T78" fmla="*/ 153 w 1846"/>
              <a:gd name="T79" fmla="*/ 1485 h 2316"/>
              <a:gd name="T80" fmla="*/ 317 w 1846"/>
              <a:gd name="T81" fmla="*/ 1457 h 2316"/>
              <a:gd name="T82" fmla="*/ 414 w 1846"/>
              <a:gd name="T83" fmla="*/ 1277 h 2316"/>
              <a:gd name="T84" fmla="*/ 407 w 1846"/>
              <a:gd name="T85" fmla="*/ 1014 h 2316"/>
              <a:gd name="T86" fmla="*/ 334 w 1846"/>
              <a:gd name="T87" fmla="*/ 881 h 2316"/>
              <a:gd name="T88" fmla="*/ 210 w 1846"/>
              <a:gd name="T89" fmla="*/ 843 h 2316"/>
              <a:gd name="T90" fmla="*/ 80 w 1846"/>
              <a:gd name="T91" fmla="*/ 905 h 2316"/>
              <a:gd name="T92" fmla="*/ 0 w 1846"/>
              <a:gd name="T93" fmla="*/ 841 h 2316"/>
              <a:gd name="T94" fmla="*/ 57 w 1846"/>
              <a:gd name="T95" fmla="*/ 434 h 2316"/>
              <a:gd name="T96" fmla="*/ 397 w 1846"/>
              <a:gd name="T97" fmla="*/ 410 h 2316"/>
              <a:gd name="T98" fmla="*/ 702 w 1846"/>
              <a:gd name="T99" fmla="*/ 412 h 2316"/>
              <a:gd name="T100" fmla="*/ 719 w 1846"/>
              <a:gd name="T101" fmla="*/ 367 h 2316"/>
              <a:gd name="T102" fmla="*/ 674 w 1846"/>
              <a:gd name="T103" fmla="*/ 235 h 2316"/>
              <a:gd name="T104" fmla="*/ 643 w 1846"/>
              <a:gd name="T105" fmla="*/ 133 h 2316"/>
              <a:gd name="T106" fmla="*/ 672 w 1846"/>
              <a:gd name="T107" fmla="*/ 80 h 2316"/>
              <a:gd name="T108" fmla="*/ 793 w 1846"/>
              <a:gd name="T109" fmla="*/ 15 h 23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46"/>
              <a:gd name="T166" fmla="*/ 0 h 2316"/>
              <a:gd name="T167" fmla="*/ 1846 w 1846"/>
              <a:gd name="T168" fmla="*/ 2316 h 23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46" h="2316">
                <a:moveTo>
                  <a:pt x="920" y="0"/>
                </a:moveTo>
                <a:lnTo>
                  <a:pt x="970" y="2"/>
                </a:lnTo>
                <a:lnTo>
                  <a:pt x="1018" y="9"/>
                </a:lnTo>
                <a:lnTo>
                  <a:pt x="1062" y="17"/>
                </a:lnTo>
                <a:lnTo>
                  <a:pt x="1082" y="22"/>
                </a:lnTo>
                <a:lnTo>
                  <a:pt x="1100" y="31"/>
                </a:lnTo>
                <a:lnTo>
                  <a:pt x="1119" y="40"/>
                </a:lnTo>
                <a:lnTo>
                  <a:pt x="1126" y="43"/>
                </a:lnTo>
                <a:lnTo>
                  <a:pt x="1133" y="45"/>
                </a:lnTo>
                <a:lnTo>
                  <a:pt x="1140" y="48"/>
                </a:lnTo>
                <a:lnTo>
                  <a:pt x="1145" y="52"/>
                </a:lnTo>
                <a:lnTo>
                  <a:pt x="1160" y="64"/>
                </a:lnTo>
                <a:lnTo>
                  <a:pt x="1176" y="78"/>
                </a:lnTo>
                <a:lnTo>
                  <a:pt x="1179" y="81"/>
                </a:lnTo>
                <a:lnTo>
                  <a:pt x="1185" y="83"/>
                </a:lnTo>
                <a:lnTo>
                  <a:pt x="1188" y="86"/>
                </a:lnTo>
                <a:lnTo>
                  <a:pt x="1188" y="88"/>
                </a:lnTo>
                <a:lnTo>
                  <a:pt x="1190" y="90"/>
                </a:lnTo>
                <a:lnTo>
                  <a:pt x="1190" y="95"/>
                </a:lnTo>
                <a:lnTo>
                  <a:pt x="1192" y="97"/>
                </a:lnTo>
                <a:lnTo>
                  <a:pt x="1200" y="107"/>
                </a:lnTo>
                <a:lnTo>
                  <a:pt x="1211" y="125"/>
                </a:lnTo>
                <a:lnTo>
                  <a:pt x="1219" y="142"/>
                </a:lnTo>
                <a:lnTo>
                  <a:pt x="1223" y="159"/>
                </a:lnTo>
                <a:lnTo>
                  <a:pt x="1221" y="185"/>
                </a:lnTo>
                <a:lnTo>
                  <a:pt x="1214" y="213"/>
                </a:lnTo>
                <a:lnTo>
                  <a:pt x="1205" y="240"/>
                </a:lnTo>
                <a:lnTo>
                  <a:pt x="1195" y="266"/>
                </a:lnTo>
                <a:lnTo>
                  <a:pt x="1188" y="280"/>
                </a:lnTo>
                <a:lnTo>
                  <a:pt x="1181" y="296"/>
                </a:lnTo>
                <a:lnTo>
                  <a:pt x="1171" y="315"/>
                </a:lnTo>
                <a:lnTo>
                  <a:pt x="1164" y="332"/>
                </a:lnTo>
                <a:lnTo>
                  <a:pt x="1159" y="348"/>
                </a:lnTo>
                <a:lnTo>
                  <a:pt x="1157" y="362"/>
                </a:lnTo>
                <a:lnTo>
                  <a:pt x="1164" y="379"/>
                </a:lnTo>
                <a:lnTo>
                  <a:pt x="1176" y="393"/>
                </a:lnTo>
                <a:lnTo>
                  <a:pt x="1193" y="403"/>
                </a:lnTo>
                <a:lnTo>
                  <a:pt x="1214" y="410"/>
                </a:lnTo>
                <a:lnTo>
                  <a:pt x="1238" y="414"/>
                </a:lnTo>
                <a:lnTo>
                  <a:pt x="1264" y="417"/>
                </a:lnTo>
                <a:lnTo>
                  <a:pt x="1320" y="419"/>
                </a:lnTo>
                <a:lnTo>
                  <a:pt x="1375" y="419"/>
                </a:lnTo>
                <a:lnTo>
                  <a:pt x="1425" y="417"/>
                </a:lnTo>
                <a:lnTo>
                  <a:pt x="1486" y="410"/>
                </a:lnTo>
                <a:lnTo>
                  <a:pt x="1543" y="398"/>
                </a:lnTo>
                <a:lnTo>
                  <a:pt x="1597" y="382"/>
                </a:lnTo>
                <a:lnTo>
                  <a:pt x="1649" y="365"/>
                </a:lnTo>
                <a:lnTo>
                  <a:pt x="1702" y="350"/>
                </a:lnTo>
                <a:lnTo>
                  <a:pt x="1756" y="336"/>
                </a:lnTo>
                <a:lnTo>
                  <a:pt x="1773" y="389"/>
                </a:lnTo>
                <a:lnTo>
                  <a:pt x="1791" y="446"/>
                </a:lnTo>
                <a:lnTo>
                  <a:pt x="1801" y="481"/>
                </a:lnTo>
                <a:lnTo>
                  <a:pt x="1811" y="521"/>
                </a:lnTo>
                <a:lnTo>
                  <a:pt x="1822" y="559"/>
                </a:lnTo>
                <a:lnTo>
                  <a:pt x="1830" y="609"/>
                </a:lnTo>
                <a:lnTo>
                  <a:pt x="1837" y="666"/>
                </a:lnTo>
                <a:lnTo>
                  <a:pt x="1841" y="727"/>
                </a:lnTo>
                <a:lnTo>
                  <a:pt x="1841" y="768"/>
                </a:lnTo>
                <a:lnTo>
                  <a:pt x="1837" y="808"/>
                </a:lnTo>
                <a:lnTo>
                  <a:pt x="1832" y="848"/>
                </a:lnTo>
                <a:lnTo>
                  <a:pt x="1822" y="884"/>
                </a:lnTo>
                <a:lnTo>
                  <a:pt x="1796" y="878"/>
                </a:lnTo>
                <a:lnTo>
                  <a:pt x="1773" y="865"/>
                </a:lnTo>
                <a:lnTo>
                  <a:pt x="1749" y="853"/>
                </a:lnTo>
                <a:lnTo>
                  <a:pt x="1723" y="843"/>
                </a:lnTo>
                <a:lnTo>
                  <a:pt x="1692" y="834"/>
                </a:lnTo>
                <a:lnTo>
                  <a:pt x="1659" y="826"/>
                </a:lnTo>
                <a:lnTo>
                  <a:pt x="1626" y="824"/>
                </a:lnTo>
                <a:lnTo>
                  <a:pt x="1595" y="827"/>
                </a:lnTo>
                <a:lnTo>
                  <a:pt x="1559" y="841"/>
                </a:lnTo>
                <a:lnTo>
                  <a:pt x="1527" y="864"/>
                </a:lnTo>
                <a:lnTo>
                  <a:pt x="1498" y="891"/>
                </a:lnTo>
                <a:lnTo>
                  <a:pt x="1475" y="926"/>
                </a:lnTo>
                <a:lnTo>
                  <a:pt x="1456" y="966"/>
                </a:lnTo>
                <a:lnTo>
                  <a:pt x="1441" y="1009"/>
                </a:lnTo>
                <a:lnTo>
                  <a:pt x="1429" y="1056"/>
                </a:lnTo>
                <a:lnTo>
                  <a:pt x="1424" y="1106"/>
                </a:lnTo>
                <a:lnTo>
                  <a:pt x="1420" y="1160"/>
                </a:lnTo>
                <a:lnTo>
                  <a:pt x="1422" y="1213"/>
                </a:lnTo>
                <a:lnTo>
                  <a:pt x="1429" y="1269"/>
                </a:lnTo>
                <a:lnTo>
                  <a:pt x="1441" y="1315"/>
                </a:lnTo>
                <a:lnTo>
                  <a:pt x="1458" y="1360"/>
                </a:lnTo>
                <a:lnTo>
                  <a:pt x="1479" y="1399"/>
                </a:lnTo>
                <a:lnTo>
                  <a:pt x="1493" y="1416"/>
                </a:lnTo>
                <a:lnTo>
                  <a:pt x="1510" y="1435"/>
                </a:lnTo>
                <a:lnTo>
                  <a:pt x="1531" y="1452"/>
                </a:lnTo>
                <a:lnTo>
                  <a:pt x="1555" y="1466"/>
                </a:lnTo>
                <a:lnTo>
                  <a:pt x="1581" y="1476"/>
                </a:lnTo>
                <a:lnTo>
                  <a:pt x="1611" y="1480"/>
                </a:lnTo>
                <a:lnTo>
                  <a:pt x="1642" y="1476"/>
                </a:lnTo>
                <a:lnTo>
                  <a:pt x="1671" y="1464"/>
                </a:lnTo>
                <a:lnTo>
                  <a:pt x="1697" y="1452"/>
                </a:lnTo>
                <a:lnTo>
                  <a:pt x="1721" y="1438"/>
                </a:lnTo>
                <a:lnTo>
                  <a:pt x="1740" y="1428"/>
                </a:lnTo>
                <a:lnTo>
                  <a:pt x="1761" y="1416"/>
                </a:lnTo>
                <a:lnTo>
                  <a:pt x="1782" y="1405"/>
                </a:lnTo>
                <a:lnTo>
                  <a:pt x="1808" y="1400"/>
                </a:lnTo>
                <a:lnTo>
                  <a:pt x="1837" y="1399"/>
                </a:lnTo>
                <a:lnTo>
                  <a:pt x="1844" y="1438"/>
                </a:lnTo>
                <a:lnTo>
                  <a:pt x="1846" y="1478"/>
                </a:lnTo>
                <a:lnTo>
                  <a:pt x="1843" y="1516"/>
                </a:lnTo>
                <a:lnTo>
                  <a:pt x="1841" y="1556"/>
                </a:lnTo>
                <a:lnTo>
                  <a:pt x="1836" y="1636"/>
                </a:lnTo>
                <a:lnTo>
                  <a:pt x="1827" y="1712"/>
                </a:lnTo>
                <a:lnTo>
                  <a:pt x="1813" y="1783"/>
                </a:lnTo>
                <a:lnTo>
                  <a:pt x="1798" y="1850"/>
                </a:lnTo>
                <a:lnTo>
                  <a:pt x="1778" y="1916"/>
                </a:lnTo>
                <a:lnTo>
                  <a:pt x="1759" y="1984"/>
                </a:lnTo>
                <a:lnTo>
                  <a:pt x="1649" y="1949"/>
                </a:lnTo>
                <a:lnTo>
                  <a:pt x="1591" y="1935"/>
                </a:lnTo>
                <a:lnTo>
                  <a:pt x="1529" y="1921"/>
                </a:lnTo>
                <a:lnTo>
                  <a:pt x="1463" y="1911"/>
                </a:lnTo>
                <a:lnTo>
                  <a:pt x="1411" y="1906"/>
                </a:lnTo>
                <a:lnTo>
                  <a:pt x="1354" y="1902"/>
                </a:lnTo>
                <a:lnTo>
                  <a:pt x="1292" y="1899"/>
                </a:lnTo>
                <a:lnTo>
                  <a:pt x="1268" y="1897"/>
                </a:lnTo>
                <a:lnTo>
                  <a:pt x="1242" y="1897"/>
                </a:lnTo>
                <a:lnTo>
                  <a:pt x="1214" y="1895"/>
                </a:lnTo>
                <a:lnTo>
                  <a:pt x="1188" y="1895"/>
                </a:lnTo>
                <a:lnTo>
                  <a:pt x="1166" y="1899"/>
                </a:lnTo>
                <a:lnTo>
                  <a:pt x="1146" y="1904"/>
                </a:lnTo>
                <a:lnTo>
                  <a:pt x="1134" y="1914"/>
                </a:lnTo>
                <a:lnTo>
                  <a:pt x="1127" y="1930"/>
                </a:lnTo>
                <a:lnTo>
                  <a:pt x="1126" y="1951"/>
                </a:lnTo>
                <a:lnTo>
                  <a:pt x="1127" y="1972"/>
                </a:lnTo>
                <a:lnTo>
                  <a:pt x="1129" y="1991"/>
                </a:lnTo>
                <a:lnTo>
                  <a:pt x="1140" y="2022"/>
                </a:lnTo>
                <a:lnTo>
                  <a:pt x="1152" y="2051"/>
                </a:lnTo>
                <a:lnTo>
                  <a:pt x="1167" y="2077"/>
                </a:lnTo>
                <a:lnTo>
                  <a:pt x="1185" y="2107"/>
                </a:lnTo>
                <a:lnTo>
                  <a:pt x="1195" y="2129"/>
                </a:lnTo>
                <a:lnTo>
                  <a:pt x="1202" y="2150"/>
                </a:lnTo>
                <a:lnTo>
                  <a:pt x="1205" y="2171"/>
                </a:lnTo>
                <a:lnTo>
                  <a:pt x="1202" y="2193"/>
                </a:lnTo>
                <a:lnTo>
                  <a:pt x="1192" y="2217"/>
                </a:lnTo>
                <a:lnTo>
                  <a:pt x="1190" y="2219"/>
                </a:lnTo>
                <a:lnTo>
                  <a:pt x="1185" y="2219"/>
                </a:lnTo>
                <a:lnTo>
                  <a:pt x="1185" y="2221"/>
                </a:lnTo>
                <a:lnTo>
                  <a:pt x="1178" y="2233"/>
                </a:lnTo>
                <a:lnTo>
                  <a:pt x="1153" y="2257"/>
                </a:lnTo>
                <a:lnTo>
                  <a:pt x="1141" y="2268"/>
                </a:lnTo>
                <a:lnTo>
                  <a:pt x="1112" y="2285"/>
                </a:lnTo>
                <a:lnTo>
                  <a:pt x="1076" y="2297"/>
                </a:lnTo>
                <a:lnTo>
                  <a:pt x="1034" y="2307"/>
                </a:lnTo>
                <a:lnTo>
                  <a:pt x="989" y="2313"/>
                </a:lnTo>
                <a:lnTo>
                  <a:pt x="942" y="2316"/>
                </a:lnTo>
                <a:lnTo>
                  <a:pt x="895" y="2316"/>
                </a:lnTo>
                <a:lnTo>
                  <a:pt x="849" y="2311"/>
                </a:lnTo>
                <a:lnTo>
                  <a:pt x="805" y="2304"/>
                </a:lnTo>
                <a:lnTo>
                  <a:pt x="766" y="2293"/>
                </a:lnTo>
                <a:lnTo>
                  <a:pt x="736" y="2283"/>
                </a:lnTo>
                <a:lnTo>
                  <a:pt x="712" y="2271"/>
                </a:lnTo>
                <a:lnTo>
                  <a:pt x="689" y="2257"/>
                </a:lnTo>
                <a:lnTo>
                  <a:pt x="665" y="2238"/>
                </a:lnTo>
                <a:lnTo>
                  <a:pt x="646" y="2214"/>
                </a:lnTo>
                <a:lnTo>
                  <a:pt x="634" y="2193"/>
                </a:lnTo>
                <a:lnTo>
                  <a:pt x="627" y="2172"/>
                </a:lnTo>
                <a:lnTo>
                  <a:pt x="625" y="2153"/>
                </a:lnTo>
                <a:lnTo>
                  <a:pt x="627" y="2129"/>
                </a:lnTo>
                <a:lnTo>
                  <a:pt x="634" y="2101"/>
                </a:lnTo>
                <a:lnTo>
                  <a:pt x="646" y="2065"/>
                </a:lnTo>
                <a:lnTo>
                  <a:pt x="658" y="2034"/>
                </a:lnTo>
                <a:lnTo>
                  <a:pt x="672" y="2003"/>
                </a:lnTo>
                <a:lnTo>
                  <a:pt x="681" y="1984"/>
                </a:lnTo>
                <a:lnTo>
                  <a:pt x="686" y="1968"/>
                </a:lnTo>
                <a:lnTo>
                  <a:pt x="688" y="1952"/>
                </a:lnTo>
                <a:lnTo>
                  <a:pt x="681" y="1937"/>
                </a:lnTo>
                <a:lnTo>
                  <a:pt x="679" y="1935"/>
                </a:lnTo>
                <a:lnTo>
                  <a:pt x="679" y="1932"/>
                </a:lnTo>
                <a:lnTo>
                  <a:pt x="677" y="1930"/>
                </a:lnTo>
                <a:lnTo>
                  <a:pt x="669" y="1930"/>
                </a:lnTo>
                <a:lnTo>
                  <a:pt x="665" y="1927"/>
                </a:lnTo>
                <a:lnTo>
                  <a:pt x="663" y="1923"/>
                </a:lnTo>
                <a:lnTo>
                  <a:pt x="658" y="1918"/>
                </a:lnTo>
                <a:lnTo>
                  <a:pt x="632" y="1909"/>
                </a:lnTo>
                <a:lnTo>
                  <a:pt x="599" y="1904"/>
                </a:lnTo>
                <a:lnTo>
                  <a:pt x="561" y="1901"/>
                </a:lnTo>
                <a:lnTo>
                  <a:pt x="520" y="1899"/>
                </a:lnTo>
                <a:lnTo>
                  <a:pt x="480" y="1899"/>
                </a:lnTo>
                <a:lnTo>
                  <a:pt x="440" y="1901"/>
                </a:lnTo>
                <a:lnTo>
                  <a:pt x="407" y="1902"/>
                </a:lnTo>
                <a:lnTo>
                  <a:pt x="348" y="1911"/>
                </a:lnTo>
                <a:lnTo>
                  <a:pt x="295" y="1923"/>
                </a:lnTo>
                <a:lnTo>
                  <a:pt x="243" y="1937"/>
                </a:lnTo>
                <a:lnTo>
                  <a:pt x="166" y="1959"/>
                </a:lnTo>
                <a:lnTo>
                  <a:pt x="89" y="1984"/>
                </a:lnTo>
                <a:lnTo>
                  <a:pt x="57" y="1880"/>
                </a:lnTo>
                <a:lnTo>
                  <a:pt x="40" y="1824"/>
                </a:lnTo>
                <a:lnTo>
                  <a:pt x="26" y="1767"/>
                </a:lnTo>
                <a:lnTo>
                  <a:pt x="14" y="1707"/>
                </a:lnTo>
                <a:lnTo>
                  <a:pt x="5" y="1644"/>
                </a:lnTo>
                <a:lnTo>
                  <a:pt x="4" y="1577"/>
                </a:lnTo>
                <a:lnTo>
                  <a:pt x="5" y="1540"/>
                </a:lnTo>
                <a:lnTo>
                  <a:pt x="7" y="1502"/>
                </a:lnTo>
                <a:lnTo>
                  <a:pt x="14" y="1468"/>
                </a:lnTo>
                <a:lnTo>
                  <a:pt x="25" y="1433"/>
                </a:lnTo>
                <a:lnTo>
                  <a:pt x="57" y="1445"/>
                </a:lnTo>
                <a:lnTo>
                  <a:pt x="90" y="1459"/>
                </a:lnTo>
                <a:lnTo>
                  <a:pt x="121" y="1473"/>
                </a:lnTo>
                <a:lnTo>
                  <a:pt x="153" y="1485"/>
                </a:lnTo>
                <a:lnTo>
                  <a:pt x="186" y="1494"/>
                </a:lnTo>
                <a:lnTo>
                  <a:pt x="218" y="1495"/>
                </a:lnTo>
                <a:lnTo>
                  <a:pt x="255" y="1492"/>
                </a:lnTo>
                <a:lnTo>
                  <a:pt x="288" y="1478"/>
                </a:lnTo>
                <a:lnTo>
                  <a:pt x="317" y="1457"/>
                </a:lnTo>
                <a:lnTo>
                  <a:pt x="345" y="1431"/>
                </a:lnTo>
                <a:lnTo>
                  <a:pt x="367" y="1400"/>
                </a:lnTo>
                <a:lnTo>
                  <a:pt x="385" y="1369"/>
                </a:lnTo>
                <a:lnTo>
                  <a:pt x="402" y="1326"/>
                </a:lnTo>
                <a:lnTo>
                  <a:pt x="414" y="1277"/>
                </a:lnTo>
                <a:lnTo>
                  <a:pt x="421" y="1225"/>
                </a:lnTo>
                <a:lnTo>
                  <a:pt x="424" y="1172"/>
                </a:lnTo>
                <a:lnTo>
                  <a:pt x="423" y="1116"/>
                </a:lnTo>
                <a:lnTo>
                  <a:pt x="418" y="1064"/>
                </a:lnTo>
                <a:lnTo>
                  <a:pt x="407" y="1014"/>
                </a:lnTo>
                <a:lnTo>
                  <a:pt x="393" y="969"/>
                </a:lnTo>
                <a:lnTo>
                  <a:pt x="383" y="947"/>
                </a:lnTo>
                <a:lnTo>
                  <a:pt x="369" y="924"/>
                </a:lnTo>
                <a:lnTo>
                  <a:pt x="353" y="902"/>
                </a:lnTo>
                <a:lnTo>
                  <a:pt x="334" y="881"/>
                </a:lnTo>
                <a:lnTo>
                  <a:pt x="314" y="864"/>
                </a:lnTo>
                <a:lnTo>
                  <a:pt x="288" y="850"/>
                </a:lnTo>
                <a:lnTo>
                  <a:pt x="262" y="841"/>
                </a:lnTo>
                <a:lnTo>
                  <a:pt x="231" y="839"/>
                </a:lnTo>
                <a:lnTo>
                  <a:pt x="210" y="843"/>
                </a:lnTo>
                <a:lnTo>
                  <a:pt x="192" y="848"/>
                </a:lnTo>
                <a:lnTo>
                  <a:pt x="173" y="858"/>
                </a:lnTo>
                <a:lnTo>
                  <a:pt x="134" y="878"/>
                </a:lnTo>
                <a:lnTo>
                  <a:pt x="97" y="897"/>
                </a:lnTo>
                <a:lnTo>
                  <a:pt x="80" y="905"/>
                </a:lnTo>
                <a:lnTo>
                  <a:pt x="59" y="914"/>
                </a:lnTo>
                <a:lnTo>
                  <a:pt x="35" y="917"/>
                </a:lnTo>
                <a:lnTo>
                  <a:pt x="9" y="919"/>
                </a:lnTo>
                <a:lnTo>
                  <a:pt x="2" y="881"/>
                </a:lnTo>
                <a:lnTo>
                  <a:pt x="0" y="841"/>
                </a:lnTo>
                <a:lnTo>
                  <a:pt x="4" y="762"/>
                </a:lnTo>
                <a:lnTo>
                  <a:pt x="9" y="682"/>
                </a:lnTo>
                <a:lnTo>
                  <a:pt x="19" y="606"/>
                </a:lnTo>
                <a:lnTo>
                  <a:pt x="31" y="535"/>
                </a:lnTo>
                <a:lnTo>
                  <a:pt x="57" y="434"/>
                </a:lnTo>
                <a:lnTo>
                  <a:pt x="85" y="336"/>
                </a:lnTo>
                <a:lnTo>
                  <a:pt x="203" y="370"/>
                </a:lnTo>
                <a:lnTo>
                  <a:pt x="263" y="386"/>
                </a:lnTo>
                <a:lnTo>
                  <a:pt x="329" y="400"/>
                </a:lnTo>
                <a:lnTo>
                  <a:pt x="397" y="410"/>
                </a:lnTo>
                <a:lnTo>
                  <a:pt x="468" y="417"/>
                </a:lnTo>
                <a:lnTo>
                  <a:pt x="546" y="421"/>
                </a:lnTo>
                <a:lnTo>
                  <a:pt x="684" y="421"/>
                </a:lnTo>
                <a:lnTo>
                  <a:pt x="693" y="417"/>
                </a:lnTo>
                <a:lnTo>
                  <a:pt x="702" y="412"/>
                </a:lnTo>
                <a:lnTo>
                  <a:pt x="708" y="408"/>
                </a:lnTo>
                <a:lnTo>
                  <a:pt x="712" y="405"/>
                </a:lnTo>
                <a:lnTo>
                  <a:pt x="717" y="393"/>
                </a:lnTo>
                <a:lnTo>
                  <a:pt x="719" y="381"/>
                </a:lnTo>
                <a:lnTo>
                  <a:pt x="719" y="367"/>
                </a:lnTo>
                <a:lnTo>
                  <a:pt x="717" y="336"/>
                </a:lnTo>
                <a:lnTo>
                  <a:pt x="710" y="308"/>
                </a:lnTo>
                <a:lnTo>
                  <a:pt x="700" y="282"/>
                </a:lnTo>
                <a:lnTo>
                  <a:pt x="688" y="260"/>
                </a:lnTo>
                <a:lnTo>
                  <a:pt x="674" y="235"/>
                </a:lnTo>
                <a:lnTo>
                  <a:pt x="662" y="213"/>
                </a:lnTo>
                <a:lnTo>
                  <a:pt x="651" y="192"/>
                </a:lnTo>
                <a:lnTo>
                  <a:pt x="644" y="173"/>
                </a:lnTo>
                <a:lnTo>
                  <a:pt x="641" y="154"/>
                </a:lnTo>
                <a:lnTo>
                  <a:pt x="643" y="133"/>
                </a:lnTo>
                <a:lnTo>
                  <a:pt x="650" y="109"/>
                </a:lnTo>
                <a:lnTo>
                  <a:pt x="651" y="105"/>
                </a:lnTo>
                <a:lnTo>
                  <a:pt x="655" y="100"/>
                </a:lnTo>
                <a:lnTo>
                  <a:pt x="662" y="93"/>
                </a:lnTo>
                <a:lnTo>
                  <a:pt x="672" y="80"/>
                </a:lnTo>
                <a:lnTo>
                  <a:pt x="682" y="67"/>
                </a:lnTo>
                <a:lnTo>
                  <a:pt x="696" y="55"/>
                </a:lnTo>
                <a:lnTo>
                  <a:pt x="722" y="40"/>
                </a:lnTo>
                <a:lnTo>
                  <a:pt x="755" y="26"/>
                </a:lnTo>
                <a:lnTo>
                  <a:pt x="793" y="15"/>
                </a:lnTo>
                <a:lnTo>
                  <a:pt x="831" y="7"/>
                </a:lnTo>
                <a:lnTo>
                  <a:pt x="869" y="2"/>
                </a:lnTo>
                <a:lnTo>
                  <a:pt x="920" y="0"/>
                </a:lnTo>
                <a:close/>
              </a:path>
            </a:pathLst>
          </a:custGeom>
          <a:solidFill>
            <a:schemeClr val="tx1"/>
          </a:solidFill>
          <a:ln w="12700">
            <a:solidFill>
              <a:schemeClr val="bg1"/>
            </a:solidFill>
            <a:round/>
            <a:headEnd/>
            <a:tailEnd/>
          </a:ln>
        </p:spPr>
        <p:txBody>
          <a:bodyPr anchor="ctr"/>
          <a:lstStyle/>
          <a:p>
            <a:endParaRPr lang="en-US"/>
          </a:p>
        </p:txBody>
      </p:sp>
      <p:sp>
        <p:nvSpPr>
          <p:cNvPr id="69647" name="Rectangle 15"/>
          <p:cNvSpPr>
            <a:spLocks noChangeArrowheads="1"/>
          </p:cNvSpPr>
          <p:nvPr/>
        </p:nvSpPr>
        <p:spPr bwMode="gray">
          <a:xfrm>
            <a:off x="8576736" y="3874010"/>
            <a:ext cx="720725" cy="965834"/>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rgbClr val="FFFFFF"/>
                </a:solidFill>
              </a:rPr>
              <a:t>Text</a:t>
            </a:r>
          </a:p>
        </p:txBody>
      </p:sp>
      <p:sp>
        <p:nvSpPr>
          <p:cNvPr id="198" name="AutoShape 16"/>
          <p:cNvSpPr>
            <a:spLocks/>
          </p:cNvSpPr>
          <p:nvPr/>
        </p:nvSpPr>
        <p:spPr bwMode="gray">
          <a:xfrm rot="-2345583">
            <a:off x="3479800" y="2010920"/>
            <a:ext cx="1209675" cy="1524000"/>
          </a:xfrm>
          <a:custGeom>
            <a:avLst/>
            <a:gdLst>
              <a:gd name="T0" fmla="*/ 1082 w 1842"/>
              <a:gd name="T1" fmla="*/ 26 h 2318"/>
              <a:gd name="T2" fmla="*/ 1212 w 1842"/>
              <a:gd name="T3" fmla="*/ 129 h 2318"/>
              <a:gd name="T4" fmla="*/ 1193 w 1842"/>
              <a:gd name="T5" fmla="*/ 271 h 2318"/>
              <a:gd name="T6" fmla="*/ 1176 w 1842"/>
              <a:gd name="T7" fmla="*/ 310 h 2318"/>
              <a:gd name="T8" fmla="*/ 1159 w 1842"/>
              <a:gd name="T9" fmla="*/ 376 h 2318"/>
              <a:gd name="T10" fmla="*/ 1243 w 1842"/>
              <a:gd name="T11" fmla="*/ 416 h 2318"/>
              <a:gd name="T12" fmla="*/ 1491 w 1842"/>
              <a:gd name="T13" fmla="*/ 407 h 2318"/>
              <a:gd name="T14" fmla="*/ 1758 w 1842"/>
              <a:gd name="T15" fmla="*/ 335 h 2318"/>
              <a:gd name="T16" fmla="*/ 1834 w 1842"/>
              <a:gd name="T17" fmla="*/ 636 h 2318"/>
              <a:gd name="T18" fmla="*/ 1818 w 1842"/>
              <a:gd name="T19" fmla="*/ 885 h 2318"/>
              <a:gd name="T20" fmla="*/ 1687 w 1842"/>
              <a:gd name="T21" fmla="*/ 833 h 2318"/>
              <a:gd name="T22" fmla="*/ 1558 w 1842"/>
              <a:gd name="T23" fmla="*/ 842 h 2318"/>
              <a:gd name="T24" fmla="*/ 1508 w 1842"/>
              <a:gd name="T25" fmla="*/ 878 h 2318"/>
              <a:gd name="T26" fmla="*/ 1456 w 1842"/>
              <a:gd name="T27" fmla="*/ 956 h 2318"/>
              <a:gd name="T28" fmla="*/ 1437 w 1842"/>
              <a:gd name="T29" fmla="*/ 1017 h 2318"/>
              <a:gd name="T30" fmla="*/ 1423 w 1842"/>
              <a:gd name="T31" fmla="*/ 1226 h 2318"/>
              <a:gd name="T32" fmla="*/ 1460 w 1842"/>
              <a:gd name="T33" fmla="*/ 1375 h 2318"/>
              <a:gd name="T34" fmla="*/ 1479 w 1842"/>
              <a:gd name="T35" fmla="*/ 1399 h 2318"/>
              <a:gd name="T36" fmla="*/ 1519 w 1842"/>
              <a:gd name="T37" fmla="*/ 1449 h 2318"/>
              <a:gd name="T38" fmla="*/ 1546 w 1842"/>
              <a:gd name="T39" fmla="*/ 1461 h 2318"/>
              <a:gd name="T40" fmla="*/ 1650 w 1842"/>
              <a:gd name="T41" fmla="*/ 1474 h 2318"/>
              <a:gd name="T42" fmla="*/ 1778 w 1842"/>
              <a:gd name="T43" fmla="*/ 1410 h 2318"/>
              <a:gd name="T44" fmla="*/ 1842 w 1842"/>
              <a:gd name="T45" fmla="*/ 1560 h 2318"/>
              <a:gd name="T46" fmla="*/ 1777 w 1842"/>
              <a:gd name="T47" fmla="*/ 1917 h 2318"/>
              <a:gd name="T48" fmla="*/ 1659 w 1842"/>
              <a:gd name="T49" fmla="*/ 1957 h 2318"/>
              <a:gd name="T50" fmla="*/ 1415 w 1842"/>
              <a:gd name="T51" fmla="*/ 1905 h 2318"/>
              <a:gd name="T52" fmla="*/ 1143 w 1842"/>
              <a:gd name="T53" fmla="*/ 1908 h 2318"/>
              <a:gd name="T54" fmla="*/ 1127 w 1842"/>
              <a:gd name="T55" fmla="*/ 1991 h 2318"/>
              <a:gd name="T56" fmla="*/ 1174 w 1842"/>
              <a:gd name="T57" fmla="*/ 2088 h 2318"/>
              <a:gd name="T58" fmla="*/ 1188 w 1842"/>
              <a:gd name="T59" fmla="*/ 2221 h 2318"/>
              <a:gd name="T60" fmla="*/ 1055 w 1842"/>
              <a:gd name="T61" fmla="*/ 2304 h 2318"/>
              <a:gd name="T62" fmla="*/ 811 w 1842"/>
              <a:gd name="T63" fmla="*/ 2310 h 2318"/>
              <a:gd name="T64" fmla="*/ 682 w 1842"/>
              <a:gd name="T65" fmla="*/ 2256 h 2318"/>
              <a:gd name="T66" fmla="*/ 627 w 1842"/>
              <a:gd name="T67" fmla="*/ 2142 h 2318"/>
              <a:gd name="T68" fmla="*/ 669 w 1842"/>
              <a:gd name="T69" fmla="*/ 2012 h 2318"/>
              <a:gd name="T70" fmla="*/ 649 w 1842"/>
              <a:gd name="T71" fmla="*/ 1917 h 2318"/>
              <a:gd name="T72" fmla="*/ 488 w 1842"/>
              <a:gd name="T73" fmla="*/ 1901 h 2318"/>
              <a:gd name="T74" fmla="*/ 196 w 1842"/>
              <a:gd name="T75" fmla="*/ 1953 h 2318"/>
              <a:gd name="T76" fmla="*/ 31 w 1842"/>
              <a:gd name="T77" fmla="*/ 1796 h 2318"/>
              <a:gd name="T78" fmla="*/ 9 w 1842"/>
              <a:gd name="T79" fmla="*/ 1482 h 2318"/>
              <a:gd name="T80" fmla="*/ 120 w 1842"/>
              <a:gd name="T81" fmla="*/ 1474 h 2318"/>
              <a:gd name="T82" fmla="*/ 281 w 1842"/>
              <a:gd name="T83" fmla="*/ 1480 h 2318"/>
              <a:gd name="T84" fmla="*/ 355 w 1842"/>
              <a:gd name="T85" fmla="*/ 1415 h 2318"/>
              <a:gd name="T86" fmla="*/ 374 w 1842"/>
              <a:gd name="T87" fmla="*/ 1390 h 2318"/>
              <a:gd name="T88" fmla="*/ 414 w 1842"/>
              <a:gd name="T89" fmla="*/ 1275 h 2318"/>
              <a:gd name="T90" fmla="*/ 405 w 1842"/>
              <a:gd name="T91" fmla="*/ 1008 h 2318"/>
              <a:gd name="T92" fmla="*/ 369 w 1842"/>
              <a:gd name="T93" fmla="*/ 928 h 2318"/>
              <a:gd name="T94" fmla="*/ 343 w 1842"/>
              <a:gd name="T95" fmla="*/ 894 h 2318"/>
              <a:gd name="T96" fmla="*/ 288 w 1842"/>
              <a:gd name="T97" fmla="*/ 852 h 2318"/>
              <a:gd name="T98" fmla="*/ 175 w 1842"/>
              <a:gd name="T99" fmla="*/ 857 h 2318"/>
              <a:gd name="T100" fmla="*/ 33 w 1842"/>
              <a:gd name="T101" fmla="*/ 920 h 2318"/>
              <a:gd name="T102" fmla="*/ 19 w 1842"/>
              <a:gd name="T103" fmla="*/ 601 h 2318"/>
              <a:gd name="T104" fmla="*/ 75 w 1842"/>
              <a:gd name="T105" fmla="*/ 367 h 2318"/>
              <a:gd name="T106" fmla="*/ 303 w 1842"/>
              <a:gd name="T107" fmla="*/ 395 h 2318"/>
              <a:gd name="T108" fmla="*/ 669 w 1842"/>
              <a:gd name="T109" fmla="*/ 421 h 2318"/>
              <a:gd name="T110" fmla="*/ 717 w 1842"/>
              <a:gd name="T111" fmla="*/ 331 h 2318"/>
              <a:gd name="T112" fmla="*/ 648 w 1842"/>
              <a:gd name="T113" fmla="*/ 189 h 2318"/>
              <a:gd name="T114" fmla="*/ 674 w 1842"/>
              <a:gd name="T115" fmla="*/ 78 h 2318"/>
              <a:gd name="T116" fmla="*/ 854 w 1842"/>
              <a:gd name="T117" fmla="*/ 6 h 23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42"/>
              <a:gd name="T178" fmla="*/ 0 h 2318"/>
              <a:gd name="T179" fmla="*/ 1842 w 1842"/>
              <a:gd name="T180" fmla="*/ 2318 h 23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42" h="2318">
                <a:moveTo>
                  <a:pt x="897" y="0"/>
                </a:moveTo>
                <a:lnTo>
                  <a:pt x="947" y="0"/>
                </a:lnTo>
                <a:lnTo>
                  <a:pt x="991" y="6"/>
                </a:lnTo>
                <a:lnTo>
                  <a:pt x="1037" y="14"/>
                </a:lnTo>
                <a:lnTo>
                  <a:pt x="1082" y="26"/>
                </a:lnTo>
                <a:lnTo>
                  <a:pt x="1124" y="44"/>
                </a:lnTo>
                <a:lnTo>
                  <a:pt x="1152" y="59"/>
                </a:lnTo>
                <a:lnTo>
                  <a:pt x="1178" y="80"/>
                </a:lnTo>
                <a:lnTo>
                  <a:pt x="1197" y="103"/>
                </a:lnTo>
                <a:lnTo>
                  <a:pt x="1212" y="129"/>
                </a:lnTo>
                <a:lnTo>
                  <a:pt x="1219" y="158"/>
                </a:lnTo>
                <a:lnTo>
                  <a:pt x="1217" y="186"/>
                </a:lnTo>
                <a:lnTo>
                  <a:pt x="1212" y="217"/>
                </a:lnTo>
                <a:lnTo>
                  <a:pt x="1204" y="245"/>
                </a:lnTo>
                <a:lnTo>
                  <a:pt x="1193" y="271"/>
                </a:lnTo>
                <a:lnTo>
                  <a:pt x="1190" y="277"/>
                </a:lnTo>
                <a:lnTo>
                  <a:pt x="1185" y="286"/>
                </a:lnTo>
                <a:lnTo>
                  <a:pt x="1181" y="293"/>
                </a:lnTo>
                <a:lnTo>
                  <a:pt x="1179" y="302"/>
                </a:lnTo>
                <a:lnTo>
                  <a:pt x="1176" y="310"/>
                </a:lnTo>
                <a:lnTo>
                  <a:pt x="1174" y="319"/>
                </a:lnTo>
                <a:lnTo>
                  <a:pt x="1160" y="347"/>
                </a:lnTo>
                <a:lnTo>
                  <a:pt x="1157" y="359"/>
                </a:lnTo>
                <a:lnTo>
                  <a:pt x="1159" y="374"/>
                </a:lnTo>
                <a:lnTo>
                  <a:pt x="1159" y="376"/>
                </a:lnTo>
                <a:lnTo>
                  <a:pt x="1160" y="380"/>
                </a:lnTo>
                <a:lnTo>
                  <a:pt x="1178" y="397"/>
                </a:lnTo>
                <a:lnTo>
                  <a:pt x="1195" y="406"/>
                </a:lnTo>
                <a:lnTo>
                  <a:pt x="1219" y="412"/>
                </a:lnTo>
                <a:lnTo>
                  <a:pt x="1243" y="416"/>
                </a:lnTo>
                <a:lnTo>
                  <a:pt x="1269" y="418"/>
                </a:lnTo>
                <a:lnTo>
                  <a:pt x="1292" y="419"/>
                </a:lnTo>
                <a:lnTo>
                  <a:pt x="1363" y="421"/>
                </a:lnTo>
                <a:lnTo>
                  <a:pt x="1429" y="416"/>
                </a:lnTo>
                <a:lnTo>
                  <a:pt x="1491" y="407"/>
                </a:lnTo>
                <a:lnTo>
                  <a:pt x="1548" y="395"/>
                </a:lnTo>
                <a:lnTo>
                  <a:pt x="1602" y="381"/>
                </a:lnTo>
                <a:lnTo>
                  <a:pt x="1655" y="366"/>
                </a:lnTo>
                <a:lnTo>
                  <a:pt x="1706" y="350"/>
                </a:lnTo>
                <a:lnTo>
                  <a:pt x="1758" y="335"/>
                </a:lnTo>
                <a:lnTo>
                  <a:pt x="1773" y="393"/>
                </a:lnTo>
                <a:lnTo>
                  <a:pt x="1792" y="456"/>
                </a:lnTo>
                <a:lnTo>
                  <a:pt x="1811" y="522"/>
                </a:lnTo>
                <a:lnTo>
                  <a:pt x="1827" y="589"/>
                </a:lnTo>
                <a:lnTo>
                  <a:pt x="1834" y="636"/>
                </a:lnTo>
                <a:lnTo>
                  <a:pt x="1837" y="686"/>
                </a:lnTo>
                <a:lnTo>
                  <a:pt x="1837" y="804"/>
                </a:lnTo>
                <a:lnTo>
                  <a:pt x="1834" y="833"/>
                </a:lnTo>
                <a:lnTo>
                  <a:pt x="1829" y="861"/>
                </a:lnTo>
                <a:lnTo>
                  <a:pt x="1818" y="885"/>
                </a:lnTo>
                <a:lnTo>
                  <a:pt x="1791" y="876"/>
                </a:lnTo>
                <a:lnTo>
                  <a:pt x="1765" y="864"/>
                </a:lnTo>
                <a:lnTo>
                  <a:pt x="1740" y="852"/>
                </a:lnTo>
                <a:lnTo>
                  <a:pt x="1714" y="842"/>
                </a:lnTo>
                <a:lnTo>
                  <a:pt x="1687" y="833"/>
                </a:lnTo>
                <a:lnTo>
                  <a:pt x="1655" y="828"/>
                </a:lnTo>
                <a:lnTo>
                  <a:pt x="1626" y="826"/>
                </a:lnTo>
                <a:lnTo>
                  <a:pt x="1597" y="828"/>
                </a:lnTo>
                <a:lnTo>
                  <a:pt x="1572" y="835"/>
                </a:lnTo>
                <a:lnTo>
                  <a:pt x="1558" y="842"/>
                </a:lnTo>
                <a:lnTo>
                  <a:pt x="1550" y="850"/>
                </a:lnTo>
                <a:lnTo>
                  <a:pt x="1546" y="852"/>
                </a:lnTo>
                <a:lnTo>
                  <a:pt x="1541" y="852"/>
                </a:lnTo>
                <a:lnTo>
                  <a:pt x="1538" y="854"/>
                </a:lnTo>
                <a:lnTo>
                  <a:pt x="1508" y="878"/>
                </a:lnTo>
                <a:lnTo>
                  <a:pt x="1484" y="909"/>
                </a:lnTo>
                <a:lnTo>
                  <a:pt x="1465" y="942"/>
                </a:lnTo>
                <a:lnTo>
                  <a:pt x="1462" y="947"/>
                </a:lnTo>
                <a:lnTo>
                  <a:pt x="1458" y="951"/>
                </a:lnTo>
                <a:lnTo>
                  <a:pt x="1456" y="956"/>
                </a:lnTo>
                <a:lnTo>
                  <a:pt x="1453" y="961"/>
                </a:lnTo>
                <a:lnTo>
                  <a:pt x="1448" y="984"/>
                </a:lnTo>
                <a:lnTo>
                  <a:pt x="1442" y="1008"/>
                </a:lnTo>
                <a:lnTo>
                  <a:pt x="1441" y="1011"/>
                </a:lnTo>
                <a:lnTo>
                  <a:pt x="1437" y="1017"/>
                </a:lnTo>
                <a:lnTo>
                  <a:pt x="1434" y="1027"/>
                </a:lnTo>
                <a:lnTo>
                  <a:pt x="1427" y="1072"/>
                </a:lnTo>
                <a:lnTo>
                  <a:pt x="1422" y="1122"/>
                </a:lnTo>
                <a:lnTo>
                  <a:pt x="1422" y="1174"/>
                </a:lnTo>
                <a:lnTo>
                  <a:pt x="1423" y="1226"/>
                </a:lnTo>
                <a:lnTo>
                  <a:pt x="1430" y="1273"/>
                </a:lnTo>
                <a:lnTo>
                  <a:pt x="1439" y="1314"/>
                </a:lnTo>
                <a:lnTo>
                  <a:pt x="1444" y="1333"/>
                </a:lnTo>
                <a:lnTo>
                  <a:pt x="1451" y="1354"/>
                </a:lnTo>
                <a:lnTo>
                  <a:pt x="1460" y="1375"/>
                </a:lnTo>
                <a:lnTo>
                  <a:pt x="1468" y="1390"/>
                </a:lnTo>
                <a:lnTo>
                  <a:pt x="1472" y="1392"/>
                </a:lnTo>
                <a:lnTo>
                  <a:pt x="1474" y="1394"/>
                </a:lnTo>
                <a:lnTo>
                  <a:pt x="1477" y="1396"/>
                </a:lnTo>
                <a:lnTo>
                  <a:pt x="1479" y="1399"/>
                </a:lnTo>
                <a:lnTo>
                  <a:pt x="1479" y="1404"/>
                </a:lnTo>
                <a:lnTo>
                  <a:pt x="1481" y="1406"/>
                </a:lnTo>
                <a:lnTo>
                  <a:pt x="1493" y="1422"/>
                </a:lnTo>
                <a:lnTo>
                  <a:pt x="1507" y="1437"/>
                </a:lnTo>
                <a:lnTo>
                  <a:pt x="1519" y="1449"/>
                </a:lnTo>
                <a:lnTo>
                  <a:pt x="1524" y="1451"/>
                </a:lnTo>
                <a:lnTo>
                  <a:pt x="1527" y="1453"/>
                </a:lnTo>
                <a:lnTo>
                  <a:pt x="1538" y="1456"/>
                </a:lnTo>
                <a:lnTo>
                  <a:pt x="1543" y="1460"/>
                </a:lnTo>
                <a:lnTo>
                  <a:pt x="1546" y="1461"/>
                </a:lnTo>
                <a:lnTo>
                  <a:pt x="1553" y="1468"/>
                </a:lnTo>
                <a:lnTo>
                  <a:pt x="1576" y="1475"/>
                </a:lnTo>
                <a:lnTo>
                  <a:pt x="1597" y="1479"/>
                </a:lnTo>
                <a:lnTo>
                  <a:pt x="1626" y="1479"/>
                </a:lnTo>
                <a:lnTo>
                  <a:pt x="1650" y="1474"/>
                </a:lnTo>
                <a:lnTo>
                  <a:pt x="1695" y="1453"/>
                </a:lnTo>
                <a:lnTo>
                  <a:pt x="1714" y="1441"/>
                </a:lnTo>
                <a:lnTo>
                  <a:pt x="1735" y="1430"/>
                </a:lnTo>
                <a:lnTo>
                  <a:pt x="1756" y="1418"/>
                </a:lnTo>
                <a:lnTo>
                  <a:pt x="1778" y="1410"/>
                </a:lnTo>
                <a:lnTo>
                  <a:pt x="1804" y="1403"/>
                </a:lnTo>
                <a:lnTo>
                  <a:pt x="1834" y="1399"/>
                </a:lnTo>
                <a:lnTo>
                  <a:pt x="1841" y="1423"/>
                </a:lnTo>
                <a:lnTo>
                  <a:pt x="1842" y="1449"/>
                </a:lnTo>
                <a:lnTo>
                  <a:pt x="1842" y="1560"/>
                </a:lnTo>
                <a:lnTo>
                  <a:pt x="1836" y="1640"/>
                </a:lnTo>
                <a:lnTo>
                  <a:pt x="1825" y="1716"/>
                </a:lnTo>
                <a:lnTo>
                  <a:pt x="1811" y="1787"/>
                </a:lnTo>
                <a:lnTo>
                  <a:pt x="1794" y="1854"/>
                </a:lnTo>
                <a:lnTo>
                  <a:pt x="1777" y="1917"/>
                </a:lnTo>
                <a:lnTo>
                  <a:pt x="1773" y="1934"/>
                </a:lnTo>
                <a:lnTo>
                  <a:pt x="1763" y="1969"/>
                </a:lnTo>
                <a:lnTo>
                  <a:pt x="1752" y="1982"/>
                </a:lnTo>
                <a:lnTo>
                  <a:pt x="1707" y="1967"/>
                </a:lnTo>
                <a:lnTo>
                  <a:pt x="1659" y="1957"/>
                </a:lnTo>
                <a:lnTo>
                  <a:pt x="1610" y="1944"/>
                </a:lnTo>
                <a:lnTo>
                  <a:pt x="1564" y="1932"/>
                </a:lnTo>
                <a:lnTo>
                  <a:pt x="1515" y="1918"/>
                </a:lnTo>
                <a:lnTo>
                  <a:pt x="1465" y="1910"/>
                </a:lnTo>
                <a:lnTo>
                  <a:pt x="1415" y="1905"/>
                </a:lnTo>
                <a:lnTo>
                  <a:pt x="1359" y="1899"/>
                </a:lnTo>
                <a:lnTo>
                  <a:pt x="1295" y="1898"/>
                </a:lnTo>
                <a:lnTo>
                  <a:pt x="1186" y="1898"/>
                </a:lnTo>
                <a:lnTo>
                  <a:pt x="1162" y="1901"/>
                </a:lnTo>
                <a:lnTo>
                  <a:pt x="1143" y="1908"/>
                </a:lnTo>
                <a:lnTo>
                  <a:pt x="1131" y="1917"/>
                </a:lnTo>
                <a:lnTo>
                  <a:pt x="1124" y="1932"/>
                </a:lnTo>
                <a:lnTo>
                  <a:pt x="1122" y="1951"/>
                </a:lnTo>
                <a:lnTo>
                  <a:pt x="1124" y="1970"/>
                </a:lnTo>
                <a:lnTo>
                  <a:pt x="1127" y="1991"/>
                </a:lnTo>
                <a:lnTo>
                  <a:pt x="1134" y="2012"/>
                </a:lnTo>
                <a:lnTo>
                  <a:pt x="1145" y="2033"/>
                </a:lnTo>
                <a:lnTo>
                  <a:pt x="1153" y="2052"/>
                </a:lnTo>
                <a:lnTo>
                  <a:pt x="1162" y="2069"/>
                </a:lnTo>
                <a:lnTo>
                  <a:pt x="1174" y="2088"/>
                </a:lnTo>
                <a:lnTo>
                  <a:pt x="1195" y="2133"/>
                </a:lnTo>
                <a:lnTo>
                  <a:pt x="1202" y="2156"/>
                </a:lnTo>
                <a:lnTo>
                  <a:pt x="1204" y="2175"/>
                </a:lnTo>
                <a:lnTo>
                  <a:pt x="1198" y="2199"/>
                </a:lnTo>
                <a:lnTo>
                  <a:pt x="1188" y="2221"/>
                </a:lnTo>
                <a:lnTo>
                  <a:pt x="1171" y="2242"/>
                </a:lnTo>
                <a:lnTo>
                  <a:pt x="1152" y="2261"/>
                </a:lnTo>
                <a:lnTo>
                  <a:pt x="1131" y="2275"/>
                </a:lnTo>
                <a:lnTo>
                  <a:pt x="1096" y="2292"/>
                </a:lnTo>
                <a:lnTo>
                  <a:pt x="1055" y="2304"/>
                </a:lnTo>
                <a:lnTo>
                  <a:pt x="1008" y="2313"/>
                </a:lnTo>
                <a:lnTo>
                  <a:pt x="958" y="2318"/>
                </a:lnTo>
                <a:lnTo>
                  <a:pt x="907" y="2318"/>
                </a:lnTo>
                <a:lnTo>
                  <a:pt x="857" y="2315"/>
                </a:lnTo>
                <a:lnTo>
                  <a:pt x="811" y="2310"/>
                </a:lnTo>
                <a:lnTo>
                  <a:pt x="767" y="2299"/>
                </a:lnTo>
                <a:lnTo>
                  <a:pt x="731" y="2285"/>
                </a:lnTo>
                <a:lnTo>
                  <a:pt x="717" y="2279"/>
                </a:lnTo>
                <a:lnTo>
                  <a:pt x="700" y="2268"/>
                </a:lnTo>
                <a:lnTo>
                  <a:pt x="682" y="2256"/>
                </a:lnTo>
                <a:lnTo>
                  <a:pt x="669" y="2244"/>
                </a:lnTo>
                <a:lnTo>
                  <a:pt x="648" y="2220"/>
                </a:lnTo>
                <a:lnTo>
                  <a:pt x="639" y="2206"/>
                </a:lnTo>
                <a:lnTo>
                  <a:pt x="629" y="2175"/>
                </a:lnTo>
                <a:lnTo>
                  <a:pt x="627" y="2142"/>
                </a:lnTo>
                <a:lnTo>
                  <a:pt x="632" y="2111"/>
                </a:lnTo>
                <a:lnTo>
                  <a:pt x="641" y="2079"/>
                </a:lnTo>
                <a:lnTo>
                  <a:pt x="651" y="2052"/>
                </a:lnTo>
                <a:lnTo>
                  <a:pt x="660" y="2031"/>
                </a:lnTo>
                <a:lnTo>
                  <a:pt x="669" y="2012"/>
                </a:lnTo>
                <a:lnTo>
                  <a:pt x="677" y="1991"/>
                </a:lnTo>
                <a:lnTo>
                  <a:pt x="684" y="1969"/>
                </a:lnTo>
                <a:lnTo>
                  <a:pt x="686" y="1944"/>
                </a:lnTo>
                <a:lnTo>
                  <a:pt x="670" y="1929"/>
                </a:lnTo>
                <a:lnTo>
                  <a:pt x="649" y="1917"/>
                </a:lnTo>
                <a:lnTo>
                  <a:pt x="627" y="1910"/>
                </a:lnTo>
                <a:lnTo>
                  <a:pt x="601" y="1906"/>
                </a:lnTo>
                <a:lnTo>
                  <a:pt x="575" y="1905"/>
                </a:lnTo>
                <a:lnTo>
                  <a:pt x="547" y="1903"/>
                </a:lnTo>
                <a:lnTo>
                  <a:pt x="488" y="1901"/>
                </a:lnTo>
                <a:lnTo>
                  <a:pt x="430" y="1905"/>
                </a:lnTo>
                <a:lnTo>
                  <a:pt x="374" y="1910"/>
                </a:lnTo>
                <a:lnTo>
                  <a:pt x="312" y="1920"/>
                </a:lnTo>
                <a:lnTo>
                  <a:pt x="251" y="1936"/>
                </a:lnTo>
                <a:lnTo>
                  <a:pt x="196" y="1953"/>
                </a:lnTo>
                <a:lnTo>
                  <a:pt x="140" y="1969"/>
                </a:lnTo>
                <a:lnTo>
                  <a:pt x="87" y="1982"/>
                </a:lnTo>
                <a:lnTo>
                  <a:pt x="71" y="1924"/>
                </a:lnTo>
                <a:lnTo>
                  <a:pt x="50" y="1861"/>
                </a:lnTo>
                <a:lnTo>
                  <a:pt x="31" y="1796"/>
                </a:lnTo>
                <a:lnTo>
                  <a:pt x="14" y="1726"/>
                </a:lnTo>
                <a:lnTo>
                  <a:pt x="5" y="1657"/>
                </a:lnTo>
                <a:lnTo>
                  <a:pt x="4" y="1598"/>
                </a:lnTo>
                <a:lnTo>
                  <a:pt x="5" y="1538"/>
                </a:lnTo>
                <a:lnTo>
                  <a:pt x="9" y="1482"/>
                </a:lnTo>
                <a:lnTo>
                  <a:pt x="14" y="1456"/>
                </a:lnTo>
                <a:lnTo>
                  <a:pt x="24" y="1434"/>
                </a:lnTo>
                <a:lnTo>
                  <a:pt x="57" y="1446"/>
                </a:lnTo>
                <a:lnTo>
                  <a:pt x="89" y="1461"/>
                </a:lnTo>
                <a:lnTo>
                  <a:pt x="120" y="1474"/>
                </a:lnTo>
                <a:lnTo>
                  <a:pt x="153" y="1486"/>
                </a:lnTo>
                <a:lnTo>
                  <a:pt x="184" y="1494"/>
                </a:lnTo>
                <a:lnTo>
                  <a:pt x="218" y="1496"/>
                </a:lnTo>
                <a:lnTo>
                  <a:pt x="255" y="1491"/>
                </a:lnTo>
                <a:lnTo>
                  <a:pt x="281" y="1480"/>
                </a:lnTo>
                <a:lnTo>
                  <a:pt x="308" y="1465"/>
                </a:lnTo>
                <a:lnTo>
                  <a:pt x="333" y="1446"/>
                </a:lnTo>
                <a:lnTo>
                  <a:pt x="352" y="1425"/>
                </a:lnTo>
                <a:lnTo>
                  <a:pt x="355" y="1418"/>
                </a:lnTo>
                <a:lnTo>
                  <a:pt x="355" y="1415"/>
                </a:lnTo>
                <a:lnTo>
                  <a:pt x="357" y="1410"/>
                </a:lnTo>
                <a:lnTo>
                  <a:pt x="359" y="1406"/>
                </a:lnTo>
                <a:lnTo>
                  <a:pt x="367" y="1397"/>
                </a:lnTo>
                <a:lnTo>
                  <a:pt x="372" y="1394"/>
                </a:lnTo>
                <a:lnTo>
                  <a:pt x="374" y="1390"/>
                </a:lnTo>
                <a:lnTo>
                  <a:pt x="381" y="1373"/>
                </a:lnTo>
                <a:lnTo>
                  <a:pt x="390" y="1352"/>
                </a:lnTo>
                <a:lnTo>
                  <a:pt x="398" y="1333"/>
                </a:lnTo>
                <a:lnTo>
                  <a:pt x="405" y="1314"/>
                </a:lnTo>
                <a:lnTo>
                  <a:pt x="414" y="1275"/>
                </a:lnTo>
                <a:lnTo>
                  <a:pt x="419" y="1231"/>
                </a:lnTo>
                <a:lnTo>
                  <a:pt x="423" y="1183"/>
                </a:lnTo>
                <a:lnTo>
                  <a:pt x="419" y="1089"/>
                </a:lnTo>
                <a:lnTo>
                  <a:pt x="414" y="1046"/>
                </a:lnTo>
                <a:lnTo>
                  <a:pt x="405" y="1008"/>
                </a:lnTo>
                <a:lnTo>
                  <a:pt x="392" y="966"/>
                </a:lnTo>
                <a:lnTo>
                  <a:pt x="383" y="946"/>
                </a:lnTo>
                <a:lnTo>
                  <a:pt x="374" y="930"/>
                </a:lnTo>
                <a:lnTo>
                  <a:pt x="372" y="928"/>
                </a:lnTo>
                <a:lnTo>
                  <a:pt x="369" y="928"/>
                </a:lnTo>
                <a:lnTo>
                  <a:pt x="367" y="927"/>
                </a:lnTo>
                <a:lnTo>
                  <a:pt x="364" y="920"/>
                </a:lnTo>
                <a:lnTo>
                  <a:pt x="364" y="918"/>
                </a:lnTo>
                <a:lnTo>
                  <a:pt x="362" y="914"/>
                </a:lnTo>
                <a:lnTo>
                  <a:pt x="343" y="894"/>
                </a:lnTo>
                <a:lnTo>
                  <a:pt x="324" y="875"/>
                </a:lnTo>
                <a:lnTo>
                  <a:pt x="301" y="861"/>
                </a:lnTo>
                <a:lnTo>
                  <a:pt x="296" y="857"/>
                </a:lnTo>
                <a:lnTo>
                  <a:pt x="291" y="856"/>
                </a:lnTo>
                <a:lnTo>
                  <a:pt x="288" y="852"/>
                </a:lnTo>
                <a:lnTo>
                  <a:pt x="256" y="842"/>
                </a:lnTo>
                <a:lnTo>
                  <a:pt x="236" y="840"/>
                </a:lnTo>
                <a:lnTo>
                  <a:pt x="215" y="843"/>
                </a:lnTo>
                <a:lnTo>
                  <a:pt x="196" y="849"/>
                </a:lnTo>
                <a:lnTo>
                  <a:pt x="175" y="857"/>
                </a:lnTo>
                <a:lnTo>
                  <a:pt x="146" y="871"/>
                </a:lnTo>
                <a:lnTo>
                  <a:pt x="121" y="885"/>
                </a:lnTo>
                <a:lnTo>
                  <a:pt x="80" y="906"/>
                </a:lnTo>
                <a:lnTo>
                  <a:pt x="57" y="914"/>
                </a:lnTo>
                <a:lnTo>
                  <a:pt x="33" y="920"/>
                </a:lnTo>
                <a:lnTo>
                  <a:pt x="5" y="920"/>
                </a:lnTo>
                <a:lnTo>
                  <a:pt x="0" y="835"/>
                </a:lnTo>
                <a:lnTo>
                  <a:pt x="2" y="753"/>
                </a:lnTo>
                <a:lnTo>
                  <a:pt x="9" y="676"/>
                </a:lnTo>
                <a:lnTo>
                  <a:pt x="19" y="601"/>
                </a:lnTo>
                <a:lnTo>
                  <a:pt x="33" y="530"/>
                </a:lnTo>
                <a:lnTo>
                  <a:pt x="50" y="463"/>
                </a:lnTo>
                <a:lnTo>
                  <a:pt x="68" y="400"/>
                </a:lnTo>
                <a:lnTo>
                  <a:pt x="71" y="385"/>
                </a:lnTo>
                <a:lnTo>
                  <a:pt x="75" y="367"/>
                </a:lnTo>
                <a:lnTo>
                  <a:pt x="82" y="354"/>
                </a:lnTo>
                <a:lnTo>
                  <a:pt x="90" y="340"/>
                </a:lnTo>
                <a:lnTo>
                  <a:pt x="158" y="359"/>
                </a:lnTo>
                <a:lnTo>
                  <a:pt x="229" y="378"/>
                </a:lnTo>
                <a:lnTo>
                  <a:pt x="303" y="395"/>
                </a:lnTo>
                <a:lnTo>
                  <a:pt x="383" y="409"/>
                </a:lnTo>
                <a:lnTo>
                  <a:pt x="464" y="419"/>
                </a:lnTo>
                <a:lnTo>
                  <a:pt x="551" y="425"/>
                </a:lnTo>
                <a:lnTo>
                  <a:pt x="639" y="423"/>
                </a:lnTo>
                <a:lnTo>
                  <a:pt x="669" y="421"/>
                </a:lnTo>
                <a:lnTo>
                  <a:pt x="691" y="416"/>
                </a:lnTo>
                <a:lnTo>
                  <a:pt x="707" y="406"/>
                </a:lnTo>
                <a:lnTo>
                  <a:pt x="717" y="388"/>
                </a:lnTo>
                <a:lnTo>
                  <a:pt x="720" y="361"/>
                </a:lnTo>
                <a:lnTo>
                  <a:pt x="717" y="331"/>
                </a:lnTo>
                <a:lnTo>
                  <a:pt x="707" y="298"/>
                </a:lnTo>
                <a:lnTo>
                  <a:pt x="689" y="269"/>
                </a:lnTo>
                <a:lnTo>
                  <a:pt x="674" y="239"/>
                </a:lnTo>
                <a:lnTo>
                  <a:pt x="658" y="212"/>
                </a:lnTo>
                <a:lnTo>
                  <a:pt x="648" y="189"/>
                </a:lnTo>
                <a:lnTo>
                  <a:pt x="641" y="167"/>
                </a:lnTo>
                <a:lnTo>
                  <a:pt x="639" y="142"/>
                </a:lnTo>
                <a:lnTo>
                  <a:pt x="646" y="120"/>
                </a:lnTo>
                <a:lnTo>
                  <a:pt x="658" y="97"/>
                </a:lnTo>
                <a:lnTo>
                  <a:pt x="674" y="78"/>
                </a:lnTo>
                <a:lnTo>
                  <a:pt x="701" y="54"/>
                </a:lnTo>
                <a:lnTo>
                  <a:pt x="734" y="35"/>
                </a:lnTo>
                <a:lnTo>
                  <a:pt x="772" y="21"/>
                </a:lnTo>
                <a:lnTo>
                  <a:pt x="812" y="13"/>
                </a:lnTo>
                <a:lnTo>
                  <a:pt x="854" y="6"/>
                </a:lnTo>
                <a:lnTo>
                  <a:pt x="897" y="0"/>
                </a:lnTo>
                <a:close/>
              </a:path>
            </a:pathLst>
          </a:custGeom>
          <a:solidFill>
            <a:schemeClr val="tx2"/>
          </a:solidFill>
          <a:ln w="12700">
            <a:solidFill>
              <a:schemeClr val="bg1"/>
            </a:solidFill>
            <a:round/>
            <a:headEnd/>
            <a:tailEnd/>
          </a:ln>
        </p:spPr>
        <p:txBody>
          <a:bodyPr/>
          <a:lstStyle/>
          <a:p>
            <a:endParaRPr lang="en-US"/>
          </a:p>
        </p:txBody>
      </p:sp>
      <p:sp>
        <p:nvSpPr>
          <p:cNvPr id="199" name="Rectangle 56"/>
          <p:cNvSpPr>
            <a:spLocks noChangeArrowheads="1"/>
          </p:cNvSpPr>
          <p:nvPr/>
        </p:nvSpPr>
        <p:spPr bwMode="gray">
          <a:xfrm rot="19254417">
            <a:off x="3715911" y="2291547"/>
            <a:ext cx="762000" cy="965200"/>
          </a:xfrm>
          <a:prstGeom prst="rect">
            <a:avLst/>
          </a:prstGeom>
          <a:noFill/>
          <a:ln w="19050" algn="ctr">
            <a:noFill/>
            <a:miter lim="800000"/>
            <a:headEnd/>
            <a:tailEnd/>
          </a:ln>
          <a:effectLst/>
        </p:spPr>
        <p:txBody>
          <a:bodyPr lIns="72000" tIns="72000" rIns="72000" bIns="72000" anchor="ctr"/>
          <a:lstStyle/>
          <a:p>
            <a:pPr lvl="0" algn="ctr" fontAlgn="base">
              <a:spcBef>
                <a:spcPct val="0"/>
              </a:spcBef>
              <a:spcAft>
                <a:spcPct val="0"/>
              </a:spcAft>
              <a:defRPr/>
            </a:pPr>
            <a:r>
              <a:rPr lang="en-US" sz="1400" b="1" dirty="0">
                <a:solidFill>
                  <a:schemeClr val="bg1"/>
                </a:solidFill>
              </a:rPr>
              <a:t>Text</a:t>
            </a:r>
          </a:p>
        </p:txBody>
      </p:sp>
      <p:sp>
        <p:nvSpPr>
          <p:cNvPr id="204" name="AutoShape 18"/>
          <p:cNvSpPr>
            <a:spLocks/>
          </p:cNvSpPr>
          <p:nvPr/>
        </p:nvSpPr>
        <p:spPr bwMode="gray">
          <a:xfrm rot="-1395939">
            <a:off x="1422400" y="2049020"/>
            <a:ext cx="1522413" cy="1213484"/>
          </a:xfrm>
          <a:custGeom>
            <a:avLst/>
            <a:gdLst>
              <a:gd name="T0" fmla="*/ 1816 w 2318"/>
              <a:gd name="T1" fmla="*/ 41 h 1845"/>
              <a:gd name="T2" fmla="*/ 1979 w 2318"/>
              <a:gd name="T3" fmla="*/ 90 h 1845"/>
              <a:gd name="T4" fmla="*/ 1896 w 2318"/>
              <a:gd name="T5" fmla="*/ 547 h 1845"/>
              <a:gd name="T6" fmla="*/ 1906 w 2318"/>
              <a:gd name="T7" fmla="*/ 699 h 1845"/>
              <a:gd name="T8" fmla="*/ 2008 w 2318"/>
              <a:gd name="T9" fmla="*/ 709 h 1845"/>
              <a:gd name="T10" fmla="*/ 2150 w 2318"/>
              <a:gd name="T11" fmla="*/ 642 h 1845"/>
              <a:gd name="T12" fmla="*/ 2237 w 2318"/>
              <a:gd name="T13" fmla="*/ 670 h 1845"/>
              <a:gd name="T14" fmla="*/ 2308 w 2318"/>
              <a:gd name="T15" fmla="*/ 824 h 1845"/>
              <a:gd name="T16" fmla="*/ 2310 w 2318"/>
              <a:gd name="T17" fmla="*/ 1004 h 1845"/>
              <a:gd name="T18" fmla="*/ 2273 w 2318"/>
              <a:gd name="T19" fmla="*/ 1133 h 1845"/>
              <a:gd name="T20" fmla="*/ 2256 w 2318"/>
              <a:gd name="T21" fmla="*/ 1158 h 1845"/>
              <a:gd name="T22" fmla="*/ 2140 w 2318"/>
              <a:gd name="T23" fmla="*/ 1220 h 1845"/>
              <a:gd name="T24" fmla="*/ 2015 w 2318"/>
              <a:gd name="T25" fmla="*/ 1177 h 1845"/>
              <a:gd name="T26" fmla="*/ 1922 w 2318"/>
              <a:gd name="T27" fmla="*/ 1177 h 1845"/>
              <a:gd name="T28" fmla="*/ 1897 w 2318"/>
              <a:gd name="T29" fmla="*/ 1339 h 1845"/>
              <a:gd name="T30" fmla="*/ 1927 w 2318"/>
              <a:gd name="T31" fmla="*/ 1570 h 1845"/>
              <a:gd name="T32" fmla="*/ 1858 w 2318"/>
              <a:gd name="T33" fmla="*/ 1795 h 1845"/>
              <a:gd name="T34" fmla="*/ 1539 w 2318"/>
              <a:gd name="T35" fmla="*/ 1840 h 1845"/>
              <a:gd name="T36" fmla="*/ 1444 w 2318"/>
              <a:gd name="T37" fmla="*/ 1786 h 1845"/>
              <a:gd name="T38" fmla="*/ 1492 w 2318"/>
              <a:gd name="T39" fmla="*/ 1620 h 1845"/>
              <a:gd name="T40" fmla="*/ 1407 w 2318"/>
              <a:gd name="T41" fmla="*/ 1483 h 1845"/>
              <a:gd name="T42" fmla="*/ 1162 w 2318"/>
              <a:gd name="T43" fmla="*/ 1423 h 1845"/>
              <a:gd name="T44" fmla="*/ 931 w 2318"/>
              <a:gd name="T45" fmla="*/ 1471 h 1845"/>
              <a:gd name="T46" fmla="*/ 848 w 2318"/>
              <a:gd name="T47" fmla="*/ 1561 h 1845"/>
              <a:gd name="T48" fmla="*/ 859 w 2318"/>
              <a:gd name="T49" fmla="*/ 1679 h 1845"/>
              <a:gd name="T50" fmla="*/ 914 w 2318"/>
              <a:gd name="T51" fmla="*/ 1805 h 1845"/>
              <a:gd name="T52" fmla="*/ 758 w 2318"/>
              <a:gd name="T53" fmla="*/ 1841 h 1845"/>
              <a:gd name="T54" fmla="*/ 336 w 2318"/>
              <a:gd name="T55" fmla="*/ 1757 h 1845"/>
              <a:gd name="T56" fmla="*/ 412 w 2318"/>
              <a:gd name="T57" fmla="*/ 1423 h 1845"/>
              <a:gd name="T58" fmla="*/ 421 w 2318"/>
              <a:gd name="T59" fmla="*/ 1184 h 1845"/>
              <a:gd name="T60" fmla="*/ 363 w 2318"/>
              <a:gd name="T61" fmla="*/ 1123 h 1845"/>
              <a:gd name="T62" fmla="*/ 266 w 2318"/>
              <a:gd name="T63" fmla="*/ 1152 h 1845"/>
              <a:gd name="T64" fmla="*/ 147 w 2318"/>
              <a:gd name="T65" fmla="*/ 1208 h 1845"/>
              <a:gd name="T66" fmla="*/ 62 w 2318"/>
              <a:gd name="T67" fmla="*/ 1161 h 1845"/>
              <a:gd name="T68" fmla="*/ 53 w 2318"/>
              <a:gd name="T69" fmla="*/ 1144 h 1845"/>
              <a:gd name="T70" fmla="*/ 21 w 2318"/>
              <a:gd name="T71" fmla="*/ 1076 h 1845"/>
              <a:gd name="T72" fmla="*/ 8 w 2318"/>
              <a:gd name="T73" fmla="*/ 820 h 1845"/>
              <a:gd name="T74" fmla="*/ 78 w 2318"/>
              <a:gd name="T75" fmla="*/ 666 h 1845"/>
              <a:gd name="T76" fmla="*/ 216 w 2318"/>
              <a:gd name="T77" fmla="*/ 635 h 1845"/>
              <a:gd name="T78" fmla="*/ 351 w 2318"/>
              <a:gd name="T79" fmla="*/ 685 h 1845"/>
              <a:gd name="T80" fmla="*/ 408 w 2318"/>
              <a:gd name="T81" fmla="*/ 623 h 1845"/>
              <a:gd name="T82" fmla="*/ 414 w 2318"/>
              <a:gd name="T83" fmla="*/ 429 h 1845"/>
              <a:gd name="T84" fmla="*/ 348 w 2318"/>
              <a:gd name="T85" fmla="*/ 136 h 1845"/>
              <a:gd name="T86" fmla="*/ 588 w 2318"/>
              <a:gd name="T87" fmla="*/ 17 h 1845"/>
              <a:gd name="T88" fmla="*/ 829 w 2318"/>
              <a:gd name="T89" fmla="*/ 10 h 1845"/>
              <a:gd name="T90" fmla="*/ 843 w 2318"/>
              <a:gd name="T91" fmla="*/ 128 h 1845"/>
              <a:gd name="T92" fmla="*/ 824 w 2318"/>
              <a:gd name="T93" fmla="*/ 251 h 1845"/>
              <a:gd name="T94" fmla="*/ 878 w 2318"/>
              <a:gd name="T95" fmla="*/ 339 h 1845"/>
              <a:gd name="T96" fmla="*/ 895 w 2318"/>
              <a:gd name="T97" fmla="*/ 353 h 1845"/>
              <a:gd name="T98" fmla="*/ 912 w 2318"/>
              <a:gd name="T99" fmla="*/ 361 h 1845"/>
              <a:gd name="T100" fmla="*/ 973 w 2318"/>
              <a:gd name="T101" fmla="*/ 394 h 1845"/>
              <a:gd name="T102" fmla="*/ 1212 w 2318"/>
              <a:gd name="T103" fmla="*/ 420 h 1845"/>
              <a:gd name="T104" fmla="*/ 1376 w 2318"/>
              <a:gd name="T105" fmla="*/ 382 h 1845"/>
              <a:gd name="T106" fmla="*/ 1442 w 2318"/>
              <a:gd name="T107" fmla="*/ 327 h 1845"/>
              <a:gd name="T108" fmla="*/ 1475 w 2318"/>
              <a:gd name="T109" fmla="*/ 214 h 1845"/>
              <a:gd name="T110" fmla="*/ 1437 w 2318"/>
              <a:gd name="T111" fmla="*/ 123 h 1845"/>
              <a:gd name="T112" fmla="*/ 1402 w 2318"/>
              <a:gd name="T113" fmla="*/ 60 h 184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18"/>
              <a:gd name="T172" fmla="*/ 0 h 1845"/>
              <a:gd name="T173" fmla="*/ 2318 w 2318"/>
              <a:gd name="T174" fmla="*/ 1845 h 184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18" h="1845">
                <a:moveTo>
                  <a:pt x="1489" y="0"/>
                </a:moveTo>
                <a:lnTo>
                  <a:pt x="1577" y="3"/>
                </a:lnTo>
                <a:lnTo>
                  <a:pt x="1662" y="12"/>
                </a:lnTo>
                <a:lnTo>
                  <a:pt x="1742" y="24"/>
                </a:lnTo>
                <a:lnTo>
                  <a:pt x="1816" y="41"/>
                </a:lnTo>
                <a:lnTo>
                  <a:pt x="1884" y="58"/>
                </a:lnTo>
                <a:lnTo>
                  <a:pt x="1910" y="65"/>
                </a:lnTo>
                <a:lnTo>
                  <a:pt x="1936" y="71"/>
                </a:lnTo>
                <a:lnTo>
                  <a:pt x="1958" y="79"/>
                </a:lnTo>
                <a:lnTo>
                  <a:pt x="1979" y="90"/>
                </a:lnTo>
                <a:lnTo>
                  <a:pt x="1949" y="195"/>
                </a:lnTo>
                <a:lnTo>
                  <a:pt x="1922" y="301"/>
                </a:lnTo>
                <a:lnTo>
                  <a:pt x="1908" y="379"/>
                </a:lnTo>
                <a:lnTo>
                  <a:pt x="1899" y="460"/>
                </a:lnTo>
                <a:lnTo>
                  <a:pt x="1896" y="547"/>
                </a:lnTo>
                <a:lnTo>
                  <a:pt x="1894" y="573"/>
                </a:lnTo>
                <a:lnTo>
                  <a:pt x="1894" y="630"/>
                </a:lnTo>
                <a:lnTo>
                  <a:pt x="1896" y="657"/>
                </a:lnTo>
                <a:lnTo>
                  <a:pt x="1899" y="682"/>
                </a:lnTo>
                <a:lnTo>
                  <a:pt x="1906" y="699"/>
                </a:lnTo>
                <a:lnTo>
                  <a:pt x="1915" y="711"/>
                </a:lnTo>
                <a:lnTo>
                  <a:pt x="1937" y="721"/>
                </a:lnTo>
                <a:lnTo>
                  <a:pt x="1960" y="721"/>
                </a:lnTo>
                <a:lnTo>
                  <a:pt x="1984" y="718"/>
                </a:lnTo>
                <a:lnTo>
                  <a:pt x="2008" y="709"/>
                </a:lnTo>
                <a:lnTo>
                  <a:pt x="2029" y="699"/>
                </a:lnTo>
                <a:lnTo>
                  <a:pt x="2048" y="689"/>
                </a:lnTo>
                <a:lnTo>
                  <a:pt x="2107" y="661"/>
                </a:lnTo>
                <a:lnTo>
                  <a:pt x="2129" y="650"/>
                </a:lnTo>
                <a:lnTo>
                  <a:pt x="2150" y="642"/>
                </a:lnTo>
                <a:lnTo>
                  <a:pt x="2171" y="638"/>
                </a:lnTo>
                <a:lnTo>
                  <a:pt x="2187" y="642"/>
                </a:lnTo>
                <a:lnTo>
                  <a:pt x="2204" y="649"/>
                </a:lnTo>
                <a:lnTo>
                  <a:pt x="2221" y="659"/>
                </a:lnTo>
                <a:lnTo>
                  <a:pt x="2237" y="670"/>
                </a:lnTo>
                <a:lnTo>
                  <a:pt x="2254" y="689"/>
                </a:lnTo>
                <a:lnTo>
                  <a:pt x="2268" y="708"/>
                </a:lnTo>
                <a:lnTo>
                  <a:pt x="2285" y="742"/>
                </a:lnTo>
                <a:lnTo>
                  <a:pt x="2299" y="782"/>
                </a:lnTo>
                <a:lnTo>
                  <a:pt x="2308" y="824"/>
                </a:lnTo>
                <a:lnTo>
                  <a:pt x="2315" y="869"/>
                </a:lnTo>
                <a:lnTo>
                  <a:pt x="2318" y="912"/>
                </a:lnTo>
                <a:lnTo>
                  <a:pt x="2318" y="931"/>
                </a:lnTo>
                <a:lnTo>
                  <a:pt x="2315" y="966"/>
                </a:lnTo>
                <a:lnTo>
                  <a:pt x="2310" y="1004"/>
                </a:lnTo>
                <a:lnTo>
                  <a:pt x="2303" y="1042"/>
                </a:lnTo>
                <a:lnTo>
                  <a:pt x="2296" y="1075"/>
                </a:lnTo>
                <a:lnTo>
                  <a:pt x="2287" y="1104"/>
                </a:lnTo>
                <a:lnTo>
                  <a:pt x="2275" y="1130"/>
                </a:lnTo>
                <a:lnTo>
                  <a:pt x="2273" y="1133"/>
                </a:lnTo>
                <a:lnTo>
                  <a:pt x="2270" y="1135"/>
                </a:lnTo>
                <a:lnTo>
                  <a:pt x="2266" y="1139"/>
                </a:lnTo>
                <a:lnTo>
                  <a:pt x="2261" y="1149"/>
                </a:lnTo>
                <a:lnTo>
                  <a:pt x="2258" y="1154"/>
                </a:lnTo>
                <a:lnTo>
                  <a:pt x="2256" y="1158"/>
                </a:lnTo>
                <a:lnTo>
                  <a:pt x="2239" y="1178"/>
                </a:lnTo>
                <a:lnTo>
                  <a:pt x="2218" y="1196"/>
                </a:lnTo>
                <a:lnTo>
                  <a:pt x="2194" y="1211"/>
                </a:lnTo>
                <a:lnTo>
                  <a:pt x="2168" y="1218"/>
                </a:lnTo>
                <a:lnTo>
                  <a:pt x="2140" y="1220"/>
                </a:lnTo>
                <a:lnTo>
                  <a:pt x="2109" y="1215"/>
                </a:lnTo>
                <a:lnTo>
                  <a:pt x="2079" y="1206"/>
                </a:lnTo>
                <a:lnTo>
                  <a:pt x="2053" y="1196"/>
                </a:lnTo>
                <a:lnTo>
                  <a:pt x="2034" y="1187"/>
                </a:lnTo>
                <a:lnTo>
                  <a:pt x="2015" y="1177"/>
                </a:lnTo>
                <a:lnTo>
                  <a:pt x="1994" y="1168"/>
                </a:lnTo>
                <a:lnTo>
                  <a:pt x="1974" y="1161"/>
                </a:lnTo>
                <a:lnTo>
                  <a:pt x="1955" y="1159"/>
                </a:lnTo>
                <a:lnTo>
                  <a:pt x="1937" y="1165"/>
                </a:lnTo>
                <a:lnTo>
                  <a:pt x="1922" y="1177"/>
                </a:lnTo>
                <a:lnTo>
                  <a:pt x="1917" y="1187"/>
                </a:lnTo>
                <a:lnTo>
                  <a:pt x="1910" y="1211"/>
                </a:lnTo>
                <a:lnTo>
                  <a:pt x="1903" y="1249"/>
                </a:lnTo>
                <a:lnTo>
                  <a:pt x="1897" y="1293"/>
                </a:lnTo>
                <a:lnTo>
                  <a:pt x="1897" y="1339"/>
                </a:lnTo>
                <a:lnTo>
                  <a:pt x="1899" y="1384"/>
                </a:lnTo>
                <a:lnTo>
                  <a:pt x="1903" y="1426"/>
                </a:lnTo>
                <a:lnTo>
                  <a:pt x="1906" y="1464"/>
                </a:lnTo>
                <a:lnTo>
                  <a:pt x="1915" y="1519"/>
                </a:lnTo>
                <a:lnTo>
                  <a:pt x="1927" y="1570"/>
                </a:lnTo>
                <a:lnTo>
                  <a:pt x="1955" y="1663"/>
                </a:lnTo>
                <a:lnTo>
                  <a:pt x="1967" y="1708"/>
                </a:lnTo>
                <a:lnTo>
                  <a:pt x="1979" y="1757"/>
                </a:lnTo>
                <a:lnTo>
                  <a:pt x="1920" y="1776"/>
                </a:lnTo>
                <a:lnTo>
                  <a:pt x="1858" y="1795"/>
                </a:lnTo>
                <a:lnTo>
                  <a:pt x="1792" y="1812"/>
                </a:lnTo>
                <a:lnTo>
                  <a:pt x="1721" y="1828"/>
                </a:lnTo>
                <a:lnTo>
                  <a:pt x="1648" y="1838"/>
                </a:lnTo>
                <a:lnTo>
                  <a:pt x="1572" y="1841"/>
                </a:lnTo>
                <a:lnTo>
                  <a:pt x="1539" y="1840"/>
                </a:lnTo>
                <a:lnTo>
                  <a:pt x="1508" y="1838"/>
                </a:lnTo>
                <a:lnTo>
                  <a:pt x="1478" y="1835"/>
                </a:lnTo>
                <a:lnTo>
                  <a:pt x="1452" y="1828"/>
                </a:lnTo>
                <a:lnTo>
                  <a:pt x="1430" y="1817"/>
                </a:lnTo>
                <a:lnTo>
                  <a:pt x="1444" y="1786"/>
                </a:lnTo>
                <a:lnTo>
                  <a:pt x="1458" y="1753"/>
                </a:lnTo>
                <a:lnTo>
                  <a:pt x="1472" y="1722"/>
                </a:lnTo>
                <a:lnTo>
                  <a:pt x="1484" y="1689"/>
                </a:lnTo>
                <a:lnTo>
                  <a:pt x="1491" y="1656"/>
                </a:lnTo>
                <a:lnTo>
                  <a:pt x="1492" y="1620"/>
                </a:lnTo>
                <a:lnTo>
                  <a:pt x="1487" y="1584"/>
                </a:lnTo>
                <a:lnTo>
                  <a:pt x="1475" y="1554"/>
                </a:lnTo>
                <a:lnTo>
                  <a:pt x="1454" y="1526"/>
                </a:lnTo>
                <a:lnTo>
                  <a:pt x="1432" y="1502"/>
                </a:lnTo>
                <a:lnTo>
                  <a:pt x="1407" y="1483"/>
                </a:lnTo>
                <a:lnTo>
                  <a:pt x="1366" y="1461"/>
                </a:lnTo>
                <a:lnTo>
                  <a:pt x="1319" y="1443"/>
                </a:lnTo>
                <a:lnTo>
                  <a:pt x="1269" y="1431"/>
                </a:lnTo>
                <a:lnTo>
                  <a:pt x="1215" y="1424"/>
                </a:lnTo>
                <a:lnTo>
                  <a:pt x="1162" y="1423"/>
                </a:lnTo>
                <a:lnTo>
                  <a:pt x="1110" y="1424"/>
                </a:lnTo>
                <a:lnTo>
                  <a:pt x="1059" y="1429"/>
                </a:lnTo>
                <a:lnTo>
                  <a:pt x="1013" y="1438"/>
                </a:lnTo>
                <a:lnTo>
                  <a:pt x="969" y="1452"/>
                </a:lnTo>
                <a:lnTo>
                  <a:pt x="931" y="1471"/>
                </a:lnTo>
                <a:lnTo>
                  <a:pt x="898" y="1493"/>
                </a:lnTo>
                <a:lnTo>
                  <a:pt x="871" y="1521"/>
                </a:lnTo>
                <a:lnTo>
                  <a:pt x="850" y="1552"/>
                </a:lnTo>
                <a:lnTo>
                  <a:pt x="848" y="1556"/>
                </a:lnTo>
                <a:lnTo>
                  <a:pt x="848" y="1561"/>
                </a:lnTo>
                <a:lnTo>
                  <a:pt x="846" y="1564"/>
                </a:lnTo>
                <a:lnTo>
                  <a:pt x="840" y="1596"/>
                </a:lnTo>
                <a:lnTo>
                  <a:pt x="841" y="1627"/>
                </a:lnTo>
                <a:lnTo>
                  <a:pt x="848" y="1654"/>
                </a:lnTo>
                <a:lnTo>
                  <a:pt x="859" y="1679"/>
                </a:lnTo>
                <a:lnTo>
                  <a:pt x="871" y="1703"/>
                </a:lnTo>
                <a:lnTo>
                  <a:pt x="885" y="1727"/>
                </a:lnTo>
                <a:lnTo>
                  <a:pt x="897" y="1751"/>
                </a:lnTo>
                <a:lnTo>
                  <a:pt x="909" y="1777"/>
                </a:lnTo>
                <a:lnTo>
                  <a:pt x="914" y="1805"/>
                </a:lnTo>
                <a:lnTo>
                  <a:pt x="916" y="1836"/>
                </a:lnTo>
                <a:lnTo>
                  <a:pt x="876" y="1843"/>
                </a:lnTo>
                <a:lnTo>
                  <a:pt x="836" y="1845"/>
                </a:lnTo>
                <a:lnTo>
                  <a:pt x="796" y="1843"/>
                </a:lnTo>
                <a:lnTo>
                  <a:pt x="758" y="1841"/>
                </a:lnTo>
                <a:lnTo>
                  <a:pt x="680" y="1835"/>
                </a:lnTo>
                <a:lnTo>
                  <a:pt x="604" y="1826"/>
                </a:lnTo>
                <a:lnTo>
                  <a:pt x="509" y="1807"/>
                </a:lnTo>
                <a:lnTo>
                  <a:pt x="419" y="1784"/>
                </a:lnTo>
                <a:lnTo>
                  <a:pt x="336" y="1757"/>
                </a:lnTo>
                <a:lnTo>
                  <a:pt x="356" y="1684"/>
                </a:lnTo>
                <a:lnTo>
                  <a:pt x="376" y="1613"/>
                </a:lnTo>
                <a:lnTo>
                  <a:pt x="393" y="1542"/>
                </a:lnTo>
                <a:lnTo>
                  <a:pt x="403" y="1483"/>
                </a:lnTo>
                <a:lnTo>
                  <a:pt x="412" y="1423"/>
                </a:lnTo>
                <a:lnTo>
                  <a:pt x="417" y="1360"/>
                </a:lnTo>
                <a:lnTo>
                  <a:pt x="421" y="1291"/>
                </a:lnTo>
                <a:lnTo>
                  <a:pt x="422" y="1265"/>
                </a:lnTo>
                <a:lnTo>
                  <a:pt x="422" y="1210"/>
                </a:lnTo>
                <a:lnTo>
                  <a:pt x="421" y="1184"/>
                </a:lnTo>
                <a:lnTo>
                  <a:pt x="415" y="1161"/>
                </a:lnTo>
                <a:lnTo>
                  <a:pt x="408" y="1142"/>
                </a:lnTo>
                <a:lnTo>
                  <a:pt x="396" y="1130"/>
                </a:lnTo>
                <a:lnTo>
                  <a:pt x="381" y="1125"/>
                </a:lnTo>
                <a:lnTo>
                  <a:pt x="363" y="1123"/>
                </a:lnTo>
                <a:lnTo>
                  <a:pt x="346" y="1127"/>
                </a:lnTo>
                <a:lnTo>
                  <a:pt x="327" y="1130"/>
                </a:lnTo>
                <a:lnTo>
                  <a:pt x="306" y="1135"/>
                </a:lnTo>
                <a:lnTo>
                  <a:pt x="287" y="1144"/>
                </a:lnTo>
                <a:lnTo>
                  <a:pt x="266" y="1152"/>
                </a:lnTo>
                <a:lnTo>
                  <a:pt x="240" y="1168"/>
                </a:lnTo>
                <a:lnTo>
                  <a:pt x="213" y="1184"/>
                </a:lnTo>
                <a:lnTo>
                  <a:pt x="195" y="1192"/>
                </a:lnTo>
                <a:lnTo>
                  <a:pt x="161" y="1206"/>
                </a:lnTo>
                <a:lnTo>
                  <a:pt x="147" y="1208"/>
                </a:lnTo>
                <a:lnTo>
                  <a:pt x="130" y="1204"/>
                </a:lnTo>
                <a:lnTo>
                  <a:pt x="111" y="1194"/>
                </a:lnTo>
                <a:lnTo>
                  <a:pt x="90" y="1184"/>
                </a:lnTo>
                <a:lnTo>
                  <a:pt x="74" y="1172"/>
                </a:lnTo>
                <a:lnTo>
                  <a:pt x="62" y="1161"/>
                </a:lnTo>
                <a:lnTo>
                  <a:pt x="62" y="1158"/>
                </a:lnTo>
                <a:lnTo>
                  <a:pt x="60" y="1154"/>
                </a:lnTo>
                <a:lnTo>
                  <a:pt x="60" y="1152"/>
                </a:lnTo>
                <a:lnTo>
                  <a:pt x="59" y="1149"/>
                </a:lnTo>
                <a:lnTo>
                  <a:pt x="53" y="1144"/>
                </a:lnTo>
                <a:lnTo>
                  <a:pt x="50" y="1142"/>
                </a:lnTo>
                <a:lnTo>
                  <a:pt x="48" y="1139"/>
                </a:lnTo>
                <a:lnTo>
                  <a:pt x="36" y="1120"/>
                </a:lnTo>
                <a:lnTo>
                  <a:pt x="29" y="1101"/>
                </a:lnTo>
                <a:lnTo>
                  <a:pt x="21" y="1076"/>
                </a:lnTo>
                <a:lnTo>
                  <a:pt x="8" y="1028"/>
                </a:lnTo>
                <a:lnTo>
                  <a:pt x="2" y="978"/>
                </a:lnTo>
                <a:lnTo>
                  <a:pt x="0" y="924"/>
                </a:lnTo>
                <a:lnTo>
                  <a:pt x="2" y="872"/>
                </a:lnTo>
                <a:lnTo>
                  <a:pt x="8" y="820"/>
                </a:lnTo>
                <a:lnTo>
                  <a:pt x="19" y="773"/>
                </a:lnTo>
                <a:lnTo>
                  <a:pt x="34" y="732"/>
                </a:lnTo>
                <a:lnTo>
                  <a:pt x="55" y="695"/>
                </a:lnTo>
                <a:lnTo>
                  <a:pt x="66" y="680"/>
                </a:lnTo>
                <a:lnTo>
                  <a:pt x="78" y="666"/>
                </a:lnTo>
                <a:lnTo>
                  <a:pt x="90" y="654"/>
                </a:lnTo>
                <a:lnTo>
                  <a:pt x="119" y="637"/>
                </a:lnTo>
                <a:lnTo>
                  <a:pt x="150" y="628"/>
                </a:lnTo>
                <a:lnTo>
                  <a:pt x="182" y="628"/>
                </a:lnTo>
                <a:lnTo>
                  <a:pt x="216" y="635"/>
                </a:lnTo>
                <a:lnTo>
                  <a:pt x="256" y="647"/>
                </a:lnTo>
                <a:lnTo>
                  <a:pt x="292" y="661"/>
                </a:lnTo>
                <a:lnTo>
                  <a:pt x="311" y="671"/>
                </a:lnTo>
                <a:lnTo>
                  <a:pt x="332" y="680"/>
                </a:lnTo>
                <a:lnTo>
                  <a:pt x="351" y="685"/>
                </a:lnTo>
                <a:lnTo>
                  <a:pt x="370" y="685"/>
                </a:lnTo>
                <a:lnTo>
                  <a:pt x="384" y="676"/>
                </a:lnTo>
                <a:lnTo>
                  <a:pt x="395" y="663"/>
                </a:lnTo>
                <a:lnTo>
                  <a:pt x="403" y="645"/>
                </a:lnTo>
                <a:lnTo>
                  <a:pt x="408" y="623"/>
                </a:lnTo>
                <a:lnTo>
                  <a:pt x="412" y="600"/>
                </a:lnTo>
                <a:lnTo>
                  <a:pt x="414" y="574"/>
                </a:lnTo>
                <a:lnTo>
                  <a:pt x="415" y="550"/>
                </a:lnTo>
                <a:lnTo>
                  <a:pt x="417" y="488"/>
                </a:lnTo>
                <a:lnTo>
                  <a:pt x="414" y="429"/>
                </a:lnTo>
                <a:lnTo>
                  <a:pt x="408" y="377"/>
                </a:lnTo>
                <a:lnTo>
                  <a:pt x="400" y="323"/>
                </a:lnTo>
                <a:lnTo>
                  <a:pt x="388" y="273"/>
                </a:lnTo>
                <a:lnTo>
                  <a:pt x="360" y="183"/>
                </a:lnTo>
                <a:lnTo>
                  <a:pt x="348" y="136"/>
                </a:lnTo>
                <a:lnTo>
                  <a:pt x="336" y="86"/>
                </a:lnTo>
                <a:lnTo>
                  <a:pt x="396" y="71"/>
                </a:lnTo>
                <a:lnTo>
                  <a:pt x="459" y="52"/>
                </a:lnTo>
                <a:lnTo>
                  <a:pt x="523" y="33"/>
                </a:lnTo>
                <a:lnTo>
                  <a:pt x="588" y="17"/>
                </a:lnTo>
                <a:lnTo>
                  <a:pt x="644" y="8"/>
                </a:lnTo>
                <a:lnTo>
                  <a:pt x="701" y="5"/>
                </a:lnTo>
                <a:lnTo>
                  <a:pt x="760" y="5"/>
                </a:lnTo>
                <a:lnTo>
                  <a:pt x="815" y="8"/>
                </a:lnTo>
                <a:lnTo>
                  <a:pt x="829" y="10"/>
                </a:lnTo>
                <a:lnTo>
                  <a:pt x="845" y="12"/>
                </a:lnTo>
                <a:lnTo>
                  <a:pt x="859" y="13"/>
                </a:lnTo>
                <a:lnTo>
                  <a:pt x="871" y="19"/>
                </a:lnTo>
                <a:lnTo>
                  <a:pt x="881" y="27"/>
                </a:lnTo>
                <a:lnTo>
                  <a:pt x="843" y="128"/>
                </a:lnTo>
                <a:lnTo>
                  <a:pt x="836" y="148"/>
                </a:lnTo>
                <a:lnTo>
                  <a:pt x="827" y="171"/>
                </a:lnTo>
                <a:lnTo>
                  <a:pt x="822" y="195"/>
                </a:lnTo>
                <a:lnTo>
                  <a:pt x="821" y="221"/>
                </a:lnTo>
                <a:lnTo>
                  <a:pt x="824" y="251"/>
                </a:lnTo>
                <a:lnTo>
                  <a:pt x="831" y="266"/>
                </a:lnTo>
                <a:lnTo>
                  <a:pt x="840" y="282"/>
                </a:lnTo>
                <a:lnTo>
                  <a:pt x="850" y="303"/>
                </a:lnTo>
                <a:lnTo>
                  <a:pt x="864" y="323"/>
                </a:lnTo>
                <a:lnTo>
                  <a:pt x="878" y="339"/>
                </a:lnTo>
                <a:lnTo>
                  <a:pt x="885" y="342"/>
                </a:lnTo>
                <a:lnTo>
                  <a:pt x="890" y="346"/>
                </a:lnTo>
                <a:lnTo>
                  <a:pt x="893" y="348"/>
                </a:lnTo>
                <a:lnTo>
                  <a:pt x="895" y="348"/>
                </a:lnTo>
                <a:lnTo>
                  <a:pt x="895" y="353"/>
                </a:lnTo>
                <a:lnTo>
                  <a:pt x="898" y="356"/>
                </a:lnTo>
                <a:lnTo>
                  <a:pt x="902" y="356"/>
                </a:lnTo>
                <a:lnTo>
                  <a:pt x="904" y="358"/>
                </a:lnTo>
                <a:lnTo>
                  <a:pt x="907" y="358"/>
                </a:lnTo>
                <a:lnTo>
                  <a:pt x="912" y="361"/>
                </a:lnTo>
                <a:lnTo>
                  <a:pt x="916" y="367"/>
                </a:lnTo>
                <a:lnTo>
                  <a:pt x="919" y="370"/>
                </a:lnTo>
                <a:lnTo>
                  <a:pt x="926" y="374"/>
                </a:lnTo>
                <a:lnTo>
                  <a:pt x="935" y="377"/>
                </a:lnTo>
                <a:lnTo>
                  <a:pt x="973" y="394"/>
                </a:lnTo>
                <a:lnTo>
                  <a:pt x="1016" y="408"/>
                </a:lnTo>
                <a:lnTo>
                  <a:pt x="1063" y="417"/>
                </a:lnTo>
                <a:lnTo>
                  <a:pt x="1113" y="422"/>
                </a:lnTo>
                <a:lnTo>
                  <a:pt x="1163" y="422"/>
                </a:lnTo>
                <a:lnTo>
                  <a:pt x="1212" y="420"/>
                </a:lnTo>
                <a:lnTo>
                  <a:pt x="1260" y="413"/>
                </a:lnTo>
                <a:lnTo>
                  <a:pt x="1304" y="405"/>
                </a:lnTo>
                <a:lnTo>
                  <a:pt x="1330" y="398"/>
                </a:lnTo>
                <a:lnTo>
                  <a:pt x="1354" y="391"/>
                </a:lnTo>
                <a:lnTo>
                  <a:pt x="1376" y="382"/>
                </a:lnTo>
                <a:lnTo>
                  <a:pt x="1390" y="374"/>
                </a:lnTo>
                <a:lnTo>
                  <a:pt x="1404" y="363"/>
                </a:lnTo>
                <a:lnTo>
                  <a:pt x="1420" y="349"/>
                </a:lnTo>
                <a:lnTo>
                  <a:pt x="1433" y="337"/>
                </a:lnTo>
                <a:lnTo>
                  <a:pt x="1442" y="327"/>
                </a:lnTo>
                <a:lnTo>
                  <a:pt x="1456" y="306"/>
                </a:lnTo>
                <a:lnTo>
                  <a:pt x="1468" y="280"/>
                </a:lnTo>
                <a:lnTo>
                  <a:pt x="1477" y="254"/>
                </a:lnTo>
                <a:lnTo>
                  <a:pt x="1478" y="232"/>
                </a:lnTo>
                <a:lnTo>
                  <a:pt x="1475" y="214"/>
                </a:lnTo>
                <a:lnTo>
                  <a:pt x="1472" y="199"/>
                </a:lnTo>
                <a:lnTo>
                  <a:pt x="1458" y="171"/>
                </a:lnTo>
                <a:lnTo>
                  <a:pt x="1451" y="155"/>
                </a:lnTo>
                <a:lnTo>
                  <a:pt x="1444" y="138"/>
                </a:lnTo>
                <a:lnTo>
                  <a:pt x="1437" y="123"/>
                </a:lnTo>
                <a:lnTo>
                  <a:pt x="1430" y="112"/>
                </a:lnTo>
                <a:lnTo>
                  <a:pt x="1428" y="110"/>
                </a:lnTo>
                <a:lnTo>
                  <a:pt x="1428" y="107"/>
                </a:lnTo>
                <a:lnTo>
                  <a:pt x="1427" y="105"/>
                </a:lnTo>
                <a:lnTo>
                  <a:pt x="1402" y="60"/>
                </a:lnTo>
                <a:lnTo>
                  <a:pt x="1397" y="34"/>
                </a:lnTo>
                <a:lnTo>
                  <a:pt x="1399" y="5"/>
                </a:lnTo>
                <a:lnTo>
                  <a:pt x="1489" y="0"/>
                </a:lnTo>
                <a:close/>
              </a:path>
            </a:pathLst>
          </a:custGeom>
          <a:solidFill>
            <a:schemeClr val="accent1"/>
          </a:solidFill>
          <a:ln w="12700">
            <a:solidFill>
              <a:schemeClr val="bg1"/>
            </a:solidFill>
            <a:round/>
            <a:headEnd/>
            <a:tailEnd/>
          </a:ln>
        </p:spPr>
        <p:txBody>
          <a:bodyPr/>
          <a:lstStyle/>
          <a:p>
            <a:endParaRPr lang="en-US"/>
          </a:p>
        </p:txBody>
      </p:sp>
      <p:sp>
        <p:nvSpPr>
          <p:cNvPr id="205" name="Rectangle 57"/>
          <p:cNvSpPr>
            <a:spLocks noChangeArrowheads="1"/>
          </p:cNvSpPr>
          <p:nvPr/>
        </p:nvSpPr>
        <p:spPr bwMode="gray">
          <a:xfrm rot="20204061">
            <a:off x="1679161" y="2182280"/>
            <a:ext cx="1008062" cy="965200"/>
          </a:xfrm>
          <a:prstGeom prst="rect">
            <a:avLst/>
          </a:prstGeom>
          <a:noFill/>
          <a:ln w="19050" algn="ctr">
            <a:noFill/>
            <a:miter lim="800000"/>
            <a:headEnd/>
            <a:tailEnd/>
          </a:ln>
          <a:effectLst/>
        </p:spPr>
        <p:txBody>
          <a:bodyPr lIns="72000" tIns="72000" rIns="72000" bIns="72000" anchor="ctr"/>
          <a:lstStyle/>
          <a:p>
            <a:pPr lvl="0" algn="ctr" fontAlgn="base">
              <a:spcBef>
                <a:spcPct val="0"/>
              </a:spcBef>
              <a:spcAft>
                <a:spcPct val="0"/>
              </a:spcAft>
              <a:defRPr/>
            </a:pPr>
            <a:r>
              <a:rPr lang="en-US" sz="1400" b="1">
                <a:solidFill>
                  <a:srgbClr val="FFFFFF"/>
                </a:solidFill>
              </a:rPr>
              <a:t>Text</a:t>
            </a:r>
            <a:endParaRPr lang="en-US" sz="1400" b="1" dirty="0">
              <a:solidFill>
                <a:srgbClr val="FFFFFF"/>
              </a:solidFill>
            </a:endParaRPr>
          </a:p>
        </p:txBody>
      </p:sp>
      <p:sp>
        <p:nvSpPr>
          <p:cNvPr id="210" name="AutoShape 20"/>
          <p:cNvSpPr>
            <a:spLocks/>
          </p:cNvSpPr>
          <p:nvPr/>
        </p:nvSpPr>
        <p:spPr bwMode="gray">
          <a:xfrm rot="680129">
            <a:off x="2489199" y="3115820"/>
            <a:ext cx="1209675" cy="1522094"/>
          </a:xfrm>
          <a:custGeom>
            <a:avLst/>
            <a:gdLst>
              <a:gd name="T0" fmla="*/ 1082 w 1843"/>
              <a:gd name="T1" fmla="*/ 26 h 2318"/>
              <a:gd name="T2" fmla="*/ 1212 w 1843"/>
              <a:gd name="T3" fmla="*/ 129 h 2318"/>
              <a:gd name="T4" fmla="*/ 1192 w 1843"/>
              <a:gd name="T5" fmla="*/ 271 h 2318"/>
              <a:gd name="T6" fmla="*/ 1178 w 1843"/>
              <a:gd name="T7" fmla="*/ 300 h 2318"/>
              <a:gd name="T8" fmla="*/ 1157 w 1843"/>
              <a:gd name="T9" fmla="*/ 359 h 2318"/>
              <a:gd name="T10" fmla="*/ 1169 w 1843"/>
              <a:gd name="T11" fmla="*/ 390 h 2318"/>
              <a:gd name="T12" fmla="*/ 1244 w 1843"/>
              <a:gd name="T13" fmla="*/ 416 h 2318"/>
              <a:gd name="T14" fmla="*/ 1491 w 1843"/>
              <a:gd name="T15" fmla="*/ 407 h 2318"/>
              <a:gd name="T16" fmla="*/ 1758 w 1843"/>
              <a:gd name="T17" fmla="*/ 335 h 2318"/>
              <a:gd name="T18" fmla="*/ 1834 w 1843"/>
              <a:gd name="T19" fmla="*/ 636 h 2318"/>
              <a:gd name="T20" fmla="*/ 1818 w 1843"/>
              <a:gd name="T21" fmla="*/ 885 h 2318"/>
              <a:gd name="T22" fmla="*/ 1656 w 1843"/>
              <a:gd name="T23" fmla="*/ 828 h 2318"/>
              <a:gd name="T24" fmla="*/ 1560 w 1843"/>
              <a:gd name="T25" fmla="*/ 840 h 2318"/>
              <a:gd name="T26" fmla="*/ 1541 w 1843"/>
              <a:gd name="T27" fmla="*/ 852 h 2318"/>
              <a:gd name="T28" fmla="*/ 1462 w 1843"/>
              <a:gd name="T29" fmla="*/ 947 h 2318"/>
              <a:gd name="T30" fmla="*/ 1441 w 1843"/>
              <a:gd name="T31" fmla="*/ 1011 h 2318"/>
              <a:gd name="T32" fmla="*/ 1422 w 1843"/>
              <a:gd name="T33" fmla="*/ 1122 h 2318"/>
              <a:gd name="T34" fmla="*/ 1444 w 1843"/>
              <a:gd name="T35" fmla="*/ 1333 h 2318"/>
              <a:gd name="T36" fmla="*/ 1474 w 1843"/>
              <a:gd name="T37" fmla="*/ 1394 h 2318"/>
              <a:gd name="T38" fmla="*/ 1493 w 1843"/>
              <a:gd name="T39" fmla="*/ 1422 h 2318"/>
              <a:gd name="T40" fmla="*/ 1538 w 1843"/>
              <a:gd name="T41" fmla="*/ 1456 h 2318"/>
              <a:gd name="T42" fmla="*/ 1595 w 1843"/>
              <a:gd name="T43" fmla="*/ 1479 h 2318"/>
              <a:gd name="T44" fmla="*/ 1714 w 1843"/>
              <a:gd name="T45" fmla="*/ 1441 h 2318"/>
              <a:gd name="T46" fmla="*/ 1834 w 1843"/>
              <a:gd name="T47" fmla="*/ 1399 h 2318"/>
              <a:gd name="T48" fmla="*/ 1836 w 1843"/>
              <a:gd name="T49" fmla="*/ 1640 h 2318"/>
              <a:gd name="T50" fmla="*/ 1772 w 1843"/>
              <a:gd name="T51" fmla="*/ 1934 h 2318"/>
              <a:gd name="T52" fmla="*/ 1659 w 1843"/>
              <a:gd name="T53" fmla="*/ 1957 h 2318"/>
              <a:gd name="T54" fmla="*/ 1415 w 1843"/>
              <a:gd name="T55" fmla="*/ 1905 h 2318"/>
              <a:gd name="T56" fmla="*/ 1143 w 1843"/>
              <a:gd name="T57" fmla="*/ 1908 h 2318"/>
              <a:gd name="T58" fmla="*/ 1128 w 1843"/>
              <a:gd name="T59" fmla="*/ 1991 h 2318"/>
              <a:gd name="T60" fmla="*/ 1195 w 1843"/>
              <a:gd name="T61" fmla="*/ 2133 h 2318"/>
              <a:gd name="T62" fmla="*/ 1171 w 1843"/>
              <a:gd name="T63" fmla="*/ 2242 h 2318"/>
              <a:gd name="T64" fmla="*/ 1006 w 1843"/>
              <a:gd name="T65" fmla="*/ 2313 h 2318"/>
              <a:gd name="T66" fmla="*/ 767 w 1843"/>
              <a:gd name="T67" fmla="*/ 2299 h 2318"/>
              <a:gd name="T68" fmla="*/ 669 w 1843"/>
              <a:gd name="T69" fmla="*/ 2244 h 2318"/>
              <a:gd name="T70" fmla="*/ 632 w 1843"/>
              <a:gd name="T71" fmla="*/ 2111 h 2318"/>
              <a:gd name="T72" fmla="*/ 677 w 1843"/>
              <a:gd name="T73" fmla="*/ 1991 h 2318"/>
              <a:gd name="T74" fmla="*/ 627 w 1843"/>
              <a:gd name="T75" fmla="*/ 1910 h 2318"/>
              <a:gd name="T76" fmla="*/ 430 w 1843"/>
              <a:gd name="T77" fmla="*/ 1905 h 2318"/>
              <a:gd name="T78" fmla="*/ 141 w 1843"/>
              <a:gd name="T79" fmla="*/ 1969 h 2318"/>
              <a:gd name="T80" fmla="*/ 14 w 1843"/>
              <a:gd name="T81" fmla="*/ 1726 h 2318"/>
              <a:gd name="T82" fmla="*/ 14 w 1843"/>
              <a:gd name="T83" fmla="*/ 1456 h 2318"/>
              <a:gd name="T84" fmla="*/ 153 w 1843"/>
              <a:gd name="T85" fmla="*/ 1486 h 2318"/>
              <a:gd name="T86" fmla="*/ 309 w 1843"/>
              <a:gd name="T87" fmla="*/ 1465 h 2318"/>
              <a:gd name="T88" fmla="*/ 357 w 1843"/>
              <a:gd name="T89" fmla="*/ 1410 h 2318"/>
              <a:gd name="T90" fmla="*/ 383 w 1843"/>
              <a:gd name="T91" fmla="*/ 1373 h 2318"/>
              <a:gd name="T92" fmla="*/ 419 w 1843"/>
              <a:gd name="T93" fmla="*/ 1216 h 2318"/>
              <a:gd name="T94" fmla="*/ 392 w 1843"/>
              <a:gd name="T95" fmla="*/ 966 h 2318"/>
              <a:gd name="T96" fmla="*/ 366 w 1843"/>
              <a:gd name="T97" fmla="*/ 927 h 2318"/>
              <a:gd name="T98" fmla="*/ 324 w 1843"/>
              <a:gd name="T99" fmla="*/ 875 h 2318"/>
              <a:gd name="T100" fmla="*/ 257 w 1843"/>
              <a:gd name="T101" fmla="*/ 842 h 2318"/>
              <a:gd name="T102" fmla="*/ 146 w 1843"/>
              <a:gd name="T103" fmla="*/ 871 h 2318"/>
              <a:gd name="T104" fmla="*/ 33 w 1843"/>
              <a:gd name="T105" fmla="*/ 920 h 2318"/>
              <a:gd name="T106" fmla="*/ 19 w 1843"/>
              <a:gd name="T107" fmla="*/ 601 h 2318"/>
              <a:gd name="T108" fmla="*/ 75 w 1843"/>
              <a:gd name="T109" fmla="*/ 367 h 2318"/>
              <a:gd name="T110" fmla="*/ 303 w 1843"/>
              <a:gd name="T111" fmla="*/ 395 h 2318"/>
              <a:gd name="T112" fmla="*/ 669 w 1843"/>
              <a:gd name="T113" fmla="*/ 421 h 2318"/>
              <a:gd name="T114" fmla="*/ 719 w 1843"/>
              <a:gd name="T115" fmla="*/ 352 h 2318"/>
              <a:gd name="T116" fmla="*/ 648 w 1843"/>
              <a:gd name="T117" fmla="*/ 189 h 2318"/>
              <a:gd name="T118" fmla="*/ 674 w 1843"/>
              <a:gd name="T119" fmla="*/ 78 h 2318"/>
              <a:gd name="T120" fmla="*/ 854 w 1843"/>
              <a:gd name="T121" fmla="*/ 6 h 231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43"/>
              <a:gd name="T184" fmla="*/ 0 h 2318"/>
              <a:gd name="T185" fmla="*/ 1843 w 1843"/>
              <a:gd name="T186" fmla="*/ 2318 h 231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43" h="2318">
                <a:moveTo>
                  <a:pt x="897" y="0"/>
                </a:moveTo>
                <a:lnTo>
                  <a:pt x="946" y="0"/>
                </a:lnTo>
                <a:lnTo>
                  <a:pt x="991" y="6"/>
                </a:lnTo>
                <a:lnTo>
                  <a:pt x="1037" y="14"/>
                </a:lnTo>
                <a:lnTo>
                  <a:pt x="1082" y="26"/>
                </a:lnTo>
                <a:lnTo>
                  <a:pt x="1124" y="44"/>
                </a:lnTo>
                <a:lnTo>
                  <a:pt x="1152" y="59"/>
                </a:lnTo>
                <a:lnTo>
                  <a:pt x="1178" y="80"/>
                </a:lnTo>
                <a:lnTo>
                  <a:pt x="1197" y="103"/>
                </a:lnTo>
                <a:lnTo>
                  <a:pt x="1212" y="129"/>
                </a:lnTo>
                <a:lnTo>
                  <a:pt x="1219" y="158"/>
                </a:lnTo>
                <a:lnTo>
                  <a:pt x="1218" y="186"/>
                </a:lnTo>
                <a:lnTo>
                  <a:pt x="1212" y="217"/>
                </a:lnTo>
                <a:lnTo>
                  <a:pt x="1202" y="245"/>
                </a:lnTo>
                <a:lnTo>
                  <a:pt x="1192" y="271"/>
                </a:lnTo>
                <a:lnTo>
                  <a:pt x="1190" y="276"/>
                </a:lnTo>
                <a:lnTo>
                  <a:pt x="1186" y="281"/>
                </a:lnTo>
                <a:lnTo>
                  <a:pt x="1185" y="288"/>
                </a:lnTo>
                <a:lnTo>
                  <a:pt x="1181" y="293"/>
                </a:lnTo>
                <a:lnTo>
                  <a:pt x="1178" y="300"/>
                </a:lnTo>
                <a:lnTo>
                  <a:pt x="1176" y="305"/>
                </a:lnTo>
                <a:lnTo>
                  <a:pt x="1173" y="319"/>
                </a:lnTo>
                <a:lnTo>
                  <a:pt x="1166" y="333"/>
                </a:lnTo>
                <a:lnTo>
                  <a:pt x="1160" y="347"/>
                </a:lnTo>
                <a:lnTo>
                  <a:pt x="1157" y="359"/>
                </a:lnTo>
                <a:lnTo>
                  <a:pt x="1157" y="374"/>
                </a:lnTo>
                <a:lnTo>
                  <a:pt x="1159" y="376"/>
                </a:lnTo>
                <a:lnTo>
                  <a:pt x="1160" y="381"/>
                </a:lnTo>
                <a:lnTo>
                  <a:pt x="1166" y="385"/>
                </a:lnTo>
                <a:lnTo>
                  <a:pt x="1169" y="390"/>
                </a:lnTo>
                <a:lnTo>
                  <a:pt x="1173" y="393"/>
                </a:lnTo>
                <a:lnTo>
                  <a:pt x="1178" y="397"/>
                </a:lnTo>
                <a:lnTo>
                  <a:pt x="1195" y="406"/>
                </a:lnTo>
                <a:lnTo>
                  <a:pt x="1219" y="412"/>
                </a:lnTo>
                <a:lnTo>
                  <a:pt x="1244" y="416"/>
                </a:lnTo>
                <a:lnTo>
                  <a:pt x="1269" y="418"/>
                </a:lnTo>
                <a:lnTo>
                  <a:pt x="1292" y="419"/>
                </a:lnTo>
                <a:lnTo>
                  <a:pt x="1363" y="421"/>
                </a:lnTo>
                <a:lnTo>
                  <a:pt x="1429" y="416"/>
                </a:lnTo>
                <a:lnTo>
                  <a:pt x="1491" y="407"/>
                </a:lnTo>
                <a:lnTo>
                  <a:pt x="1548" y="395"/>
                </a:lnTo>
                <a:lnTo>
                  <a:pt x="1602" y="381"/>
                </a:lnTo>
                <a:lnTo>
                  <a:pt x="1656" y="366"/>
                </a:lnTo>
                <a:lnTo>
                  <a:pt x="1706" y="350"/>
                </a:lnTo>
                <a:lnTo>
                  <a:pt x="1758" y="335"/>
                </a:lnTo>
                <a:lnTo>
                  <a:pt x="1773" y="393"/>
                </a:lnTo>
                <a:lnTo>
                  <a:pt x="1792" y="456"/>
                </a:lnTo>
                <a:lnTo>
                  <a:pt x="1811" y="522"/>
                </a:lnTo>
                <a:lnTo>
                  <a:pt x="1827" y="589"/>
                </a:lnTo>
                <a:lnTo>
                  <a:pt x="1834" y="636"/>
                </a:lnTo>
                <a:lnTo>
                  <a:pt x="1837" y="686"/>
                </a:lnTo>
                <a:lnTo>
                  <a:pt x="1837" y="804"/>
                </a:lnTo>
                <a:lnTo>
                  <a:pt x="1834" y="833"/>
                </a:lnTo>
                <a:lnTo>
                  <a:pt x="1829" y="861"/>
                </a:lnTo>
                <a:lnTo>
                  <a:pt x="1818" y="885"/>
                </a:lnTo>
                <a:lnTo>
                  <a:pt x="1789" y="876"/>
                </a:lnTo>
                <a:lnTo>
                  <a:pt x="1740" y="852"/>
                </a:lnTo>
                <a:lnTo>
                  <a:pt x="1714" y="842"/>
                </a:lnTo>
                <a:lnTo>
                  <a:pt x="1687" y="833"/>
                </a:lnTo>
                <a:lnTo>
                  <a:pt x="1656" y="828"/>
                </a:lnTo>
                <a:lnTo>
                  <a:pt x="1626" y="826"/>
                </a:lnTo>
                <a:lnTo>
                  <a:pt x="1597" y="828"/>
                </a:lnTo>
                <a:lnTo>
                  <a:pt x="1572" y="835"/>
                </a:lnTo>
                <a:lnTo>
                  <a:pt x="1566" y="838"/>
                </a:lnTo>
                <a:lnTo>
                  <a:pt x="1560" y="840"/>
                </a:lnTo>
                <a:lnTo>
                  <a:pt x="1555" y="845"/>
                </a:lnTo>
                <a:lnTo>
                  <a:pt x="1552" y="847"/>
                </a:lnTo>
                <a:lnTo>
                  <a:pt x="1550" y="850"/>
                </a:lnTo>
                <a:lnTo>
                  <a:pt x="1547" y="852"/>
                </a:lnTo>
                <a:lnTo>
                  <a:pt x="1541" y="852"/>
                </a:lnTo>
                <a:lnTo>
                  <a:pt x="1538" y="854"/>
                </a:lnTo>
                <a:lnTo>
                  <a:pt x="1508" y="878"/>
                </a:lnTo>
                <a:lnTo>
                  <a:pt x="1484" y="909"/>
                </a:lnTo>
                <a:lnTo>
                  <a:pt x="1465" y="942"/>
                </a:lnTo>
                <a:lnTo>
                  <a:pt x="1462" y="947"/>
                </a:lnTo>
                <a:lnTo>
                  <a:pt x="1460" y="951"/>
                </a:lnTo>
                <a:lnTo>
                  <a:pt x="1453" y="961"/>
                </a:lnTo>
                <a:lnTo>
                  <a:pt x="1448" y="984"/>
                </a:lnTo>
                <a:lnTo>
                  <a:pt x="1443" y="1008"/>
                </a:lnTo>
                <a:lnTo>
                  <a:pt x="1441" y="1011"/>
                </a:lnTo>
                <a:lnTo>
                  <a:pt x="1439" y="1017"/>
                </a:lnTo>
                <a:lnTo>
                  <a:pt x="1436" y="1022"/>
                </a:lnTo>
                <a:lnTo>
                  <a:pt x="1434" y="1027"/>
                </a:lnTo>
                <a:lnTo>
                  <a:pt x="1427" y="1072"/>
                </a:lnTo>
                <a:lnTo>
                  <a:pt x="1422" y="1122"/>
                </a:lnTo>
                <a:lnTo>
                  <a:pt x="1422" y="1174"/>
                </a:lnTo>
                <a:lnTo>
                  <a:pt x="1424" y="1226"/>
                </a:lnTo>
                <a:lnTo>
                  <a:pt x="1429" y="1273"/>
                </a:lnTo>
                <a:lnTo>
                  <a:pt x="1437" y="1314"/>
                </a:lnTo>
                <a:lnTo>
                  <a:pt x="1444" y="1333"/>
                </a:lnTo>
                <a:lnTo>
                  <a:pt x="1451" y="1354"/>
                </a:lnTo>
                <a:lnTo>
                  <a:pt x="1460" y="1375"/>
                </a:lnTo>
                <a:lnTo>
                  <a:pt x="1469" y="1390"/>
                </a:lnTo>
                <a:lnTo>
                  <a:pt x="1472" y="1392"/>
                </a:lnTo>
                <a:lnTo>
                  <a:pt x="1474" y="1394"/>
                </a:lnTo>
                <a:lnTo>
                  <a:pt x="1477" y="1396"/>
                </a:lnTo>
                <a:lnTo>
                  <a:pt x="1479" y="1399"/>
                </a:lnTo>
                <a:lnTo>
                  <a:pt x="1479" y="1404"/>
                </a:lnTo>
                <a:lnTo>
                  <a:pt x="1481" y="1406"/>
                </a:lnTo>
                <a:lnTo>
                  <a:pt x="1493" y="1422"/>
                </a:lnTo>
                <a:lnTo>
                  <a:pt x="1507" y="1437"/>
                </a:lnTo>
                <a:lnTo>
                  <a:pt x="1519" y="1449"/>
                </a:lnTo>
                <a:lnTo>
                  <a:pt x="1529" y="1453"/>
                </a:lnTo>
                <a:lnTo>
                  <a:pt x="1533" y="1455"/>
                </a:lnTo>
                <a:lnTo>
                  <a:pt x="1538" y="1456"/>
                </a:lnTo>
                <a:lnTo>
                  <a:pt x="1543" y="1460"/>
                </a:lnTo>
                <a:lnTo>
                  <a:pt x="1547" y="1461"/>
                </a:lnTo>
                <a:lnTo>
                  <a:pt x="1553" y="1468"/>
                </a:lnTo>
                <a:lnTo>
                  <a:pt x="1574" y="1475"/>
                </a:lnTo>
                <a:lnTo>
                  <a:pt x="1595" y="1479"/>
                </a:lnTo>
                <a:lnTo>
                  <a:pt x="1624" y="1479"/>
                </a:lnTo>
                <a:lnTo>
                  <a:pt x="1650" y="1474"/>
                </a:lnTo>
                <a:lnTo>
                  <a:pt x="1673" y="1463"/>
                </a:lnTo>
                <a:lnTo>
                  <a:pt x="1694" y="1453"/>
                </a:lnTo>
                <a:lnTo>
                  <a:pt x="1714" y="1441"/>
                </a:lnTo>
                <a:lnTo>
                  <a:pt x="1735" y="1430"/>
                </a:lnTo>
                <a:lnTo>
                  <a:pt x="1756" y="1418"/>
                </a:lnTo>
                <a:lnTo>
                  <a:pt x="1779" y="1410"/>
                </a:lnTo>
                <a:lnTo>
                  <a:pt x="1805" y="1403"/>
                </a:lnTo>
                <a:lnTo>
                  <a:pt x="1834" y="1399"/>
                </a:lnTo>
                <a:lnTo>
                  <a:pt x="1841" y="1423"/>
                </a:lnTo>
                <a:lnTo>
                  <a:pt x="1843" y="1449"/>
                </a:lnTo>
                <a:lnTo>
                  <a:pt x="1841" y="1475"/>
                </a:lnTo>
                <a:lnTo>
                  <a:pt x="1841" y="1560"/>
                </a:lnTo>
                <a:lnTo>
                  <a:pt x="1836" y="1640"/>
                </a:lnTo>
                <a:lnTo>
                  <a:pt x="1825" y="1716"/>
                </a:lnTo>
                <a:lnTo>
                  <a:pt x="1811" y="1787"/>
                </a:lnTo>
                <a:lnTo>
                  <a:pt x="1794" y="1854"/>
                </a:lnTo>
                <a:lnTo>
                  <a:pt x="1777" y="1917"/>
                </a:lnTo>
                <a:lnTo>
                  <a:pt x="1772" y="1934"/>
                </a:lnTo>
                <a:lnTo>
                  <a:pt x="1768" y="1951"/>
                </a:lnTo>
                <a:lnTo>
                  <a:pt x="1761" y="1969"/>
                </a:lnTo>
                <a:lnTo>
                  <a:pt x="1753" y="1982"/>
                </a:lnTo>
                <a:lnTo>
                  <a:pt x="1706" y="1967"/>
                </a:lnTo>
                <a:lnTo>
                  <a:pt x="1659" y="1957"/>
                </a:lnTo>
                <a:lnTo>
                  <a:pt x="1611" y="1944"/>
                </a:lnTo>
                <a:lnTo>
                  <a:pt x="1564" y="1932"/>
                </a:lnTo>
                <a:lnTo>
                  <a:pt x="1515" y="1918"/>
                </a:lnTo>
                <a:lnTo>
                  <a:pt x="1465" y="1910"/>
                </a:lnTo>
                <a:lnTo>
                  <a:pt x="1415" y="1905"/>
                </a:lnTo>
                <a:lnTo>
                  <a:pt x="1360" y="1899"/>
                </a:lnTo>
                <a:lnTo>
                  <a:pt x="1295" y="1898"/>
                </a:lnTo>
                <a:lnTo>
                  <a:pt x="1186" y="1898"/>
                </a:lnTo>
                <a:lnTo>
                  <a:pt x="1162" y="1901"/>
                </a:lnTo>
                <a:lnTo>
                  <a:pt x="1143" y="1908"/>
                </a:lnTo>
                <a:lnTo>
                  <a:pt x="1131" y="1917"/>
                </a:lnTo>
                <a:lnTo>
                  <a:pt x="1124" y="1932"/>
                </a:lnTo>
                <a:lnTo>
                  <a:pt x="1122" y="1951"/>
                </a:lnTo>
                <a:lnTo>
                  <a:pt x="1124" y="1970"/>
                </a:lnTo>
                <a:lnTo>
                  <a:pt x="1128" y="1991"/>
                </a:lnTo>
                <a:lnTo>
                  <a:pt x="1138" y="2022"/>
                </a:lnTo>
                <a:lnTo>
                  <a:pt x="1153" y="2052"/>
                </a:lnTo>
                <a:lnTo>
                  <a:pt x="1162" y="2069"/>
                </a:lnTo>
                <a:lnTo>
                  <a:pt x="1174" y="2088"/>
                </a:lnTo>
                <a:lnTo>
                  <a:pt x="1195" y="2133"/>
                </a:lnTo>
                <a:lnTo>
                  <a:pt x="1202" y="2156"/>
                </a:lnTo>
                <a:lnTo>
                  <a:pt x="1204" y="2175"/>
                </a:lnTo>
                <a:lnTo>
                  <a:pt x="1199" y="2199"/>
                </a:lnTo>
                <a:lnTo>
                  <a:pt x="1188" y="2221"/>
                </a:lnTo>
                <a:lnTo>
                  <a:pt x="1171" y="2242"/>
                </a:lnTo>
                <a:lnTo>
                  <a:pt x="1152" y="2261"/>
                </a:lnTo>
                <a:lnTo>
                  <a:pt x="1131" y="2275"/>
                </a:lnTo>
                <a:lnTo>
                  <a:pt x="1095" y="2292"/>
                </a:lnTo>
                <a:lnTo>
                  <a:pt x="1053" y="2304"/>
                </a:lnTo>
                <a:lnTo>
                  <a:pt x="1006" y="2313"/>
                </a:lnTo>
                <a:lnTo>
                  <a:pt x="956" y="2318"/>
                </a:lnTo>
                <a:lnTo>
                  <a:pt x="906" y="2318"/>
                </a:lnTo>
                <a:lnTo>
                  <a:pt x="857" y="2315"/>
                </a:lnTo>
                <a:lnTo>
                  <a:pt x="809" y="2310"/>
                </a:lnTo>
                <a:lnTo>
                  <a:pt x="767" y="2299"/>
                </a:lnTo>
                <a:lnTo>
                  <a:pt x="731" y="2285"/>
                </a:lnTo>
                <a:lnTo>
                  <a:pt x="717" y="2279"/>
                </a:lnTo>
                <a:lnTo>
                  <a:pt x="700" y="2268"/>
                </a:lnTo>
                <a:lnTo>
                  <a:pt x="683" y="2256"/>
                </a:lnTo>
                <a:lnTo>
                  <a:pt x="669" y="2244"/>
                </a:lnTo>
                <a:lnTo>
                  <a:pt x="648" y="2220"/>
                </a:lnTo>
                <a:lnTo>
                  <a:pt x="639" y="2206"/>
                </a:lnTo>
                <a:lnTo>
                  <a:pt x="629" y="2175"/>
                </a:lnTo>
                <a:lnTo>
                  <a:pt x="627" y="2142"/>
                </a:lnTo>
                <a:lnTo>
                  <a:pt x="632" y="2111"/>
                </a:lnTo>
                <a:lnTo>
                  <a:pt x="641" y="2079"/>
                </a:lnTo>
                <a:lnTo>
                  <a:pt x="651" y="2052"/>
                </a:lnTo>
                <a:lnTo>
                  <a:pt x="660" y="2031"/>
                </a:lnTo>
                <a:lnTo>
                  <a:pt x="669" y="2012"/>
                </a:lnTo>
                <a:lnTo>
                  <a:pt x="677" y="1991"/>
                </a:lnTo>
                <a:lnTo>
                  <a:pt x="684" y="1969"/>
                </a:lnTo>
                <a:lnTo>
                  <a:pt x="686" y="1944"/>
                </a:lnTo>
                <a:lnTo>
                  <a:pt x="670" y="1929"/>
                </a:lnTo>
                <a:lnTo>
                  <a:pt x="650" y="1917"/>
                </a:lnTo>
                <a:lnTo>
                  <a:pt x="627" y="1910"/>
                </a:lnTo>
                <a:lnTo>
                  <a:pt x="601" y="1906"/>
                </a:lnTo>
                <a:lnTo>
                  <a:pt x="575" y="1905"/>
                </a:lnTo>
                <a:lnTo>
                  <a:pt x="547" y="1903"/>
                </a:lnTo>
                <a:lnTo>
                  <a:pt x="489" y="1901"/>
                </a:lnTo>
                <a:lnTo>
                  <a:pt x="430" y="1905"/>
                </a:lnTo>
                <a:lnTo>
                  <a:pt x="374" y="1910"/>
                </a:lnTo>
                <a:lnTo>
                  <a:pt x="312" y="1920"/>
                </a:lnTo>
                <a:lnTo>
                  <a:pt x="251" y="1936"/>
                </a:lnTo>
                <a:lnTo>
                  <a:pt x="194" y="1953"/>
                </a:lnTo>
                <a:lnTo>
                  <a:pt x="141" y="1969"/>
                </a:lnTo>
                <a:lnTo>
                  <a:pt x="87" y="1982"/>
                </a:lnTo>
                <a:lnTo>
                  <a:pt x="71" y="1924"/>
                </a:lnTo>
                <a:lnTo>
                  <a:pt x="51" y="1861"/>
                </a:lnTo>
                <a:lnTo>
                  <a:pt x="32" y="1796"/>
                </a:lnTo>
                <a:lnTo>
                  <a:pt x="14" y="1726"/>
                </a:lnTo>
                <a:lnTo>
                  <a:pt x="6" y="1657"/>
                </a:lnTo>
                <a:lnTo>
                  <a:pt x="4" y="1598"/>
                </a:lnTo>
                <a:lnTo>
                  <a:pt x="6" y="1538"/>
                </a:lnTo>
                <a:lnTo>
                  <a:pt x="9" y="1482"/>
                </a:lnTo>
                <a:lnTo>
                  <a:pt x="14" y="1456"/>
                </a:lnTo>
                <a:lnTo>
                  <a:pt x="25" y="1434"/>
                </a:lnTo>
                <a:lnTo>
                  <a:pt x="57" y="1446"/>
                </a:lnTo>
                <a:lnTo>
                  <a:pt x="89" y="1461"/>
                </a:lnTo>
                <a:lnTo>
                  <a:pt x="120" y="1474"/>
                </a:lnTo>
                <a:lnTo>
                  <a:pt x="153" y="1486"/>
                </a:lnTo>
                <a:lnTo>
                  <a:pt x="184" y="1494"/>
                </a:lnTo>
                <a:lnTo>
                  <a:pt x="219" y="1496"/>
                </a:lnTo>
                <a:lnTo>
                  <a:pt x="255" y="1491"/>
                </a:lnTo>
                <a:lnTo>
                  <a:pt x="283" y="1480"/>
                </a:lnTo>
                <a:lnTo>
                  <a:pt x="309" y="1465"/>
                </a:lnTo>
                <a:lnTo>
                  <a:pt x="333" y="1446"/>
                </a:lnTo>
                <a:lnTo>
                  <a:pt x="352" y="1425"/>
                </a:lnTo>
                <a:lnTo>
                  <a:pt x="355" y="1418"/>
                </a:lnTo>
                <a:lnTo>
                  <a:pt x="355" y="1415"/>
                </a:lnTo>
                <a:lnTo>
                  <a:pt x="357" y="1410"/>
                </a:lnTo>
                <a:lnTo>
                  <a:pt x="359" y="1406"/>
                </a:lnTo>
                <a:lnTo>
                  <a:pt x="362" y="1401"/>
                </a:lnTo>
                <a:lnTo>
                  <a:pt x="367" y="1397"/>
                </a:lnTo>
                <a:lnTo>
                  <a:pt x="374" y="1390"/>
                </a:lnTo>
                <a:lnTo>
                  <a:pt x="383" y="1373"/>
                </a:lnTo>
                <a:lnTo>
                  <a:pt x="390" y="1352"/>
                </a:lnTo>
                <a:lnTo>
                  <a:pt x="399" y="1333"/>
                </a:lnTo>
                <a:lnTo>
                  <a:pt x="406" y="1314"/>
                </a:lnTo>
                <a:lnTo>
                  <a:pt x="414" y="1268"/>
                </a:lnTo>
                <a:lnTo>
                  <a:pt x="419" y="1216"/>
                </a:lnTo>
                <a:lnTo>
                  <a:pt x="421" y="1159"/>
                </a:lnTo>
                <a:lnTo>
                  <a:pt x="419" y="1103"/>
                </a:lnTo>
                <a:lnTo>
                  <a:pt x="414" y="1053"/>
                </a:lnTo>
                <a:lnTo>
                  <a:pt x="406" y="1008"/>
                </a:lnTo>
                <a:lnTo>
                  <a:pt x="392" y="966"/>
                </a:lnTo>
                <a:lnTo>
                  <a:pt x="383" y="946"/>
                </a:lnTo>
                <a:lnTo>
                  <a:pt x="374" y="930"/>
                </a:lnTo>
                <a:lnTo>
                  <a:pt x="373" y="928"/>
                </a:lnTo>
                <a:lnTo>
                  <a:pt x="367" y="928"/>
                </a:lnTo>
                <a:lnTo>
                  <a:pt x="366" y="927"/>
                </a:lnTo>
                <a:lnTo>
                  <a:pt x="364" y="923"/>
                </a:lnTo>
                <a:lnTo>
                  <a:pt x="364" y="918"/>
                </a:lnTo>
                <a:lnTo>
                  <a:pt x="362" y="914"/>
                </a:lnTo>
                <a:lnTo>
                  <a:pt x="343" y="894"/>
                </a:lnTo>
                <a:lnTo>
                  <a:pt x="324" y="875"/>
                </a:lnTo>
                <a:lnTo>
                  <a:pt x="302" y="861"/>
                </a:lnTo>
                <a:lnTo>
                  <a:pt x="296" y="857"/>
                </a:lnTo>
                <a:lnTo>
                  <a:pt x="291" y="856"/>
                </a:lnTo>
                <a:lnTo>
                  <a:pt x="288" y="852"/>
                </a:lnTo>
                <a:lnTo>
                  <a:pt x="257" y="842"/>
                </a:lnTo>
                <a:lnTo>
                  <a:pt x="234" y="840"/>
                </a:lnTo>
                <a:lnTo>
                  <a:pt x="215" y="843"/>
                </a:lnTo>
                <a:lnTo>
                  <a:pt x="196" y="849"/>
                </a:lnTo>
                <a:lnTo>
                  <a:pt x="175" y="857"/>
                </a:lnTo>
                <a:lnTo>
                  <a:pt x="146" y="871"/>
                </a:lnTo>
                <a:lnTo>
                  <a:pt x="120" y="885"/>
                </a:lnTo>
                <a:lnTo>
                  <a:pt x="101" y="895"/>
                </a:lnTo>
                <a:lnTo>
                  <a:pt x="80" y="906"/>
                </a:lnTo>
                <a:lnTo>
                  <a:pt x="57" y="914"/>
                </a:lnTo>
                <a:lnTo>
                  <a:pt x="33" y="920"/>
                </a:lnTo>
                <a:lnTo>
                  <a:pt x="6" y="920"/>
                </a:lnTo>
                <a:lnTo>
                  <a:pt x="0" y="835"/>
                </a:lnTo>
                <a:lnTo>
                  <a:pt x="2" y="753"/>
                </a:lnTo>
                <a:lnTo>
                  <a:pt x="7" y="676"/>
                </a:lnTo>
                <a:lnTo>
                  <a:pt x="19" y="601"/>
                </a:lnTo>
                <a:lnTo>
                  <a:pt x="33" y="530"/>
                </a:lnTo>
                <a:lnTo>
                  <a:pt x="49" y="463"/>
                </a:lnTo>
                <a:lnTo>
                  <a:pt x="66" y="400"/>
                </a:lnTo>
                <a:lnTo>
                  <a:pt x="71" y="385"/>
                </a:lnTo>
                <a:lnTo>
                  <a:pt x="75" y="367"/>
                </a:lnTo>
                <a:lnTo>
                  <a:pt x="82" y="354"/>
                </a:lnTo>
                <a:lnTo>
                  <a:pt x="90" y="340"/>
                </a:lnTo>
                <a:lnTo>
                  <a:pt x="158" y="359"/>
                </a:lnTo>
                <a:lnTo>
                  <a:pt x="229" y="378"/>
                </a:lnTo>
                <a:lnTo>
                  <a:pt x="303" y="395"/>
                </a:lnTo>
                <a:lnTo>
                  <a:pt x="383" y="409"/>
                </a:lnTo>
                <a:lnTo>
                  <a:pt x="464" y="419"/>
                </a:lnTo>
                <a:lnTo>
                  <a:pt x="551" y="425"/>
                </a:lnTo>
                <a:lnTo>
                  <a:pt x="639" y="423"/>
                </a:lnTo>
                <a:lnTo>
                  <a:pt x="669" y="421"/>
                </a:lnTo>
                <a:lnTo>
                  <a:pt x="691" y="416"/>
                </a:lnTo>
                <a:lnTo>
                  <a:pt x="705" y="406"/>
                </a:lnTo>
                <a:lnTo>
                  <a:pt x="715" y="388"/>
                </a:lnTo>
                <a:lnTo>
                  <a:pt x="719" y="371"/>
                </a:lnTo>
                <a:lnTo>
                  <a:pt x="719" y="352"/>
                </a:lnTo>
                <a:lnTo>
                  <a:pt x="715" y="331"/>
                </a:lnTo>
                <a:lnTo>
                  <a:pt x="705" y="298"/>
                </a:lnTo>
                <a:lnTo>
                  <a:pt x="674" y="239"/>
                </a:lnTo>
                <a:lnTo>
                  <a:pt x="658" y="212"/>
                </a:lnTo>
                <a:lnTo>
                  <a:pt x="648" y="189"/>
                </a:lnTo>
                <a:lnTo>
                  <a:pt x="641" y="167"/>
                </a:lnTo>
                <a:lnTo>
                  <a:pt x="639" y="142"/>
                </a:lnTo>
                <a:lnTo>
                  <a:pt x="644" y="120"/>
                </a:lnTo>
                <a:lnTo>
                  <a:pt x="658" y="97"/>
                </a:lnTo>
                <a:lnTo>
                  <a:pt x="674" y="78"/>
                </a:lnTo>
                <a:lnTo>
                  <a:pt x="702" y="54"/>
                </a:lnTo>
                <a:lnTo>
                  <a:pt x="734" y="35"/>
                </a:lnTo>
                <a:lnTo>
                  <a:pt x="773" y="21"/>
                </a:lnTo>
                <a:lnTo>
                  <a:pt x="812" y="13"/>
                </a:lnTo>
                <a:lnTo>
                  <a:pt x="854" y="6"/>
                </a:lnTo>
                <a:lnTo>
                  <a:pt x="897" y="0"/>
                </a:lnTo>
                <a:close/>
              </a:path>
            </a:pathLst>
          </a:custGeom>
          <a:solidFill>
            <a:schemeClr val="tx1"/>
          </a:solidFill>
          <a:ln w="12700">
            <a:solidFill>
              <a:schemeClr val="bg1"/>
            </a:solidFill>
            <a:round/>
            <a:headEnd/>
            <a:tailEnd/>
          </a:ln>
        </p:spPr>
        <p:txBody>
          <a:bodyPr/>
          <a:lstStyle/>
          <a:p>
            <a:endParaRPr lang="en-US"/>
          </a:p>
        </p:txBody>
      </p:sp>
      <p:sp>
        <p:nvSpPr>
          <p:cNvPr id="211" name="Rectangle 59"/>
          <p:cNvSpPr>
            <a:spLocks noChangeArrowheads="1"/>
          </p:cNvSpPr>
          <p:nvPr/>
        </p:nvSpPr>
        <p:spPr bwMode="gray">
          <a:xfrm rot="680129">
            <a:off x="2697503" y="3400288"/>
            <a:ext cx="762000" cy="965200"/>
          </a:xfrm>
          <a:prstGeom prst="rect">
            <a:avLst/>
          </a:prstGeom>
          <a:noFill/>
          <a:ln w="19050" algn="ctr">
            <a:noFill/>
            <a:miter lim="800000"/>
            <a:headEnd/>
            <a:tailEnd/>
          </a:ln>
          <a:effectLst/>
        </p:spPr>
        <p:txBody>
          <a:bodyPr lIns="72000" tIns="72000" rIns="72000" bIns="72000" anchor="ctr"/>
          <a:lstStyle/>
          <a:p>
            <a:pPr lvl="0" algn="ctr" fontAlgn="base">
              <a:spcBef>
                <a:spcPct val="0"/>
              </a:spcBef>
              <a:spcAft>
                <a:spcPct val="0"/>
              </a:spcAft>
              <a:defRPr/>
            </a:pPr>
            <a:r>
              <a:rPr lang="en-US" sz="1400" b="1">
                <a:solidFill>
                  <a:srgbClr val="FFFFFF"/>
                </a:solidFill>
              </a:rPr>
              <a:t>Text</a:t>
            </a:r>
            <a:endParaRPr lang="en-US" sz="1400" b="1" dirty="0">
              <a:solidFill>
                <a:srgbClr val="FFFFFF"/>
              </a:solidFill>
            </a:endParaRPr>
          </a:p>
        </p:txBody>
      </p:sp>
      <p:sp>
        <p:nvSpPr>
          <p:cNvPr id="216" name="AutoShape 22"/>
          <p:cNvSpPr>
            <a:spLocks/>
          </p:cNvSpPr>
          <p:nvPr/>
        </p:nvSpPr>
        <p:spPr bwMode="gray">
          <a:xfrm rot="1556228">
            <a:off x="3368675" y="4426460"/>
            <a:ext cx="1522413" cy="1209674"/>
          </a:xfrm>
          <a:custGeom>
            <a:avLst/>
            <a:gdLst>
              <a:gd name="T0" fmla="*/ 1839 w 2317"/>
              <a:gd name="T1" fmla="*/ 43 h 1844"/>
              <a:gd name="T2" fmla="*/ 1934 w 2317"/>
              <a:gd name="T3" fmla="*/ 254 h 1844"/>
              <a:gd name="T4" fmla="*/ 1899 w 2317"/>
              <a:gd name="T5" fmla="*/ 556 h 1844"/>
              <a:gd name="T6" fmla="*/ 1908 w 2317"/>
              <a:gd name="T7" fmla="*/ 701 h 1844"/>
              <a:gd name="T8" fmla="*/ 1995 w 2317"/>
              <a:gd name="T9" fmla="*/ 717 h 1844"/>
              <a:gd name="T10" fmla="*/ 2147 w 2317"/>
              <a:gd name="T11" fmla="*/ 644 h 1844"/>
              <a:gd name="T12" fmla="*/ 2223 w 2317"/>
              <a:gd name="T13" fmla="*/ 661 h 1844"/>
              <a:gd name="T14" fmla="*/ 2266 w 2317"/>
              <a:gd name="T15" fmla="*/ 705 h 1844"/>
              <a:gd name="T16" fmla="*/ 2317 w 2317"/>
              <a:gd name="T17" fmla="*/ 923 h 1844"/>
              <a:gd name="T18" fmla="*/ 2268 w 2317"/>
              <a:gd name="T19" fmla="*/ 1143 h 1844"/>
              <a:gd name="T20" fmla="*/ 2244 w 2317"/>
              <a:gd name="T21" fmla="*/ 1170 h 1844"/>
              <a:gd name="T22" fmla="*/ 2135 w 2317"/>
              <a:gd name="T23" fmla="*/ 1219 h 1844"/>
              <a:gd name="T24" fmla="*/ 2001 w 2317"/>
              <a:gd name="T25" fmla="*/ 1174 h 1844"/>
              <a:gd name="T26" fmla="*/ 1936 w 2317"/>
              <a:gd name="T27" fmla="*/ 1165 h 1844"/>
              <a:gd name="T28" fmla="*/ 1903 w 2317"/>
              <a:gd name="T29" fmla="*/ 1271 h 1844"/>
              <a:gd name="T30" fmla="*/ 1922 w 2317"/>
              <a:gd name="T31" fmla="*/ 1546 h 1844"/>
              <a:gd name="T32" fmla="*/ 1860 w 2317"/>
              <a:gd name="T33" fmla="*/ 1792 h 1844"/>
              <a:gd name="T34" fmla="*/ 1576 w 2317"/>
              <a:gd name="T35" fmla="*/ 1838 h 1844"/>
              <a:gd name="T36" fmla="*/ 1446 w 2317"/>
              <a:gd name="T37" fmla="*/ 1785 h 1844"/>
              <a:gd name="T38" fmla="*/ 1496 w 2317"/>
              <a:gd name="T39" fmla="*/ 1627 h 1844"/>
              <a:gd name="T40" fmla="*/ 1430 w 2317"/>
              <a:gd name="T41" fmla="*/ 1496 h 1844"/>
              <a:gd name="T42" fmla="*/ 1418 w 2317"/>
              <a:gd name="T43" fmla="*/ 1490 h 1844"/>
              <a:gd name="T44" fmla="*/ 1406 w 2317"/>
              <a:gd name="T45" fmla="*/ 1482 h 1844"/>
              <a:gd name="T46" fmla="*/ 1382 w 2317"/>
              <a:gd name="T47" fmla="*/ 1464 h 1844"/>
              <a:gd name="T48" fmla="*/ 1215 w 2317"/>
              <a:gd name="T49" fmla="*/ 1425 h 1844"/>
              <a:gd name="T50" fmla="*/ 982 w 2317"/>
              <a:gd name="T51" fmla="*/ 1449 h 1844"/>
              <a:gd name="T52" fmla="*/ 866 w 2317"/>
              <a:gd name="T53" fmla="*/ 1530 h 1844"/>
              <a:gd name="T54" fmla="*/ 838 w 2317"/>
              <a:gd name="T55" fmla="*/ 1612 h 1844"/>
              <a:gd name="T56" fmla="*/ 881 w 2317"/>
              <a:gd name="T57" fmla="*/ 1722 h 1844"/>
              <a:gd name="T58" fmla="*/ 902 w 2317"/>
              <a:gd name="T59" fmla="*/ 1842 h 1844"/>
              <a:gd name="T60" fmla="*/ 661 w 2317"/>
              <a:gd name="T61" fmla="*/ 1835 h 1844"/>
              <a:gd name="T62" fmla="*/ 336 w 2317"/>
              <a:gd name="T63" fmla="*/ 1757 h 1844"/>
              <a:gd name="T64" fmla="*/ 409 w 2317"/>
              <a:gd name="T65" fmla="*/ 1463 h 1844"/>
              <a:gd name="T66" fmla="*/ 421 w 2317"/>
              <a:gd name="T67" fmla="*/ 1170 h 1844"/>
              <a:gd name="T68" fmla="*/ 343 w 2317"/>
              <a:gd name="T69" fmla="*/ 1123 h 1844"/>
              <a:gd name="T70" fmla="*/ 206 w 2317"/>
              <a:gd name="T71" fmla="*/ 1188 h 1844"/>
              <a:gd name="T72" fmla="*/ 78 w 2317"/>
              <a:gd name="T73" fmla="*/ 1172 h 1844"/>
              <a:gd name="T74" fmla="*/ 9 w 2317"/>
              <a:gd name="T75" fmla="*/ 1025 h 1844"/>
              <a:gd name="T76" fmla="*/ 17 w 2317"/>
              <a:gd name="T77" fmla="*/ 779 h 1844"/>
              <a:gd name="T78" fmla="*/ 74 w 2317"/>
              <a:gd name="T79" fmla="*/ 675 h 1844"/>
              <a:gd name="T80" fmla="*/ 182 w 2317"/>
              <a:gd name="T81" fmla="*/ 627 h 1844"/>
              <a:gd name="T82" fmla="*/ 331 w 2317"/>
              <a:gd name="T83" fmla="*/ 679 h 1844"/>
              <a:gd name="T84" fmla="*/ 403 w 2317"/>
              <a:gd name="T85" fmla="*/ 646 h 1844"/>
              <a:gd name="T86" fmla="*/ 419 w 2317"/>
              <a:gd name="T87" fmla="*/ 467 h 1844"/>
              <a:gd name="T88" fmla="*/ 381 w 2317"/>
              <a:gd name="T89" fmla="*/ 242 h 1844"/>
              <a:gd name="T90" fmla="*/ 521 w 2317"/>
              <a:gd name="T91" fmla="*/ 31 h 1844"/>
              <a:gd name="T92" fmla="*/ 803 w 2317"/>
              <a:gd name="T93" fmla="*/ 7 h 1844"/>
              <a:gd name="T94" fmla="*/ 878 w 2317"/>
              <a:gd name="T95" fmla="*/ 47 h 1844"/>
              <a:gd name="T96" fmla="*/ 836 w 2317"/>
              <a:gd name="T97" fmla="*/ 149 h 1844"/>
              <a:gd name="T98" fmla="*/ 850 w 2317"/>
              <a:gd name="T99" fmla="*/ 299 h 1844"/>
              <a:gd name="T100" fmla="*/ 923 w 2317"/>
              <a:gd name="T101" fmla="*/ 367 h 1844"/>
              <a:gd name="T102" fmla="*/ 1049 w 2317"/>
              <a:gd name="T103" fmla="*/ 414 h 1844"/>
              <a:gd name="T104" fmla="*/ 1319 w 2317"/>
              <a:gd name="T105" fmla="*/ 402 h 1844"/>
              <a:gd name="T106" fmla="*/ 1465 w 2317"/>
              <a:gd name="T107" fmla="*/ 294 h 1844"/>
              <a:gd name="T108" fmla="*/ 1437 w 2317"/>
              <a:gd name="T109" fmla="*/ 125 h 1844"/>
              <a:gd name="T110" fmla="*/ 1399 w 2317"/>
              <a:gd name="T111" fmla="*/ 10 h 184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17"/>
              <a:gd name="T169" fmla="*/ 0 h 1844"/>
              <a:gd name="T170" fmla="*/ 2317 w 2317"/>
              <a:gd name="T171" fmla="*/ 1844 h 184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17" h="1844">
                <a:moveTo>
                  <a:pt x="1506" y="0"/>
                </a:moveTo>
                <a:lnTo>
                  <a:pt x="1596" y="3"/>
                </a:lnTo>
                <a:lnTo>
                  <a:pt x="1681" y="14"/>
                </a:lnTo>
                <a:lnTo>
                  <a:pt x="1761" y="26"/>
                </a:lnTo>
                <a:lnTo>
                  <a:pt x="1839" y="43"/>
                </a:lnTo>
                <a:lnTo>
                  <a:pt x="1911" y="64"/>
                </a:lnTo>
                <a:lnTo>
                  <a:pt x="1982" y="87"/>
                </a:lnTo>
                <a:lnTo>
                  <a:pt x="1965" y="142"/>
                </a:lnTo>
                <a:lnTo>
                  <a:pt x="1950" y="197"/>
                </a:lnTo>
                <a:lnTo>
                  <a:pt x="1934" y="254"/>
                </a:lnTo>
                <a:lnTo>
                  <a:pt x="1922" y="317"/>
                </a:lnTo>
                <a:lnTo>
                  <a:pt x="1910" y="383"/>
                </a:lnTo>
                <a:lnTo>
                  <a:pt x="1905" y="435"/>
                </a:lnTo>
                <a:lnTo>
                  <a:pt x="1901" y="493"/>
                </a:lnTo>
                <a:lnTo>
                  <a:pt x="1899" y="556"/>
                </a:lnTo>
                <a:lnTo>
                  <a:pt x="1898" y="580"/>
                </a:lnTo>
                <a:lnTo>
                  <a:pt x="1896" y="608"/>
                </a:lnTo>
                <a:lnTo>
                  <a:pt x="1896" y="660"/>
                </a:lnTo>
                <a:lnTo>
                  <a:pt x="1901" y="682"/>
                </a:lnTo>
                <a:lnTo>
                  <a:pt x="1908" y="701"/>
                </a:lnTo>
                <a:lnTo>
                  <a:pt x="1918" y="713"/>
                </a:lnTo>
                <a:lnTo>
                  <a:pt x="1936" y="720"/>
                </a:lnTo>
                <a:lnTo>
                  <a:pt x="1955" y="722"/>
                </a:lnTo>
                <a:lnTo>
                  <a:pt x="1976" y="720"/>
                </a:lnTo>
                <a:lnTo>
                  <a:pt x="1995" y="717"/>
                </a:lnTo>
                <a:lnTo>
                  <a:pt x="2026" y="705"/>
                </a:lnTo>
                <a:lnTo>
                  <a:pt x="2052" y="691"/>
                </a:lnTo>
                <a:lnTo>
                  <a:pt x="2100" y="663"/>
                </a:lnTo>
                <a:lnTo>
                  <a:pt x="2124" y="653"/>
                </a:lnTo>
                <a:lnTo>
                  <a:pt x="2147" y="644"/>
                </a:lnTo>
                <a:lnTo>
                  <a:pt x="2171" y="642"/>
                </a:lnTo>
                <a:lnTo>
                  <a:pt x="2195" y="646"/>
                </a:lnTo>
                <a:lnTo>
                  <a:pt x="2221" y="656"/>
                </a:lnTo>
                <a:lnTo>
                  <a:pt x="2223" y="658"/>
                </a:lnTo>
                <a:lnTo>
                  <a:pt x="2223" y="661"/>
                </a:lnTo>
                <a:lnTo>
                  <a:pt x="2225" y="663"/>
                </a:lnTo>
                <a:lnTo>
                  <a:pt x="2239" y="672"/>
                </a:lnTo>
                <a:lnTo>
                  <a:pt x="2253" y="686"/>
                </a:lnTo>
                <a:lnTo>
                  <a:pt x="2261" y="696"/>
                </a:lnTo>
                <a:lnTo>
                  <a:pt x="2266" y="705"/>
                </a:lnTo>
                <a:lnTo>
                  <a:pt x="2291" y="753"/>
                </a:lnTo>
                <a:lnTo>
                  <a:pt x="2303" y="786"/>
                </a:lnTo>
                <a:lnTo>
                  <a:pt x="2311" y="829"/>
                </a:lnTo>
                <a:lnTo>
                  <a:pt x="2317" y="874"/>
                </a:lnTo>
                <a:lnTo>
                  <a:pt x="2317" y="923"/>
                </a:lnTo>
                <a:lnTo>
                  <a:pt x="2315" y="973"/>
                </a:lnTo>
                <a:lnTo>
                  <a:pt x="2310" y="1020"/>
                </a:lnTo>
                <a:lnTo>
                  <a:pt x="2299" y="1065"/>
                </a:lnTo>
                <a:lnTo>
                  <a:pt x="2285" y="1106"/>
                </a:lnTo>
                <a:lnTo>
                  <a:pt x="2268" y="1143"/>
                </a:lnTo>
                <a:lnTo>
                  <a:pt x="2265" y="1146"/>
                </a:lnTo>
                <a:lnTo>
                  <a:pt x="2263" y="1149"/>
                </a:lnTo>
                <a:lnTo>
                  <a:pt x="2259" y="1151"/>
                </a:lnTo>
                <a:lnTo>
                  <a:pt x="2256" y="1155"/>
                </a:lnTo>
                <a:lnTo>
                  <a:pt x="2244" y="1170"/>
                </a:lnTo>
                <a:lnTo>
                  <a:pt x="2228" y="1188"/>
                </a:lnTo>
                <a:lnTo>
                  <a:pt x="2209" y="1203"/>
                </a:lnTo>
                <a:lnTo>
                  <a:pt x="2188" y="1213"/>
                </a:lnTo>
                <a:lnTo>
                  <a:pt x="2164" y="1220"/>
                </a:lnTo>
                <a:lnTo>
                  <a:pt x="2135" y="1219"/>
                </a:lnTo>
                <a:lnTo>
                  <a:pt x="2105" y="1213"/>
                </a:lnTo>
                <a:lnTo>
                  <a:pt x="2078" y="1203"/>
                </a:lnTo>
                <a:lnTo>
                  <a:pt x="2052" y="1193"/>
                </a:lnTo>
                <a:lnTo>
                  <a:pt x="2027" y="1184"/>
                </a:lnTo>
                <a:lnTo>
                  <a:pt x="2001" y="1174"/>
                </a:lnTo>
                <a:lnTo>
                  <a:pt x="1989" y="1167"/>
                </a:lnTo>
                <a:lnTo>
                  <a:pt x="1977" y="1162"/>
                </a:lnTo>
                <a:lnTo>
                  <a:pt x="1965" y="1158"/>
                </a:lnTo>
                <a:lnTo>
                  <a:pt x="1953" y="1158"/>
                </a:lnTo>
                <a:lnTo>
                  <a:pt x="1936" y="1165"/>
                </a:lnTo>
                <a:lnTo>
                  <a:pt x="1924" y="1179"/>
                </a:lnTo>
                <a:lnTo>
                  <a:pt x="1915" y="1196"/>
                </a:lnTo>
                <a:lnTo>
                  <a:pt x="1908" y="1219"/>
                </a:lnTo>
                <a:lnTo>
                  <a:pt x="1905" y="1245"/>
                </a:lnTo>
                <a:lnTo>
                  <a:pt x="1903" y="1271"/>
                </a:lnTo>
                <a:lnTo>
                  <a:pt x="1901" y="1326"/>
                </a:lnTo>
                <a:lnTo>
                  <a:pt x="1901" y="1381"/>
                </a:lnTo>
                <a:lnTo>
                  <a:pt x="1903" y="1432"/>
                </a:lnTo>
                <a:lnTo>
                  <a:pt x="1910" y="1490"/>
                </a:lnTo>
                <a:lnTo>
                  <a:pt x="1922" y="1546"/>
                </a:lnTo>
                <a:lnTo>
                  <a:pt x="1937" y="1600"/>
                </a:lnTo>
                <a:lnTo>
                  <a:pt x="1969" y="1703"/>
                </a:lnTo>
                <a:lnTo>
                  <a:pt x="1982" y="1757"/>
                </a:lnTo>
                <a:lnTo>
                  <a:pt x="1922" y="1773"/>
                </a:lnTo>
                <a:lnTo>
                  <a:pt x="1860" y="1792"/>
                </a:lnTo>
                <a:lnTo>
                  <a:pt x="1795" y="1811"/>
                </a:lnTo>
                <a:lnTo>
                  <a:pt x="1726" y="1826"/>
                </a:lnTo>
                <a:lnTo>
                  <a:pt x="1679" y="1833"/>
                </a:lnTo>
                <a:lnTo>
                  <a:pt x="1629" y="1837"/>
                </a:lnTo>
                <a:lnTo>
                  <a:pt x="1576" y="1838"/>
                </a:lnTo>
                <a:lnTo>
                  <a:pt x="1539" y="1838"/>
                </a:lnTo>
                <a:lnTo>
                  <a:pt x="1501" y="1837"/>
                </a:lnTo>
                <a:lnTo>
                  <a:pt x="1466" y="1831"/>
                </a:lnTo>
                <a:lnTo>
                  <a:pt x="1434" y="1819"/>
                </a:lnTo>
                <a:lnTo>
                  <a:pt x="1446" y="1785"/>
                </a:lnTo>
                <a:lnTo>
                  <a:pt x="1460" y="1754"/>
                </a:lnTo>
                <a:lnTo>
                  <a:pt x="1472" y="1722"/>
                </a:lnTo>
                <a:lnTo>
                  <a:pt x="1484" y="1693"/>
                </a:lnTo>
                <a:lnTo>
                  <a:pt x="1492" y="1660"/>
                </a:lnTo>
                <a:lnTo>
                  <a:pt x="1496" y="1627"/>
                </a:lnTo>
                <a:lnTo>
                  <a:pt x="1491" y="1593"/>
                </a:lnTo>
                <a:lnTo>
                  <a:pt x="1480" y="1561"/>
                </a:lnTo>
                <a:lnTo>
                  <a:pt x="1461" y="1532"/>
                </a:lnTo>
                <a:lnTo>
                  <a:pt x="1435" y="1506"/>
                </a:lnTo>
                <a:lnTo>
                  <a:pt x="1430" y="1496"/>
                </a:lnTo>
                <a:lnTo>
                  <a:pt x="1427" y="1496"/>
                </a:lnTo>
                <a:lnTo>
                  <a:pt x="1425" y="1494"/>
                </a:lnTo>
                <a:lnTo>
                  <a:pt x="1421" y="1494"/>
                </a:lnTo>
                <a:lnTo>
                  <a:pt x="1418" y="1492"/>
                </a:lnTo>
                <a:lnTo>
                  <a:pt x="1418" y="1490"/>
                </a:lnTo>
                <a:lnTo>
                  <a:pt x="1416" y="1489"/>
                </a:lnTo>
                <a:lnTo>
                  <a:pt x="1416" y="1487"/>
                </a:lnTo>
                <a:lnTo>
                  <a:pt x="1415" y="1485"/>
                </a:lnTo>
                <a:lnTo>
                  <a:pt x="1408" y="1485"/>
                </a:lnTo>
                <a:lnTo>
                  <a:pt x="1406" y="1482"/>
                </a:lnTo>
                <a:lnTo>
                  <a:pt x="1404" y="1480"/>
                </a:lnTo>
                <a:lnTo>
                  <a:pt x="1402" y="1477"/>
                </a:lnTo>
                <a:lnTo>
                  <a:pt x="1395" y="1477"/>
                </a:lnTo>
                <a:lnTo>
                  <a:pt x="1390" y="1473"/>
                </a:lnTo>
                <a:lnTo>
                  <a:pt x="1382" y="1464"/>
                </a:lnTo>
                <a:lnTo>
                  <a:pt x="1376" y="1463"/>
                </a:lnTo>
                <a:lnTo>
                  <a:pt x="1342" y="1449"/>
                </a:lnTo>
                <a:lnTo>
                  <a:pt x="1304" y="1439"/>
                </a:lnTo>
                <a:lnTo>
                  <a:pt x="1262" y="1430"/>
                </a:lnTo>
                <a:lnTo>
                  <a:pt x="1215" y="1425"/>
                </a:lnTo>
                <a:lnTo>
                  <a:pt x="1167" y="1423"/>
                </a:lnTo>
                <a:lnTo>
                  <a:pt x="1117" y="1425"/>
                </a:lnTo>
                <a:lnTo>
                  <a:pt x="1068" y="1430"/>
                </a:lnTo>
                <a:lnTo>
                  <a:pt x="1023" y="1437"/>
                </a:lnTo>
                <a:lnTo>
                  <a:pt x="982" y="1449"/>
                </a:lnTo>
                <a:lnTo>
                  <a:pt x="945" y="1463"/>
                </a:lnTo>
                <a:lnTo>
                  <a:pt x="916" y="1482"/>
                </a:lnTo>
                <a:lnTo>
                  <a:pt x="892" y="1501"/>
                </a:lnTo>
                <a:lnTo>
                  <a:pt x="869" y="1523"/>
                </a:lnTo>
                <a:lnTo>
                  <a:pt x="866" y="1530"/>
                </a:lnTo>
                <a:lnTo>
                  <a:pt x="860" y="1539"/>
                </a:lnTo>
                <a:lnTo>
                  <a:pt x="854" y="1549"/>
                </a:lnTo>
                <a:lnTo>
                  <a:pt x="850" y="1558"/>
                </a:lnTo>
                <a:lnTo>
                  <a:pt x="841" y="1586"/>
                </a:lnTo>
                <a:lnTo>
                  <a:pt x="838" y="1612"/>
                </a:lnTo>
                <a:lnTo>
                  <a:pt x="841" y="1632"/>
                </a:lnTo>
                <a:lnTo>
                  <a:pt x="848" y="1651"/>
                </a:lnTo>
                <a:lnTo>
                  <a:pt x="857" y="1669"/>
                </a:lnTo>
                <a:lnTo>
                  <a:pt x="869" y="1696"/>
                </a:lnTo>
                <a:lnTo>
                  <a:pt x="881" y="1722"/>
                </a:lnTo>
                <a:lnTo>
                  <a:pt x="902" y="1760"/>
                </a:lnTo>
                <a:lnTo>
                  <a:pt x="912" y="1783"/>
                </a:lnTo>
                <a:lnTo>
                  <a:pt x="918" y="1807"/>
                </a:lnTo>
                <a:lnTo>
                  <a:pt x="919" y="1835"/>
                </a:lnTo>
                <a:lnTo>
                  <a:pt x="902" y="1842"/>
                </a:lnTo>
                <a:lnTo>
                  <a:pt x="881" y="1844"/>
                </a:lnTo>
                <a:lnTo>
                  <a:pt x="862" y="1842"/>
                </a:lnTo>
                <a:lnTo>
                  <a:pt x="781" y="1842"/>
                </a:lnTo>
                <a:lnTo>
                  <a:pt x="720" y="1840"/>
                </a:lnTo>
                <a:lnTo>
                  <a:pt x="661" y="1835"/>
                </a:lnTo>
                <a:lnTo>
                  <a:pt x="604" y="1826"/>
                </a:lnTo>
                <a:lnTo>
                  <a:pt x="533" y="1812"/>
                </a:lnTo>
                <a:lnTo>
                  <a:pt x="464" y="1795"/>
                </a:lnTo>
                <a:lnTo>
                  <a:pt x="398" y="1776"/>
                </a:lnTo>
                <a:lnTo>
                  <a:pt x="336" y="1757"/>
                </a:lnTo>
                <a:lnTo>
                  <a:pt x="353" y="1695"/>
                </a:lnTo>
                <a:lnTo>
                  <a:pt x="370" y="1639"/>
                </a:lnTo>
                <a:lnTo>
                  <a:pt x="386" y="1584"/>
                </a:lnTo>
                <a:lnTo>
                  <a:pt x="398" y="1527"/>
                </a:lnTo>
                <a:lnTo>
                  <a:pt x="409" y="1463"/>
                </a:lnTo>
                <a:lnTo>
                  <a:pt x="415" y="1380"/>
                </a:lnTo>
                <a:lnTo>
                  <a:pt x="419" y="1290"/>
                </a:lnTo>
                <a:lnTo>
                  <a:pt x="422" y="1241"/>
                </a:lnTo>
                <a:lnTo>
                  <a:pt x="422" y="1193"/>
                </a:lnTo>
                <a:lnTo>
                  <a:pt x="421" y="1170"/>
                </a:lnTo>
                <a:lnTo>
                  <a:pt x="415" y="1151"/>
                </a:lnTo>
                <a:lnTo>
                  <a:pt x="407" y="1137"/>
                </a:lnTo>
                <a:lnTo>
                  <a:pt x="393" y="1129"/>
                </a:lnTo>
                <a:lnTo>
                  <a:pt x="369" y="1122"/>
                </a:lnTo>
                <a:lnTo>
                  <a:pt x="343" y="1123"/>
                </a:lnTo>
                <a:lnTo>
                  <a:pt x="317" y="1130"/>
                </a:lnTo>
                <a:lnTo>
                  <a:pt x="289" y="1141"/>
                </a:lnTo>
                <a:lnTo>
                  <a:pt x="263" y="1155"/>
                </a:lnTo>
                <a:lnTo>
                  <a:pt x="234" y="1170"/>
                </a:lnTo>
                <a:lnTo>
                  <a:pt x="206" y="1188"/>
                </a:lnTo>
                <a:lnTo>
                  <a:pt x="178" y="1200"/>
                </a:lnTo>
                <a:lnTo>
                  <a:pt x="151" y="1205"/>
                </a:lnTo>
                <a:lnTo>
                  <a:pt x="125" y="1201"/>
                </a:lnTo>
                <a:lnTo>
                  <a:pt x="100" y="1189"/>
                </a:lnTo>
                <a:lnTo>
                  <a:pt x="78" y="1172"/>
                </a:lnTo>
                <a:lnTo>
                  <a:pt x="59" y="1151"/>
                </a:lnTo>
                <a:lnTo>
                  <a:pt x="43" y="1129"/>
                </a:lnTo>
                <a:lnTo>
                  <a:pt x="31" y="1108"/>
                </a:lnTo>
                <a:lnTo>
                  <a:pt x="17" y="1070"/>
                </a:lnTo>
                <a:lnTo>
                  <a:pt x="9" y="1025"/>
                </a:lnTo>
                <a:lnTo>
                  <a:pt x="2" y="976"/>
                </a:lnTo>
                <a:lnTo>
                  <a:pt x="0" y="924"/>
                </a:lnTo>
                <a:lnTo>
                  <a:pt x="3" y="874"/>
                </a:lnTo>
                <a:lnTo>
                  <a:pt x="9" y="824"/>
                </a:lnTo>
                <a:lnTo>
                  <a:pt x="17" y="779"/>
                </a:lnTo>
                <a:lnTo>
                  <a:pt x="31" y="739"/>
                </a:lnTo>
                <a:lnTo>
                  <a:pt x="40" y="720"/>
                </a:lnTo>
                <a:lnTo>
                  <a:pt x="50" y="705"/>
                </a:lnTo>
                <a:lnTo>
                  <a:pt x="61" y="691"/>
                </a:lnTo>
                <a:lnTo>
                  <a:pt x="74" y="675"/>
                </a:lnTo>
                <a:lnTo>
                  <a:pt x="92" y="658"/>
                </a:lnTo>
                <a:lnTo>
                  <a:pt x="109" y="644"/>
                </a:lnTo>
                <a:lnTo>
                  <a:pt x="130" y="634"/>
                </a:lnTo>
                <a:lnTo>
                  <a:pt x="154" y="627"/>
                </a:lnTo>
                <a:lnTo>
                  <a:pt x="182" y="627"/>
                </a:lnTo>
                <a:lnTo>
                  <a:pt x="213" y="632"/>
                </a:lnTo>
                <a:lnTo>
                  <a:pt x="248" y="644"/>
                </a:lnTo>
                <a:lnTo>
                  <a:pt x="280" y="656"/>
                </a:lnTo>
                <a:lnTo>
                  <a:pt x="312" y="672"/>
                </a:lnTo>
                <a:lnTo>
                  <a:pt x="331" y="679"/>
                </a:lnTo>
                <a:lnTo>
                  <a:pt x="348" y="686"/>
                </a:lnTo>
                <a:lnTo>
                  <a:pt x="365" y="686"/>
                </a:lnTo>
                <a:lnTo>
                  <a:pt x="381" y="679"/>
                </a:lnTo>
                <a:lnTo>
                  <a:pt x="393" y="665"/>
                </a:lnTo>
                <a:lnTo>
                  <a:pt x="403" y="646"/>
                </a:lnTo>
                <a:lnTo>
                  <a:pt x="410" y="621"/>
                </a:lnTo>
                <a:lnTo>
                  <a:pt x="415" y="592"/>
                </a:lnTo>
                <a:lnTo>
                  <a:pt x="417" y="563"/>
                </a:lnTo>
                <a:lnTo>
                  <a:pt x="419" y="530"/>
                </a:lnTo>
                <a:lnTo>
                  <a:pt x="419" y="467"/>
                </a:lnTo>
                <a:lnTo>
                  <a:pt x="417" y="438"/>
                </a:lnTo>
                <a:lnTo>
                  <a:pt x="415" y="414"/>
                </a:lnTo>
                <a:lnTo>
                  <a:pt x="409" y="353"/>
                </a:lnTo>
                <a:lnTo>
                  <a:pt x="396" y="296"/>
                </a:lnTo>
                <a:lnTo>
                  <a:pt x="381" y="242"/>
                </a:lnTo>
                <a:lnTo>
                  <a:pt x="350" y="139"/>
                </a:lnTo>
                <a:lnTo>
                  <a:pt x="336" y="87"/>
                </a:lnTo>
                <a:lnTo>
                  <a:pt x="395" y="69"/>
                </a:lnTo>
                <a:lnTo>
                  <a:pt x="457" y="52"/>
                </a:lnTo>
                <a:lnTo>
                  <a:pt x="521" y="31"/>
                </a:lnTo>
                <a:lnTo>
                  <a:pt x="589" y="16"/>
                </a:lnTo>
                <a:lnTo>
                  <a:pt x="658" y="7"/>
                </a:lnTo>
                <a:lnTo>
                  <a:pt x="717" y="5"/>
                </a:lnTo>
                <a:lnTo>
                  <a:pt x="777" y="7"/>
                </a:lnTo>
                <a:lnTo>
                  <a:pt x="803" y="7"/>
                </a:lnTo>
                <a:lnTo>
                  <a:pt x="831" y="9"/>
                </a:lnTo>
                <a:lnTo>
                  <a:pt x="857" y="14"/>
                </a:lnTo>
                <a:lnTo>
                  <a:pt x="881" y="23"/>
                </a:lnTo>
                <a:lnTo>
                  <a:pt x="883" y="35"/>
                </a:lnTo>
                <a:lnTo>
                  <a:pt x="878" y="47"/>
                </a:lnTo>
                <a:lnTo>
                  <a:pt x="871" y="57"/>
                </a:lnTo>
                <a:lnTo>
                  <a:pt x="866" y="68"/>
                </a:lnTo>
                <a:lnTo>
                  <a:pt x="855" y="94"/>
                </a:lnTo>
                <a:lnTo>
                  <a:pt x="847" y="118"/>
                </a:lnTo>
                <a:lnTo>
                  <a:pt x="836" y="149"/>
                </a:lnTo>
                <a:lnTo>
                  <a:pt x="828" y="184"/>
                </a:lnTo>
                <a:lnTo>
                  <a:pt x="824" y="218"/>
                </a:lnTo>
                <a:lnTo>
                  <a:pt x="828" y="253"/>
                </a:lnTo>
                <a:lnTo>
                  <a:pt x="836" y="277"/>
                </a:lnTo>
                <a:lnTo>
                  <a:pt x="850" y="299"/>
                </a:lnTo>
                <a:lnTo>
                  <a:pt x="866" y="322"/>
                </a:lnTo>
                <a:lnTo>
                  <a:pt x="876" y="334"/>
                </a:lnTo>
                <a:lnTo>
                  <a:pt x="893" y="348"/>
                </a:lnTo>
                <a:lnTo>
                  <a:pt x="911" y="360"/>
                </a:lnTo>
                <a:lnTo>
                  <a:pt x="923" y="367"/>
                </a:lnTo>
                <a:lnTo>
                  <a:pt x="937" y="376"/>
                </a:lnTo>
                <a:lnTo>
                  <a:pt x="954" y="383"/>
                </a:lnTo>
                <a:lnTo>
                  <a:pt x="980" y="398"/>
                </a:lnTo>
                <a:lnTo>
                  <a:pt x="1015" y="407"/>
                </a:lnTo>
                <a:lnTo>
                  <a:pt x="1049" y="414"/>
                </a:lnTo>
                <a:lnTo>
                  <a:pt x="1105" y="421"/>
                </a:lnTo>
                <a:lnTo>
                  <a:pt x="1162" y="424"/>
                </a:lnTo>
                <a:lnTo>
                  <a:pt x="1217" y="421"/>
                </a:lnTo>
                <a:lnTo>
                  <a:pt x="1271" y="414"/>
                </a:lnTo>
                <a:lnTo>
                  <a:pt x="1319" y="402"/>
                </a:lnTo>
                <a:lnTo>
                  <a:pt x="1364" y="384"/>
                </a:lnTo>
                <a:lnTo>
                  <a:pt x="1402" y="364"/>
                </a:lnTo>
                <a:lnTo>
                  <a:pt x="1428" y="345"/>
                </a:lnTo>
                <a:lnTo>
                  <a:pt x="1449" y="322"/>
                </a:lnTo>
                <a:lnTo>
                  <a:pt x="1465" y="294"/>
                </a:lnTo>
                <a:lnTo>
                  <a:pt x="1477" y="263"/>
                </a:lnTo>
                <a:lnTo>
                  <a:pt x="1480" y="232"/>
                </a:lnTo>
                <a:lnTo>
                  <a:pt x="1475" y="203"/>
                </a:lnTo>
                <a:lnTo>
                  <a:pt x="1465" y="177"/>
                </a:lnTo>
                <a:lnTo>
                  <a:pt x="1437" y="125"/>
                </a:lnTo>
                <a:lnTo>
                  <a:pt x="1427" y="106"/>
                </a:lnTo>
                <a:lnTo>
                  <a:pt x="1416" y="85"/>
                </a:lnTo>
                <a:lnTo>
                  <a:pt x="1408" y="64"/>
                </a:lnTo>
                <a:lnTo>
                  <a:pt x="1401" y="38"/>
                </a:lnTo>
                <a:lnTo>
                  <a:pt x="1399" y="10"/>
                </a:lnTo>
                <a:lnTo>
                  <a:pt x="1402" y="7"/>
                </a:lnTo>
                <a:lnTo>
                  <a:pt x="1406" y="5"/>
                </a:lnTo>
                <a:lnTo>
                  <a:pt x="1411" y="2"/>
                </a:lnTo>
                <a:lnTo>
                  <a:pt x="1506" y="0"/>
                </a:lnTo>
                <a:close/>
              </a:path>
            </a:pathLst>
          </a:custGeom>
          <a:solidFill>
            <a:schemeClr val="bg2"/>
          </a:solidFill>
          <a:ln w="12700">
            <a:solidFill>
              <a:schemeClr val="bg1"/>
            </a:solidFill>
            <a:round/>
            <a:headEnd/>
            <a:tailEnd/>
          </a:ln>
        </p:spPr>
        <p:txBody>
          <a:bodyPr/>
          <a:lstStyle/>
          <a:p>
            <a:endParaRPr lang="en-US"/>
          </a:p>
        </p:txBody>
      </p:sp>
      <p:sp>
        <p:nvSpPr>
          <p:cNvPr id="217" name="Rectangle 60"/>
          <p:cNvSpPr>
            <a:spLocks noChangeArrowheads="1"/>
          </p:cNvSpPr>
          <p:nvPr/>
        </p:nvSpPr>
        <p:spPr bwMode="gray">
          <a:xfrm rot="1556228">
            <a:off x="3605192" y="4529686"/>
            <a:ext cx="1079500" cy="965200"/>
          </a:xfrm>
          <a:prstGeom prst="rect">
            <a:avLst/>
          </a:prstGeom>
          <a:noFill/>
          <a:ln w="19050" algn="ctr">
            <a:noFill/>
            <a:miter lim="800000"/>
            <a:headEnd/>
            <a:tailEnd/>
          </a:ln>
          <a:effectLst/>
        </p:spPr>
        <p:txBody>
          <a:bodyPr lIns="72000" tIns="72000" rIns="72000" bIns="72000" anchor="ctr"/>
          <a:lstStyle/>
          <a:p>
            <a:pPr lvl="0" algn="ctr" fontAlgn="base">
              <a:spcBef>
                <a:spcPct val="0"/>
              </a:spcBef>
              <a:spcAft>
                <a:spcPct val="0"/>
              </a:spcAft>
              <a:defRPr/>
            </a:pPr>
            <a:r>
              <a:rPr lang="en-US" sz="1400" b="1" dirty="0">
                <a:solidFill>
                  <a:schemeClr val="bg1"/>
                </a:solidFill>
              </a:rPr>
              <a:t>Text</a:t>
            </a:r>
          </a:p>
        </p:txBody>
      </p:sp>
      <p:sp>
        <p:nvSpPr>
          <p:cNvPr id="222" name="AutoShape 24"/>
          <p:cNvSpPr>
            <a:spLocks/>
          </p:cNvSpPr>
          <p:nvPr/>
        </p:nvSpPr>
        <p:spPr bwMode="gray">
          <a:xfrm rot="-3362871">
            <a:off x="1047590" y="3320449"/>
            <a:ext cx="1211580" cy="1522413"/>
          </a:xfrm>
          <a:custGeom>
            <a:avLst/>
            <a:gdLst>
              <a:gd name="T0" fmla="*/ 1082 w 1846"/>
              <a:gd name="T1" fmla="*/ 22 h 2316"/>
              <a:gd name="T2" fmla="*/ 1140 w 1846"/>
              <a:gd name="T3" fmla="*/ 48 h 2316"/>
              <a:gd name="T4" fmla="*/ 1185 w 1846"/>
              <a:gd name="T5" fmla="*/ 83 h 2316"/>
              <a:gd name="T6" fmla="*/ 1192 w 1846"/>
              <a:gd name="T7" fmla="*/ 97 h 2316"/>
              <a:gd name="T8" fmla="*/ 1221 w 1846"/>
              <a:gd name="T9" fmla="*/ 185 h 2316"/>
              <a:gd name="T10" fmla="*/ 1181 w 1846"/>
              <a:gd name="T11" fmla="*/ 296 h 2316"/>
              <a:gd name="T12" fmla="*/ 1164 w 1846"/>
              <a:gd name="T13" fmla="*/ 379 h 2316"/>
              <a:gd name="T14" fmla="*/ 1264 w 1846"/>
              <a:gd name="T15" fmla="*/ 417 h 2316"/>
              <a:gd name="T16" fmla="*/ 1543 w 1846"/>
              <a:gd name="T17" fmla="*/ 398 h 2316"/>
              <a:gd name="T18" fmla="*/ 1773 w 1846"/>
              <a:gd name="T19" fmla="*/ 389 h 2316"/>
              <a:gd name="T20" fmla="*/ 1830 w 1846"/>
              <a:gd name="T21" fmla="*/ 609 h 2316"/>
              <a:gd name="T22" fmla="*/ 1832 w 1846"/>
              <a:gd name="T23" fmla="*/ 848 h 2316"/>
              <a:gd name="T24" fmla="*/ 1723 w 1846"/>
              <a:gd name="T25" fmla="*/ 843 h 2316"/>
              <a:gd name="T26" fmla="*/ 1559 w 1846"/>
              <a:gd name="T27" fmla="*/ 841 h 2316"/>
              <a:gd name="T28" fmla="*/ 1441 w 1846"/>
              <a:gd name="T29" fmla="*/ 1009 h 2316"/>
              <a:gd name="T30" fmla="*/ 1429 w 1846"/>
              <a:gd name="T31" fmla="*/ 1269 h 2316"/>
              <a:gd name="T32" fmla="*/ 1510 w 1846"/>
              <a:gd name="T33" fmla="*/ 1435 h 2316"/>
              <a:gd name="T34" fmla="*/ 1642 w 1846"/>
              <a:gd name="T35" fmla="*/ 1476 h 2316"/>
              <a:gd name="T36" fmla="*/ 1761 w 1846"/>
              <a:gd name="T37" fmla="*/ 1416 h 2316"/>
              <a:gd name="T38" fmla="*/ 1846 w 1846"/>
              <a:gd name="T39" fmla="*/ 1478 h 2316"/>
              <a:gd name="T40" fmla="*/ 1813 w 1846"/>
              <a:gd name="T41" fmla="*/ 1783 h 2316"/>
              <a:gd name="T42" fmla="*/ 1591 w 1846"/>
              <a:gd name="T43" fmla="*/ 1935 h 2316"/>
              <a:gd name="T44" fmla="*/ 1292 w 1846"/>
              <a:gd name="T45" fmla="*/ 1899 h 2316"/>
              <a:gd name="T46" fmla="*/ 1166 w 1846"/>
              <a:gd name="T47" fmla="*/ 1899 h 2316"/>
              <a:gd name="T48" fmla="*/ 1127 w 1846"/>
              <a:gd name="T49" fmla="*/ 1972 h 2316"/>
              <a:gd name="T50" fmla="*/ 1185 w 1846"/>
              <a:gd name="T51" fmla="*/ 2107 h 2316"/>
              <a:gd name="T52" fmla="*/ 1192 w 1846"/>
              <a:gd name="T53" fmla="*/ 2217 h 2316"/>
              <a:gd name="T54" fmla="*/ 1153 w 1846"/>
              <a:gd name="T55" fmla="*/ 2257 h 2316"/>
              <a:gd name="T56" fmla="*/ 989 w 1846"/>
              <a:gd name="T57" fmla="*/ 2313 h 2316"/>
              <a:gd name="T58" fmla="*/ 766 w 1846"/>
              <a:gd name="T59" fmla="*/ 2293 h 2316"/>
              <a:gd name="T60" fmla="*/ 646 w 1846"/>
              <a:gd name="T61" fmla="*/ 2214 h 2316"/>
              <a:gd name="T62" fmla="*/ 634 w 1846"/>
              <a:gd name="T63" fmla="*/ 2101 h 2316"/>
              <a:gd name="T64" fmla="*/ 686 w 1846"/>
              <a:gd name="T65" fmla="*/ 1968 h 2316"/>
              <a:gd name="T66" fmla="*/ 677 w 1846"/>
              <a:gd name="T67" fmla="*/ 1930 h 2316"/>
              <a:gd name="T68" fmla="*/ 632 w 1846"/>
              <a:gd name="T69" fmla="*/ 1909 h 2316"/>
              <a:gd name="T70" fmla="*/ 440 w 1846"/>
              <a:gd name="T71" fmla="*/ 1901 h 2316"/>
              <a:gd name="T72" fmla="*/ 166 w 1846"/>
              <a:gd name="T73" fmla="*/ 1959 h 2316"/>
              <a:gd name="T74" fmla="*/ 14 w 1846"/>
              <a:gd name="T75" fmla="*/ 1707 h 2316"/>
              <a:gd name="T76" fmla="*/ 14 w 1846"/>
              <a:gd name="T77" fmla="*/ 1468 h 2316"/>
              <a:gd name="T78" fmla="*/ 153 w 1846"/>
              <a:gd name="T79" fmla="*/ 1485 h 2316"/>
              <a:gd name="T80" fmla="*/ 317 w 1846"/>
              <a:gd name="T81" fmla="*/ 1457 h 2316"/>
              <a:gd name="T82" fmla="*/ 414 w 1846"/>
              <a:gd name="T83" fmla="*/ 1277 h 2316"/>
              <a:gd name="T84" fmla="*/ 407 w 1846"/>
              <a:gd name="T85" fmla="*/ 1014 h 2316"/>
              <a:gd name="T86" fmla="*/ 334 w 1846"/>
              <a:gd name="T87" fmla="*/ 881 h 2316"/>
              <a:gd name="T88" fmla="*/ 210 w 1846"/>
              <a:gd name="T89" fmla="*/ 843 h 2316"/>
              <a:gd name="T90" fmla="*/ 80 w 1846"/>
              <a:gd name="T91" fmla="*/ 905 h 2316"/>
              <a:gd name="T92" fmla="*/ 0 w 1846"/>
              <a:gd name="T93" fmla="*/ 841 h 2316"/>
              <a:gd name="T94" fmla="*/ 57 w 1846"/>
              <a:gd name="T95" fmla="*/ 434 h 2316"/>
              <a:gd name="T96" fmla="*/ 397 w 1846"/>
              <a:gd name="T97" fmla="*/ 410 h 2316"/>
              <a:gd name="T98" fmla="*/ 702 w 1846"/>
              <a:gd name="T99" fmla="*/ 412 h 2316"/>
              <a:gd name="T100" fmla="*/ 719 w 1846"/>
              <a:gd name="T101" fmla="*/ 367 h 2316"/>
              <a:gd name="T102" fmla="*/ 674 w 1846"/>
              <a:gd name="T103" fmla="*/ 235 h 2316"/>
              <a:gd name="T104" fmla="*/ 643 w 1846"/>
              <a:gd name="T105" fmla="*/ 133 h 2316"/>
              <a:gd name="T106" fmla="*/ 672 w 1846"/>
              <a:gd name="T107" fmla="*/ 80 h 2316"/>
              <a:gd name="T108" fmla="*/ 793 w 1846"/>
              <a:gd name="T109" fmla="*/ 15 h 23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46"/>
              <a:gd name="T166" fmla="*/ 0 h 2316"/>
              <a:gd name="T167" fmla="*/ 1846 w 1846"/>
              <a:gd name="T168" fmla="*/ 2316 h 23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46" h="2316">
                <a:moveTo>
                  <a:pt x="920" y="0"/>
                </a:moveTo>
                <a:lnTo>
                  <a:pt x="970" y="2"/>
                </a:lnTo>
                <a:lnTo>
                  <a:pt x="1018" y="9"/>
                </a:lnTo>
                <a:lnTo>
                  <a:pt x="1062" y="17"/>
                </a:lnTo>
                <a:lnTo>
                  <a:pt x="1082" y="22"/>
                </a:lnTo>
                <a:lnTo>
                  <a:pt x="1100" y="31"/>
                </a:lnTo>
                <a:lnTo>
                  <a:pt x="1119" y="40"/>
                </a:lnTo>
                <a:lnTo>
                  <a:pt x="1126" y="43"/>
                </a:lnTo>
                <a:lnTo>
                  <a:pt x="1133" y="45"/>
                </a:lnTo>
                <a:lnTo>
                  <a:pt x="1140" y="48"/>
                </a:lnTo>
                <a:lnTo>
                  <a:pt x="1145" y="52"/>
                </a:lnTo>
                <a:lnTo>
                  <a:pt x="1160" y="64"/>
                </a:lnTo>
                <a:lnTo>
                  <a:pt x="1176" y="78"/>
                </a:lnTo>
                <a:lnTo>
                  <a:pt x="1179" y="81"/>
                </a:lnTo>
                <a:lnTo>
                  <a:pt x="1185" y="83"/>
                </a:lnTo>
                <a:lnTo>
                  <a:pt x="1188" y="86"/>
                </a:lnTo>
                <a:lnTo>
                  <a:pt x="1188" y="88"/>
                </a:lnTo>
                <a:lnTo>
                  <a:pt x="1190" y="90"/>
                </a:lnTo>
                <a:lnTo>
                  <a:pt x="1190" y="95"/>
                </a:lnTo>
                <a:lnTo>
                  <a:pt x="1192" y="97"/>
                </a:lnTo>
                <a:lnTo>
                  <a:pt x="1200" y="107"/>
                </a:lnTo>
                <a:lnTo>
                  <a:pt x="1211" y="125"/>
                </a:lnTo>
                <a:lnTo>
                  <a:pt x="1219" y="142"/>
                </a:lnTo>
                <a:lnTo>
                  <a:pt x="1223" y="159"/>
                </a:lnTo>
                <a:lnTo>
                  <a:pt x="1221" y="185"/>
                </a:lnTo>
                <a:lnTo>
                  <a:pt x="1214" y="213"/>
                </a:lnTo>
                <a:lnTo>
                  <a:pt x="1205" y="240"/>
                </a:lnTo>
                <a:lnTo>
                  <a:pt x="1195" y="266"/>
                </a:lnTo>
                <a:lnTo>
                  <a:pt x="1188" y="280"/>
                </a:lnTo>
                <a:lnTo>
                  <a:pt x="1181" y="296"/>
                </a:lnTo>
                <a:lnTo>
                  <a:pt x="1171" y="315"/>
                </a:lnTo>
                <a:lnTo>
                  <a:pt x="1164" y="332"/>
                </a:lnTo>
                <a:lnTo>
                  <a:pt x="1159" y="348"/>
                </a:lnTo>
                <a:lnTo>
                  <a:pt x="1157" y="362"/>
                </a:lnTo>
                <a:lnTo>
                  <a:pt x="1164" y="379"/>
                </a:lnTo>
                <a:lnTo>
                  <a:pt x="1176" y="393"/>
                </a:lnTo>
                <a:lnTo>
                  <a:pt x="1193" y="403"/>
                </a:lnTo>
                <a:lnTo>
                  <a:pt x="1214" y="410"/>
                </a:lnTo>
                <a:lnTo>
                  <a:pt x="1238" y="414"/>
                </a:lnTo>
                <a:lnTo>
                  <a:pt x="1264" y="417"/>
                </a:lnTo>
                <a:lnTo>
                  <a:pt x="1320" y="419"/>
                </a:lnTo>
                <a:lnTo>
                  <a:pt x="1375" y="419"/>
                </a:lnTo>
                <a:lnTo>
                  <a:pt x="1425" y="417"/>
                </a:lnTo>
                <a:lnTo>
                  <a:pt x="1486" y="410"/>
                </a:lnTo>
                <a:lnTo>
                  <a:pt x="1543" y="398"/>
                </a:lnTo>
                <a:lnTo>
                  <a:pt x="1597" y="382"/>
                </a:lnTo>
                <a:lnTo>
                  <a:pt x="1649" y="365"/>
                </a:lnTo>
                <a:lnTo>
                  <a:pt x="1702" y="350"/>
                </a:lnTo>
                <a:lnTo>
                  <a:pt x="1756" y="336"/>
                </a:lnTo>
                <a:lnTo>
                  <a:pt x="1773" y="389"/>
                </a:lnTo>
                <a:lnTo>
                  <a:pt x="1791" y="446"/>
                </a:lnTo>
                <a:lnTo>
                  <a:pt x="1801" y="481"/>
                </a:lnTo>
                <a:lnTo>
                  <a:pt x="1811" y="521"/>
                </a:lnTo>
                <a:lnTo>
                  <a:pt x="1822" y="559"/>
                </a:lnTo>
                <a:lnTo>
                  <a:pt x="1830" y="609"/>
                </a:lnTo>
                <a:lnTo>
                  <a:pt x="1837" y="666"/>
                </a:lnTo>
                <a:lnTo>
                  <a:pt x="1841" y="727"/>
                </a:lnTo>
                <a:lnTo>
                  <a:pt x="1841" y="768"/>
                </a:lnTo>
                <a:lnTo>
                  <a:pt x="1837" y="808"/>
                </a:lnTo>
                <a:lnTo>
                  <a:pt x="1832" y="848"/>
                </a:lnTo>
                <a:lnTo>
                  <a:pt x="1822" y="884"/>
                </a:lnTo>
                <a:lnTo>
                  <a:pt x="1796" y="878"/>
                </a:lnTo>
                <a:lnTo>
                  <a:pt x="1773" y="865"/>
                </a:lnTo>
                <a:lnTo>
                  <a:pt x="1749" y="853"/>
                </a:lnTo>
                <a:lnTo>
                  <a:pt x="1723" y="843"/>
                </a:lnTo>
                <a:lnTo>
                  <a:pt x="1692" y="834"/>
                </a:lnTo>
                <a:lnTo>
                  <a:pt x="1659" y="826"/>
                </a:lnTo>
                <a:lnTo>
                  <a:pt x="1626" y="824"/>
                </a:lnTo>
                <a:lnTo>
                  <a:pt x="1595" y="827"/>
                </a:lnTo>
                <a:lnTo>
                  <a:pt x="1559" y="841"/>
                </a:lnTo>
                <a:lnTo>
                  <a:pt x="1527" y="864"/>
                </a:lnTo>
                <a:lnTo>
                  <a:pt x="1498" y="891"/>
                </a:lnTo>
                <a:lnTo>
                  <a:pt x="1475" y="926"/>
                </a:lnTo>
                <a:lnTo>
                  <a:pt x="1456" y="966"/>
                </a:lnTo>
                <a:lnTo>
                  <a:pt x="1441" y="1009"/>
                </a:lnTo>
                <a:lnTo>
                  <a:pt x="1429" y="1056"/>
                </a:lnTo>
                <a:lnTo>
                  <a:pt x="1424" y="1106"/>
                </a:lnTo>
                <a:lnTo>
                  <a:pt x="1420" y="1160"/>
                </a:lnTo>
                <a:lnTo>
                  <a:pt x="1422" y="1213"/>
                </a:lnTo>
                <a:lnTo>
                  <a:pt x="1429" y="1269"/>
                </a:lnTo>
                <a:lnTo>
                  <a:pt x="1441" y="1315"/>
                </a:lnTo>
                <a:lnTo>
                  <a:pt x="1458" y="1360"/>
                </a:lnTo>
                <a:lnTo>
                  <a:pt x="1479" y="1399"/>
                </a:lnTo>
                <a:lnTo>
                  <a:pt x="1493" y="1416"/>
                </a:lnTo>
                <a:lnTo>
                  <a:pt x="1510" y="1435"/>
                </a:lnTo>
                <a:lnTo>
                  <a:pt x="1531" y="1452"/>
                </a:lnTo>
                <a:lnTo>
                  <a:pt x="1555" y="1466"/>
                </a:lnTo>
                <a:lnTo>
                  <a:pt x="1581" y="1476"/>
                </a:lnTo>
                <a:lnTo>
                  <a:pt x="1611" y="1480"/>
                </a:lnTo>
                <a:lnTo>
                  <a:pt x="1642" y="1476"/>
                </a:lnTo>
                <a:lnTo>
                  <a:pt x="1671" y="1464"/>
                </a:lnTo>
                <a:lnTo>
                  <a:pt x="1697" y="1452"/>
                </a:lnTo>
                <a:lnTo>
                  <a:pt x="1721" y="1438"/>
                </a:lnTo>
                <a:lnTo>
                  <a:pt x="1740" y="1428"/>
                </a:lnTo>
                <a:lnTo>
                  <a:pt x="1761" y="1416"/>
                </a:lnTo>
                <a:lnTo>
                  <a:pt x="1782" y="1405"/>
                </a:lnTo>
                <a:lnTo>
                  <a:pt x="1808" y="1400"/>
                </a:lnTo>
                <a:lnTo>
                  <a:pt x="1837" y="1399"/>
                </a:lnTo>
                <a:lnTo>
                  <a:pt x="1844" y="1438"/>
                </a:lnTo>
                <a:lnTo>
                  <a:pt x="1846" y="1478"/>
                </a:lnTo>
                <a:lnTo>
                  <a:pt x="1843" y="1516"/>
                </a:lnTo>
                <a:lnTo>
                  <a:pt x="1841" y="1556"/>
                </a:lnTo>
                <a:lnTo>
                  <a:pt x="1836" y="1636"/>
                </a:lnTo>
                <a:lnTo>
                  <a:pt x="1827" y="1712"/>
                </a:lnTo>
                <a:lnTo>
                  <a:pt x="1813" y="1783"/>
                </a:lnTo>
                <a:lnTo>
                  <a:pt x="1798" y="1850"/>
                </a:lnTo>
                <a:lnTo>
                  <a:pt x="1778" y="1916"/>
                </a:lnTo>
                <a:lnTo>
                  <a:pt x="1759" y="1984"/>
                </a:lnTo>
                <a:lnTo>
                  <a:pt x="1649" y="1949"/>
                </a:lnTo>
                <a:lnTo>
                  <a:pt x="1591" y="1935"/>
                </a:lnTo>
                <a:lnTo>
                  <a:pt x="1529" y="1921"/>
                </a:lnTo>
                <a:lnTo>
                  <a:pt x="1463" y="1911"/>
                </a:lnTo>
                <a:lnTo>
                  <a:pt x="1411" y="1906"/>
                </a:lnTo>
                <a:lnTo>
                  <a:pt x="1354" y="1902"/>
                </a:lnTo>
                <a:lnTo>
                  <a:pt x="1292" y="1899"/>
                </a:lnTo>
                <a:lnTo>
                  <a:pt x="1268" y="1897"/>
                </a:lnTo>
                <a:lnTo>
                  <a:pt x="1242" y="1897"/>
                </a:lnTo>
                <a:lnTo>
                  <a:pt x="1214" y="1895"/>
                </a:lnTo>
                <a:lnTo>
                  <a:pt x="1188" y="1895"/>
                </a:lnTo>
                <a:lnTo>
                  <a:pt x="1166" y="1899"/>
                </a:lnTo>
                <a:lnTo>
                  <a:pt x="1146" y="1904"/>
                </a:lnTo>
                <a:lnTo>
                  <a:pt x="1134" y="1914"/>
                </a:lnTo>
                <a:lnTo>
                  <a:pt x="1127" y="1930"/>
                </a:lnTo>
                <a:lnTo>
                  <a:pt x="1126" y="1951"/>
                </a:lnTo>
                <a:lnTo>
                  <a:pt x="1127" y="1972"/>
                </a:lnTo>
                <a:lnTo>
                  <a:pt x="1129" y="1991"/>
                </a:lnTo>
                <a:lnTo>
                  <a:pt x="1140" y="2022"/>
                </a:lnTo>
                <a:lnTo>
                  <a:pt x="1152" y="2051"/>
                </a:lnTo>
                <a:lnTo>
                  <a:pt x="1167" y="2077"/>
                </a:lnTo>
                <a:lnTo>
                  <a:pt x="1185" y="2107"/>
                </a:lnTo>
                <a:lnTo>
                  <a:pt x="1195" y="2129"/>
                </a:lnTo>
                <a:lnTo>
                  <a:pt x="1202" y="2150"/>
                </a:lnTo>
                <a:lnTo>
                  <a:pt x="1205" y="2171"/>
                </a:lnTo>
                <a:lnTo>
                  <a:pt x="1202" y="2193"/>
                </a:lnTo>
                <a:lnTo>
                  <a:pt x="1192" y="2217"/>
                </a:lnTo>
                <a:lnTo>
                  <a:pt x="1190" y="2219"/>
                </a:lnTo>
                <a:lnTo>
                  <a:pt x="1185" y="2219"/>
                </a:lnTo>
                <a:lnTo>
                  <a:pt x="1185" y="2221"/>
                </a:lnTo>
                <a:lnTo>
                  <a:pt x="1178" y="2233"/>
                </a:lnTo>
                <a:lnTo>
                  <a:pt x="1153" y="2257"/>
                </a:lnTo>
                <a:lnTo>
                  <a:pt x="1141" y="2268"/>
                </a:lnTo>
                <a:lnTo>
                  <a:pt x="1112" y="2285"/>
                </a:lnTo>
                <a:lnTo>
                  <a:pt x="1076" y="2297"/>
                </a:lnTo>
                <a:lnTo>
                  <a:pt x="1034" y="2307"/>
                </a:lnTo>
                <a:lnTo>
                  <a:pt x="989" y="2313"/>
                </a:lnTo>
                <a:lnTo>
                  <a:pt x="942" y="2316"/>
                </a:lnTo>
                <a:lnTo>
                  <a:pt x="895" y="2316"/>
                </a:lnTo>
                <a:lnTo>
                  <a:pt x="849" y="2311"/>
                </a:lnTo>
                <a:lnTo>
                  <a:pt x="805" y="2304"/>
                </a:lnTo>
                <a:lnTo>
                  <a:pt x="766" y="2293"/>
                </a:lnTo>
                <a:lnTo>
                  <a:pt x="736" y="2283"/>
                </a:lnTo>
                <a:lnTo>
                  <a:pt x="712" y="2271"/>
                </a:lnTo>
                <a:lnTo>
                  <a:pt x="689" y="2257"/>
                </a:lnTo>
                <a:lnTo>
                  <a:pt x="665" y="2238"/>
                </a:lnTo>
                <a:lnTo>
                  <a:pt x="646" y="2214"/>
                </a:lnTo>
                <a:lnTo>
                  <a:pt x="634" y="2193"/>
                </a:lnTo>
                <a:lnTo>
                  <a:pt x="627" y="2172"/>
                </a:lnTo>
                <a:lnTo>
                  <a:pt x="625" y="2153"/>
                </a:lnTo>
                <a:lnTo>
                  <a:pt x="627" y="2129"/>
                </a:lnTo>
                <a:lnTo>
                  <a:pt x="634" y="2101"/>
                </a:lnTo>
                <a:lnTo>
                  <a:pt x="646" y="2065"/>
                </a:lnTo>
                <a:lnTo>
                  <a:pt x="658" y="2034"/>
                </a:lnTo>
                <a:lnTo>
                  <a:pt x="672" y="2003"/>
                </a:lnTo>
                <a:lnTo>
                  <a:pt x="681" y="1984"/>
                </a:lnTo>
                <a:lnTo>
                  <a:pt x="686" y="1968"/>
                </a:lnTo>
                <a:lnTo>
                  <a:pt x="688" y="1952"/>
                </a:lnTo>
                <a:lnTo>
                  <a:pt x="681" y="1937"/>
                </a:lnTo>
                <a:lnTo>
                  <a:pt x="679" y="1935"/>
                </a:lnTo>
                <a:lnTo>
                  <a:pt x="679" y="1932"/>
                </a:lnTo>
                <a:lnTo>
                  <a:pt x="677" y="1930"/>
                </a:lnTo>
                <a:lnTo>
                  <a:pt x="669" y="1930"/>
                </a:lnTo>
                <a:lnTo>
                  <a:pt x="665" y="1927"/>
                </a:lnTo>
                <a:lnTo>
                  <a:pt x="663" y="1923"/>
                </a:lnTo>
                <a:lnTo>
                  <a:pt x="658" y="1918"/>
                </a:lnTo>
                <a:lnTo>
                  <a:pt x="632" y="1909"/>
                </a:lnTo>
                <a:lnTo>
                  <a:pt x="599" y="1904"/>
                </a:lnTo>
                <a:lnTo>
                  <a:pt x="561" y="1901"/>
                </a:lnTo>
                <a:lnTo>
                  <a:pt x="520" y="1899"/>
                </a:lnTo>
                <a:lnTo>
                  <a:pt x="480" y="1899"/>
                </a:lnTo>
                <a:lnTo>
                  <a:pt x="440" y="1901"/>
                </a:lnTo>
                <a:lnTo>
                  <a:pt x="407" y="1902"/>
                </a:lnTo>
                <a:lnTo>
                  <a:pt x="348" y="1911"/>
                </a:lnTo>
                <a:lnTo>
                  <a:pt x="295" y="1923"/>
                </a:lnTo>
                <a:lnTo>
                  <a:pt x="243" y="1937"/>
                </a:lnTo>
                <a:lnTo>
                  <a:pt x="166" y="1959"/>
                </a:lnTo>
                <a:lnTo>
                  <a:pt x="89" y="1984"/>
                </a:lnTo>
                <a:lnTo>
                  <a:pt x="57" y="1880"/>
                </a:lnTo>
                <a:lnTo>
                  <a:pt x="40" y="1824"/>
                </a:lnTo>
                <a:lnTo>
                  <a:pt x="26" y="1767"/>
                </a:lnTo>
                <a:lnTo>
                  <a:pt x="14" y="1707"/>
                </a:lnTo>
                <a:lnTo>
                  <a:pt x="5" y="1644"/>
                </a:lnTo>
                <a:lnTo>
                  <a:pt x="4" y="1577"/>
                </a:lnTo>
                <a:lnTo>
                  <a:pt x="5" y="1540"/>
                </a:lnTo>
                <a:lnTo>
                  <a:pt x="7" y="1502"/>
                </a:lnTo>
                <a:lnTo>
                  <a:pt x="14" y="1468"/>
                </a:lnTo>
                <a:lnTo>
                  <a:pt x="25" y="1433"/>
                </a:lnTo>
                <a:lnTo>
                  <a:pt x="57" y="1445"/>
                </a:lnTo>
                <a:lnTo>
                  <a:pt x="90" y="1459"/>
                </a:lnTo>
                <a:lnTo>
                  <a:pt x="121" y="1473"/>
                </a:lnTo>
                <a:lnTo>
                  <a:pt x="153" y="1485"/>
                </a:lnTo>
                <a:lnTo>
                  <a:pt x="186" y="1494"/>
                </a:lnTo>
                <a:lnTo>
                  <a:pt x="218" y="1495"/>
                </a:lnTo>
                <a:lnTo>
                  <a:pt x="255" y="1492"/>
                </a:lnTo>
                <a:lnTo>
                  <a:pt x="288" y="1478"/>
                </a:lnTo>
                <a:lnTo>
                  <a:pt x="317" y="1457"/>
                </a:lnTo>
                <a:lnTo>
                  <a:pt x="345" y="1431"/>
                </a:lnTo>
                <a:lnTo>
                  <a:pt x="367" y="1400"/>
                </a:lnTo>
                <a:lnTo>
                  <a:pt x="385" y="1369"/>
                </a:lnTo>
                <a:lnTo>
                  <a:pt x="402" y="1326"/>
                </a:lnTo>
                <a:lnTo>
                  <a:pt x="414" y="1277"/>
                </a:lnTo>
                <a:lnTo>
                  <a:pt x="421" y="1225"/>
                </a:lnTo>
                <a:lnTo>
                  <a:pt x="424" y="1172"/>
                </a:lnTo>
                <a:lnTo>
                  <a:pt x="423" y="1116"/>
                </a:lnTo>
                <a:lnTo>
                  <a:pt x="418" y="1064"/>
                </a:lnTo>
                <a:lnTo>
                  <a:pt x="407" y="1014"/>
                </a:lnTo>
                <a:lnTo>
                  <a:pt x="393" y="969"/>
                </a:lnTo>
                <a:lnTo>
                  <a:pt x="383" y="947"/>
                </a:lnTo>
                <a:lnTo>
                  <a:pt x="369" y="924"/>
                </a:lnTo>
                <a:lnTo>
                  <a:pt x="353" y="902"/>
                </a:lnTo>
                <a:lnTo>
                  <a:pt x="334" y="881"/>
                </a:lnTo>
                <a:lnTo>
                  <a:pt x="314" y="864"/>
                </a:lnTo>
                <a:lnTo>
                  <a:pt x="288" y="850"/>
                </a:lnTo>
                <a:lnTo>
                  <a:pt x="262" y="841"/>
                </a:lnTo>
                <a:lnTo>
                  <a:pt x="231" y="839"/>
                </a:lnTo>
                <a:lnTo>
                  <a:pt x="210" y="843"/>
                </a:lnTo>
                <a:lnTo>
                  <a:pt x="192" y="848"/>
                </a:lnTo>
                <a:lnTo>
                  <a:pt x="173" y="858"/>
                </a:lnTo>
                <a:lnTo>
                  <a:pt x="134" y="878"/>
                </a:lnTo>
                <a:lnTo>
                  <a:pt x="97" y="897"/>
                </a:lnTo>
                <a:lnTo>
                  <a:pt x="80" y="905"/>
                </a:lnTo>
                <a:lnTo>
                  <a:pt x="59" y="914"/>
                </a:lnTo>
                <a:lnTo>
                  <a:pt x="35" y="917"/>
                </a:lnTo>
                <a:lnTo>
                  <a:pt x="9" y="919"/>
                </a:lnTo>
                <a:lnTo>
                  <a:pt x="2" y="881"/>
                </a:lnTo>
                <a:lnTo>
                  <a:pt x="0" y="841"/>
                </a:lnTo>
                <a:lnTo>
                  <a:pt x="4" y="762"/>
                </a:lnTo>
                <a:lnTo>
                  <a:pt x="9" y="682"/>
                </a:lnTo>
                <a:lnTo>
                  <a:pt x="19" y="606"/>
                </a:lnTo>
                <a:lnTo>
                  <a:pt x="31" y="535"/>
                </a:lnTo>
                <a:lnTo>
                  <a:pt x="57" y="434"/>
                </a:lnTo>
                <a:lnTo>
                  <a:pt x="85" y="336"/>
                </a:lnTo>
                <a:lnTo>
                  <a:pt x="203" y="370"/>
                </a:lnTo>
                <a:lnTo>
                  <a:pt x="263" y="386"/>
                </a:lnTo>
                <a:lnTo>
                  <a:pt x="329" y="400"/>
                </a:lnTo>
                <a:lnTo>
                  <a:pt x="397" y="410"/>
                </a:lnTo>
                <a:lnTo>
                  <a:pt x="468" y="417"/>
                </a:lnTo>
                <a:lnTo>
                  <a:pt x="546" y="421"/>
                </a:lnTo>
                <a:lnTo>
                  <a:pt x="684" y="421"/>
                </a:lnTo>
                <a:lnTo>
                  <a:pt x="693" y="417"/>
                </a:lnTo>
                <a:lnTo>
                  <a:pt x="702" y="412"/>
                </a:lnTo>
                <a:lnTo>
                  <a:pt x="708" y="408"/>
                </a:lnTo>
                <a:lnTo>
                  <a:pt x="712" y="405"/>
                </a:lnTo>
                <a:lnTo>
                  <a:pt x="717" y="393"/>
                </a:lnTo>
                <a:lnTo>
                  <a:pt x="719" y="381"/>
                </a:lnTo>
                <a:lnTo>
                  <a:pt x="719" y="367"/>
                </a:lnTo>
                <a:lnTo>
                  <a:pt x="717" y="336"/>
                </a:lnTo>
                <a:lnTo>
                  <a:pt x="710" y="308"/>
                </a:lnTo>
                <a:lnTo>
                  <a:pt x="700" y="282"/>
                </a:lnTo>
                <a:lnTo>
                  <a:pt x="688" y="260"/>
                </a:lnTo>
                <a:lnTo>
                  <a:pt x="674" y="235"/>
                </a:lnTo>
                <a:lnTo>
                  <a:pt x="662" y="213"/>
                </a:lnTo>
                <a:lnTo>
                  <a:pt x="651" y="192"/>
                </a:lnTo>
                <a:lnTo>
                  <a:pt x="644" y="173"/>
                </a:lnTo>
                <a:lnTo>
                  <a:pt x="641" y="154"/>
                </a:lnTo>
                <a:lnTo>
                  <a:pt x="643" y="133"/>
                </a:lnTo>
                <a:lnTo>
                  <a:pt x="650" y="109"/>
                </a:lnTo>
                <a:lnTo>
                  <a:pt x="651" y="105"/>
                </a:lnTo>
                <a:lnTo>
                  <a:pt x="655" y="100"/>
                </a:lnTo>
                <a:lnTo>
                  <a:pt x="662" y="93"/>
                </a:lnTo>
                <a:lnTo>
                  <a:pt x="672" y="80"/>
                </a:lnTo>
                <a:lnTo>
                  <a:pt x="682" y="67"/>
                </a:lnTo>
                <a:lnTo>
                  <a:pt x="696" y="55"/>
                </a:lnTo>
                <a:lnTo>
                  <a:pt x="722" y="40"/>
                </a:lnTo>
                <a:lnTo>
                  <a:pt x="755" y="26"/>
                </a:lnTo>
                <a:lnTo>
                  <a:pt x="793" y="15"/>
                </a:lnTo>
                <a:lnTo>
                  <a:pt x="831" y="7"/>
                </a:lnTo>
                <a:lnTo>
                  <a:pt x="869" y="2"/>
                </a:lnTo>
                <a:lnTo>
                  <a:pt x="920" y="0"/>
                </a:lnTo>
                <a:close/>
              </a:path>
            </a:pathLst>
          </a:custGeom>
          <a:solidFill>
            <a:schemeClr val="tx2"/>
          </a:solidFill>
          <a:ln w="12700">
            <a:solidFill>
              <a:schemeClr val="bg1"/>
            </a:solidFill>
            <a:round/>
            <a:headEnd/>
            <a:tailEnd/>
          </a:ln>
        </p:spPr>
        <p:txBody>
          <a:bodyPr/>
          <a:lstStyle/>
          <a:p>
            <a:endParaRPr lang="en-US"/>
          </a:p>
        </p:txBody>
      </p:sp>
      <p:sp>
        <p:nvSpPr>
          <p:cNvPr id="223" name="Rectangle 61"/>
          <p:cNvSpPr>
            <a:spLocks noChangeArrowheads="1"/>
          </p:cNvSpPr>
          <p:nvPr/>
        </p:nvSpPr>
        <p:spPr bwMode="gray">
          <a:xfrm rot="18237129">
            <a:off x="1271764" y="3588708"/>
            <a:ext cx="720725" cy="965200"/>
          </a:xfrm>
          <a:prstGeom prst="rect">
            <a:avLst/>
          </a:prstGeom>
          <a:noFill/>
          <a:ln w="19050" algn="ctr">
            <a:noFill/>
            <a:miter lim="800000"/>
            <a:headEnd/>
            <a:tailEnd/>
          </a:ln>
          <a:effectLst/>
        </p:spPr>
        <p:txBody>
          <a:bodyPr lIns="72000" tIns="72000" rIns="72000" bIns="72000" anchor="ctr"/>
          <a:lstStyle/>
          <a:p>
            <a:pPr lvl="0" algn="ctr" fontAlgn="base">
              <a:spcBef>
                <a:spcPct val="0"/>
              </a:spcBef>
              <a:spcAft>
                <a:spcPct val="0"/>
              </a:spcAft>
              <a:defRPr/>
            </a:pPr>
            <a:r>
              <a:rPr lang="en-US" sz="1400" b="1">
                <a:solidFill>
                  <a:srgbClr val="FFFFFF"/>
                </a:solidFill>
              </a:rPr>
              <a:t>Text</a:t>
            </a:r>
            <a:endParaRPr lang="en-US" sz="1400" b="1" dirty="0">
              <a:solidFill>
                <a:srgbClr val="FFFFFF"/>
              </a:solidFill>
            </a:endParaRPr>
          </a:p>
        </p:txBody>
      </p:sp>
      <p:sp>
        <p:nvSpPr>
          <p:cNvPr id="228" name="AutoShape 26"/>
          <p:cNvSpPr>
            <a:spLocks/>
          </p:cNvSpPr>
          <p:nvPr/>
        </p:nvSpPr>
        <p:spPr bwMode="gray">
          <a:xfrm>
            <a:off x="1744663" y="4797934"/>
            <a:ext cx="1520825" cy="1209676"/>
          </a:xfrm>
          <a:custGeom>
            <a:avLst/>
            <a:gdLst>
              <a:gd name="T0" fmla="*/ 1839 w 2317"/>
              <a:gd name="T1" fmla="*/ 43 h 1844"/>
              <a:gd name="T2" fmla="*/ 1934 w 2317"/>
              <a:gd name="T3" fmla="*/ 254 h 1844"/>
              <a:gd name="T4" fmla="*/ 1898 w 2317"/>
              <a:gd name="T5" fmla="*/ 556 h 1844"/>
              <a:gd name="T6" fmla="*/ 1917 w 2317"/>
              <a:gd name="T7" fmla="*/ 713 h 1844"/>
              <a:gd name="T8" fmla="*/ 2024 w 2317"/>
              <a:gd name="T9" fmla="*/ 705 h 1844"/>
              <a:gd name="T10" fmla="*/ 2171 w 2317"/>
              <a:gd name="T11" fmla="*/ 642 h 1844"/>
              <a:gd name="T12" fmla="*/ 2225 w 2317"/>
              <a:gd name="T13" fmla="*/ 663 h 1844"/>
              <a:gd name="T14" fmla="*/ 2260 w 2317"/>
              <a:gd name="T15" fmla="*/ 696 h 1844"/>
              <a:gd name="T16" fmla="*/ 2301 w 2317"/>
              <a:gd name="T17" fmla="*/ 786 h 1844"/>
              <a:gd name="T18" fmla="*/ 2310 w 2317"/>
              <a:gd name="T19" fmla="*/ 1020 h 1844"/>
              <a:gd name="T20" fmla="*/ 2256 w 2317"/>
              <a:gd name="T21" fmla="*/ 1155 h 1844"/>
              <a:gd name="T22" fmla="*/ 2163 w 2317"/>
              <a:gd name="T23" fmla="*/ 1220 h 1844"/>
              <a:gd name="T24" fmla="*/ 2026 w 2317"/>
              <a:gd name="T25" fmla="*/ 1184 h 1844"/>
              <a:gd name="T26" fmla="*/ 1951 w 2317"/>
              <a:gd name="T27" fmla="*/ 1158 h 1844"/>
              <a:gd name="T28" fmla="*/ 1903 w 2317"/>
              <a:gd name="T29" fmla="*/ 1245 h 1844"/>
              <a:gd name="T30" fmla="*/ 1908 w 2317"/>
              <a:gd name="T31" fmla="*/ 1490 h 1844"/>
              <a:gd name="T32" fmla="*/ 1982 w 2317"/>
              <a:gd name="T33" fmla="*/ 1757 h 1844"/>
              <a:gd name="T34" fmla="*/ 1678 w 2317"/>
              <a:gd name="T35" fmla="*/ 1833 h 1844"/>
              <a:gd name="T36" fmla="*/ 1465 w 2317"/>
              <a:gd name="T37" fmla="*/ 1831 h 1844"/>
              <a:gd name="T38" fmla="*/ 1482 w 2317"/>
              <a:gd name="T39" fmla="*/ 1693 h 1844"/>
              <a:gd name="T40" fmla="*/ 1460 w 2317"/>
              <a:gd name="T41" fmla="*/ 1532 h 1844"/>
              <a:gd name="T42" fmla="*/ 1423 w 2317"/>
              <a:gd name="T43" fmla="*/ 1494 h 1844"/>
              <a:gd name="T44" fmla="*/ 1415 w 2317"/>
              <a:gd name="T45" fmla="*/ 1487 h 1844"/>
              <a:gd name="T46" fmla="*/ 1402 w 2317"/>
              <a:gd name="T47" fmla="*/ 1477 h 1844"/>
              <a:gd name="T48" fmla="*/ 1342 w 2317"/>
              <a:gd name="T49" fmla="*/ 1449 h 1844"/>
              <a:gd name="T50" fmla="*/ 1115 w 2317"/>
              <a:gd name="T51" fmla="*/ 1425 h 1844"/>
              <a:gd name="T52" fmla="*/ 916 w 2317"/>
              <a:gd name="T53" fmla="*/ 1482 h 1844"/>
              <a:gd name="T54" fmla="*/ 854 w 2317"/>
              <a:gd name="T55" fmla="*/ 1549 h 1844"/>
              <a:gd name="T56" fmla="*/ 845 w 2317"/>
              <a:gd name="T57" fmla="*/ 1643 h 1844"/>
              <a:gd name="T58" fmla="*/ 890 w 2317"/>
              <a:gd name="T59" fmla="*/ 1741 h 1844"/>
              <a:gd name="T60" fmla="*/ 900 w 2317"/>
              <a:gd name="T61" fmla="*/ 1842 h 1844"/>
              <a:gd name="T62" fmla="*/ 661 w 2317"/>
              <a:gd name="T63" fmla="*/ 1835 h 1844"/>
              <a:gd name="T64" fmla="*/ 334 w 2317"/>
              <a:gd name="T65" fmla="*/ 1757 h 1844"/>
              <a:gd name="T66" fmla="*/ 416 w 2317"/>
              <a:gd name="T67" fmla="*/ 1380 h 1844"/>
              <a:gd name="T68" fmla="*/ 422 w 2317"/>
              <a:gd name="T69" fmla="*/ 1193 h 1844"/>
              <a:gd name="T70" fmla="*/ 367 w 2317"/>
              <a:gd name="T71" fmla="*/ 1122 h 1844"/>
              <a:gd name="T72" fmla="*/ 234 w 2317"/>
              <a:gd name="T73" fmla="*/ 1170 h 1844"/>
              <a:gd name="T74" fmla="*/ 99 w 2317"/>
              <a:gd name="T75" fmla="*/ 1189 h 1844"/>
              <a:gd name="T76" fmla="*/ 17 w 2317"/>
              <a:gd name="T77" fmla="*/ 1070 h 1844"/>
              <a:gd name="T78" fmla="*/ 9 w 2317"/>
              <a:gd name="T79" fmla="*/ 824 h 1844"/>
              <a:gd name="T80" fmla="*/ 59 w 2317"/>
              <a:gd name="T81" fmla="*/ 691 h 1844"/>
              <a:gd name="T82" fmla="*/ 152 w 2317"/>
              <a:gd name="T83" fmla="*/ 627 h 1844"/>
              <a:gd name="T84" fmla="*/ 312 w 2317"/>
              <a:gd name="T85" fmla="*/ 672 h 1844"/>
              <a:gd name="T86" fmla="*/ 393 w 2317"/>
              <a:gd name="T87" fmla="*/ 665 h 1844"/>
              <a:gd name="T88" fmla="*/ 419 w 2317"/>
              <a:gd name="T89" fmla="*/ 530 h 1844"/>
              <a:gd name="T90" fmla="*/ 395 w 2317"/>
              <a:gd name="T91" fmla="*/ 296 h 1844"/>
              <a:gd name="T92" fmla="*/ 455 w 2317"/>
              <a:gd name="T93" fmla="*/ 52 h 1844"/>
              <a:gd name="T94" fmla="*/ 736 w 2317"/>
              <a:gd name="T95" fmla="*/ 5 h 1844"/>
              <a:gd name="T96" fmla="*/ 880 w 2317"/>
              <a:gd name="T97" fmla="*/ 23 h 1844"/>
              <a:gd name="T98" fmla="*/ 845 w 2317"/>
              <a:gd name="T99" fmla="*/ 118 h 1844"/>
              <a:gd name="T100" fmla="*/ 836 w 2317"/>
              <a:gd name="T101" fmla="*/ 277 h 1844"/>
              <a:gd name="T102" fmla="*/ 923 w 2317"/>
              <a:gd name="T103" fmla="*/ 367 h 1844"/>
              <a:gd name="T104" fmla="*/ 1049 w 2317"/>
              <a:gd name="T105" fmla="*/ 414 h 1844"/>
              <a:gd name="T106" fmla="*/ 1319 w 2317"/>
              <a:gd name="T107" fmla="*/ 402 h 1844"/>
              <a:gd name="T108" fmla="*/ 1465 w 2317"/>
              <a:gd name="T109" fmla="*/ 294 h 1844"/>
              <a:gd name="T110" fmla="*/ 1437 w 2317"/>
              <a:gd name="T111" fmla="*/ 125 h 1844"/>
              <a:gd name="T112" fmla="*/ 1404 w 2317"/>
              <a:gd name="T113" fmla="*/ 5 h 18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17"/>
              <a:gd name="T172" fmla="*/ 0 h 1844"/>
              <a:gd name="T173" fmla="*/ 2317 w 2317"/>
              <a:gd name="T174" fmla="*/ 1844 h 18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17" h="1844">
                <a:moveTo>
                  <a:pt x="1506" y="0"/>
                </a:moveTo>
                <a:lnTo>
                  <a:pt x="1596" y="3"/>
                </a:lnTo>
                <a:lnTo>
                  <a:pt x="1681" y="14"/>
                </a:lnTo>
                <a:lnTo>
                  <a:pt x="1761" y="26"/>
                </a:lnTo>
                <a:lnTo>
                  <a:pt x="1839" y="43"/>
                </a:lnTo>
                <a:lnTo>
                  <a:pt x="1912" y="64"/>
                </a:lnTo>
                <a:lnTo>
                  <a:pt x="1982" y="87"/>
                </a:lnTo>
                <a:lnTo>
                  <a:pt x="1965" y="142"/>
                </a:lnTo>
                <a:lnTo>
                  <a:pt x="1950" y="197"/>
                </a:lnTo>
                <a:lnTo>
                  <a:pt x="1934" y="254"/>
                </a:lnTo>
                <a:lnTo>
                  <a:pt x="1920" y="317"/>
                </a:lnTo>
                <a:lnTo>
                  <a:pt x="1910" y="383"/>
                </a:lnTo>
                <a:lnTo>
                  <a:pt x="1905" y="435"/>
                </a:lnTo>
                <a:lnTo>
                  <a:pt x="1901" y="493"/>
                </a:lnTo>
                <a:lnTo>
                  <a:pt x="1898" y="556"/>
                </a:lnTo>
                <a:lnTo>
                  <a:pt x="1896" y="580"/>
                </a:lnTo>
                <a:lnTo>
                  <a:pt x="1896" y="660"/>
                </a:lnTo>
                <a:lnTo>
                  <a:pt x="1899" y="682"/>
                </a:lnTo>
                <a:lnTo>
                  <a:pt x="1906" y="701"/>
                </a:lnTo>
                <a:lnTo>
                  <a:pt x="1917" y="713"/>
                </a:lnTo>
                <a:lnTo>
                  <a:pt x="1934" y="720"/>
                </a:lnTo>
                <a:lnTo>
                  <a:pt x="1953" y="722"/>
                </a:lnTo>
                <a:lnTo>
                  <a:pt x="1974" y="720"/>
                </a:lnTo>
                <a:lnTo>
                  <a:pt x="1995" y="717"/>
                </a:lnTo>
                <a:lnTo>
                  <a:pt x="2024" y="705"/>
                </a:lnTo>
                <a:lnTo>
                  <a:pt x="2052" y="691"/>
                </a:lnTo>
                <a:lnTo>
                  <a:pt x="2100" y="663"/>
                </a:lnTo>
                <a:lnTo>
                  <a:pt x="2123" y="653"/>
                </a:lnTo>
                <a:lnTo>
                  <a:pt x="2147" y="644"/>
                </a:lnTo>
                <a:lnTo>
                  <a:pt x="2171" y="642"/>
                </a:lnTo>
                <a:lnTo>
                  <a:pt x="2195" y="646"/>
                </a:lnTo>
                <a:lnTo>
                  <a:pt x="2221" y="656"/>
                </a:lnTo>
                <a:lnTo>
                  <a:pt x="2223" y="658"/>
                </a:lnTo>
                <a:lnTo>
                  <a:pt x="2223" y="661"/>
                </a:lnTo>
                <a:lnTo>
                  <a:pt x="2225" y="663"/>
                </a:lnTo>
                <a:lnTo>
                  <a:pt x="2232" y="666"/>
                </a:lnTo>
                <a:lnTo>
                  <a:pt x="2239" y="672"/>
                </a:lnTo>
                <a:lnTo>
                  <a:pt x="2244" y="679"/>
                </a:lnTo>
                <a:lnTo>
                  <a:pt x="2251" y="686"/>
                </a:lnTo>
                <a:lnTo>
                  <a:pt x="2260" y="696"/>
                </a:lnTo>
                <a:lnTo>
                  <a:pt x="2266" y="705"/>
                </a:lnTo>
                <a:lnTo>
                  <a:pt x="2279" y="729"/>
                </a:lnTo>
                <a:lnTo>
                  <a:pt x="2285" y="744"/>
                </a:lnTo>
                <a:lnTo>
                  <a:pt x="2294" y="763"/>
                </a:lnTo>
                <a:lnTo>
                  <a:pt x="2301" y="786"/>
                </a:lnTo>
                <a:lnTo>
                  <a:pt x="2310" y="829"/>
                </a:lnTo>
                <a:lnTo>
                  <a:pt x="2315" y="874"/>
                </a:lnTo>
                <a:lnTo>
                  <a:pt x="2317" y="923"/>
                </a:lnTo>
                <a:lnTo>
                  <a:pt x="2315" y="973"/>
                </a:lnTo>
                <a:lnTo>
                  <a:pt x="2310" y="1020"/>
                </a:lnTo>
                <a:lnTo>
                  <a:pt x="2299" y="1065"/>
                </a:lnTo>
                <a:lnTo>
                  <a:pt x="2285" y="1106"/>
                </a:lnTo>
                <a:lnTo>
                  <a:pt x="2266" y="1143"/>
                </a:lnTo>
                <a:lnTo>
                  <a:pt x="2265" y="1146"/>
                </a:lnTo>
                <a:lnTo>
                  <a:pt x="2256" y="1155"/>
                </a:lnTo>
                <a:lnTo>
                  <a:pt x="2244" y="1170"/>
                </a:lnTo>
                <a:lnTo>
                  <a:pt x="2227" y="1188"/>
                </a:lnTo>
                <a:lnTo>
                  <a:pt x="2209" y="1203"/>
                </a:lnTo>
                <a:lnTo>
                  <a:pt x="2187" y="1213"/>
                </a:lnTo>
                <a:lnTo>
                  <a:pt x="2163" y="1220"/>
                </a:lnTo>
                <a:lnTo>
                  <a:pt x="2133" y="1219"/>
                </a:lnTo>
                <a:lnTo>
                  <a:pt x="2105" y="1213"/>
                </a:lnTo>
                <a:lnTo>
                  <a:pt x="2078" y="1203"/>
                </a:lnTo>
                <a:lnTo>
                  <a:pt x="2052" y="1193"/>
                </a:lnTo>
                <a:lnTo>
                  <a:pt x="2026" y="1184"/>
                </a:lnTo>
                <a:lnTo>
                  <a:pt x="2002" y="1174"/>
                </a:lnTo>
                <a:lnTo>
                  <a:pt x="1989" y="1167"/>
                </a:lnTo>
                <a:lnTo>
                  <a:pt x="1977" y="1162"/>
                </a:lnTo>
                <a:lnTo>
                  <a:pt x="1965" y="1158"/>
                </a:lnTo>
                <a:lnTo>
                  <a:pt x="1951" y="1158"/>
                </a:lnTo>
                <a:lnTo>
                  <a:pt x="1936" y="1165"/>
                </a:lnTo>
                <a:lnTo>
                  <a:pt x="1924" y="1179"/>
                </a:lnTo>
                <a:lnTo>
                  <a:pt x="1913" y="1196"/>
                </a:lnTo>
                <a:lnTo>
                  <a:pt x="1908" y="1219"/>
                </a:lnTo>
                <a:lnTo>
                  <a:pt x="1903" y="1245"/>
                </a:lnTo>
                <a:lnTo>
                  <a:pt x="1901" y="1271"/>
                </a:lnTo>
                <a:lnTo>
                  <a:pt x="1899" y="1326"/>
                </a:lnTo>
                <a:lnTo>
                  <a:pt x="1899" y="1381"/>
                </a:lnTo>
                <a:lnTo>
                  <a:pt x="1901" y="1432"/>
                </a:lnTo>
                <a:lnTo>
                  <a:pt x="1908" y="1490"/>
                </a:lnTo>
                <a:lnTo>
                  <a:pt x="1920" y="1546"/>
                </a:lnTo>
                <a:lnTo>
                  <a:pt x="1936" y="1600"/>
                </a:lnTo>
                <a:lnTo>
                  <a:pt x="1953" y="1651"/>
                </a:lnTo>
                <a:lnTo>
                  <a:pt x="1969" y="1703"/>
                </a:lnTo>
                <a:lnTo>
                  <a:pt x="1982" y="1757"/>
                </a:lnTo>
                <a:lnTo>
                  <a:pt x="1922" y="1773"/>
                </a:lnTo>
                <a:lnTo>
                  <a:pt x="1860" y="1792"/>
                </a:lnTo>
                <a:lnTo>
                  <a:pt x="1794" y="1811"/>
                </a:lnTo>
                <a:lnTo>
                  <a:pt x="1725" y="1826"/>
                </a:lnTo>
                <a:lnTo>
                  <a:pt x="1678" y="1833"/>
                </a:lnTo>
                <a:lnTo>
                  <a:pt x="1628" y="1837"/>
                </a:lnTo>
                <a:lnTo>
                  <a:pt x="1576" y="1838"/>
                </a:lnTo>
                <a:lnTo>
                  <a:pt x="1538" y="1838"/>
                </a:lnTo>
                <a:lnTo>
                  <a:pt x="1501" y="1837"/>
                </a:lnTo>
                <a:lnTo>
                  <a:pt x="1465" y="1831"/>
                </a:lnTo>
                <a:lnTo>
                  <a:pt x="1434" y="1819"/>
                </a:lnTo>
                <a:lnTo>
                  <a:pt x="1446" y="1785"/>
                </a:lnTo>
                <a:lnTo>
                  <a:pt x="1460" y="1754"/>
                </a:lnTo>
                <a:lnTo>
                  <a:pt x="1472" y="1722"/>
                </a:lnTo>
                <a:lnTo>
                  <a:pt x="1482" y="1693"/>
                </a:lnTo>
                <a:lnTo>
                  <a:pt x="1491" y="1660"/>
                </a:lnTo>
                <a:lnTo>
                  <a:pt x="1494" y="1627"/>
                </a:lnTo>
                <a:lnTo>
                  <a:pt x="1491" y="1593"/>
                </a:lnTo>
                <a:lnTo>
                  <a:pt x="1479" y="1561"/>
                </a:lnTo>
                <a:lnTo>
                  <a:pt x="1460" y="1532"/>
                </a:lnTo>
                <a:lnTo>
                  <a:pt x="1437" y="1508"/>
                </a:lnTo>
                <a:lnTo>
                  <a:pt x="1435" y="1506"/>
                </a:lnTo>
                <a:lnTo>
                  <a:pt x="1430" y="1496"/>
                </a:lnTo>
                <a:lnTo>
                  <a:pt x="1427" y="1496"/>
                </a:lnTo>
                <a:lnTo>
                  <a:pt x="1423" y="1494"/>
                </a:lnTo>
                <a:lnTo>
                  <a:pt x="1422" y="1494"/>
                </a:lnTo>
                <a:lnTo>
                  <a:pt x="1418" y="1492"/>
                </a:lnTo>
                <a:lnTo>
                  <a:pt x="1416" y="1490"/>
                </a:lnTo>
                <a:lnTo>
                  <a:pt x="1416" y="1489"/>
                </a:lnTo>
                <a:lnTo>
                  <a:pt x="1415" y="1487"/>
                </a:lnTo>
                <a:lnTo>
                  <a:pt x="1415" y="1485"/>
                </a:lnTo>
                <a:lnTo>
                  <a:pt x="1406" y="1485"/>
                </a:lnTo>
                <a:lnTo>
                  <a:pt x="1404" y="1484"/>
                </a:lnTo>
                <a:lnTo>
                  <a:pt x="1404" y="1478"/>
                </a:lnTo>
                <a:lnTo>
                  <a:pt x="1402" y="1477"/>
                </a:lnTo>
                <a:lnTo>
                  <a:pt x="1396" y="1477"/>
                </a:lnTo>
                <a:lnTo>
                  <a:pt x="1385" y="1470"/>
                </a:lnTo>
                <a:lnTo>
                  <a:pt x="1380" y="1464"/>
                </a:lnTo>
                <a:lnTo>
                  <a:pt x="1376" y="1463"/>
                </a:lnTo>
                <a:lnTo>
                  <a:pt x="1342" y="1449"/>
                </a:lnTo>
                <a:lnTo>
                  <a:pt x="1302" y="1439"/>
                </a:lnTo>
                <a:lnTo>
                  <a:pt x="1260" y="1430"/>
                </a:lnTo>
                <a:lnTo>
                  <a:pt x="1214" y="1425"/>
                </a:lnTo>
                <a:lnTo>
                  <a:pt x="1165" y="1423"/>
                </a:lnTo>
                <a:lnTo>
                  <a:pt x="1115" y="1425"/>
                </a:lnTo>
                <a:lnTo>
                  <a:pt x="1067" y="1430"/>
                </a:lnTo>
                <a:lnTo>
                  <a:pt x="1022" y="1437"/>
                </a:lnTo>
                <a:lnTo>
                  <a:pt x="980" y="1449"/>
                </a:lnTo>
                <a:lnTo>
                  <a:pt x="945" y="1463"/>
                </a:lnTo>
                <a:lnTo>
                  <a:pt x="916" y="1482"/>
                </a:lnTo>
                <a:lnTo>
                  <a:pt x="892" y="1501"/>
                </a:lnTo>
                <a:lnTo>
                  <a:pt x="869" y="1523"/>
                </a:lnTo>
                <a:lnTo>
                  <a:pt x="864" y="1530"/>
                </a:lnTo>
                <a:lnTo>
                  <a:pt x="859" y="1539"/>
                </a:lnTo>
                <a:lnTo>
                  <a:pt x="854" y="1549"/>
                </a:lnTo>
                <a:lnTo>
                  <a:pt x="850" y="1558"/>
                </a:lnTo>
                <a:lnTo>
                  <a:pt x="841" y="1586"/>
                </a:lnTo>
                <a:lnTo>
                  <a:pt x="838" y="1612"/>
                </a:lnTo>
                <a:lnTo>
                  <a:pt x="840" y="1629"/>
                </a:lnTo>
                <a:lnTo>
                  <a:pt x="845" y="1643"/>
                </a:lnTo>
                <a:lnTo>
                  <a:pt x="850" y="1655"/>
                </a:lnTo>
                <a:lnTo>
                  <a:pt x="857" y="1669"/>
                </a:lnTo>
                <a:lnTo>
                  <a:pt x="869" y="1696"/>
                </a:lnTo>
                <a:lnTo>
                  <a:pt x="880" y="1722"/>
                </a:lnTo>
                <a:lnTo>
                  <a:pt x="890" y="1741"/>
                </a:lnTo>
                <a:lnTo>
                  <a:pt x="902" y="1760"/>
                </a:lnTo>
                <a:lnTo>
                  <a:pt x="911" y="1783"/>
                </a:lnTo>
                <a:lnTo>
                  <a:pt x="918" y="1807"/>
                </a:lnTo>
                <a:lnTo>
                  <a:pt x="919" y="1835"/>
                </a:lnTo>
                <a:lnTo>
                  <a:pt x="900" y="1842"/>
                </a:lnTo>
                <a:lnTo>
                  <a:pt x="881" y="1844"/>
                </a:lnTo>
                <a:lnTo>
                  <a:pt x="861" y="1842"/>
                </a:lnTo>
                <a:lnTo>
                  <a:pt x="781" y="1842"/>
                </a:lnTo>
                <a:lnTo>
                  <a:pt x="720" y="1840"/>
                </a:lnTo>
                <a:lnTo>
                  <a:pt x="661" y="1835"/>
                </a:lnTo>
                <a:lnTo>
                  <a:pt x="604" y="1826"/>
                </a:lnTo>
                <a:lnTo>
                  <a:pt x="532" y="1812"/>
                </a:lnTo>
                <a:lnTo>
                  <a:pt x="462" y="1795"/>
                </a:lnTo>
                <a:lnTo>
                  <a:pt x="396" y="1776"/>
                </a:lnTo>
                <a:lnTo>
                  <a:pt x="334" y="1757"/>
                </a:lnTo>
                <a:lnTo>
                  <a:pt x="353" y="1695"/>
                </a:lnTo>
                <a:lnTo>
                  <a:pt x="384" y="1584"/>
                </a:lnTo>
                <a:lnTo>
                  <a:pt x="396" y="1527"/>
                </a:lnTo>
                <a:lnTo>
                  <a:pt x="407" y="1463"/>
                </a:lnTo>
                <a:lnTo>
                  <a:pt x="416" y="1380"/>
                </a:lnTo>
                <a:lnTo>
                  <a:pt x="419" y="1290"/>
                </a:lnTo>
                <a:lnTo>
                  <a:pt x="421" y="1265"/>
                </a:lnTo>
                <a:lnTo>
                  <a:pt x="421" y="1241"/>
                </a:lnTo>
                <a:lnTo>
                  <a:pt x="422" y="1217"/>
                </a:lnTo>
                <a:lnTo>
                  <a:pt x="422" y="1193"/>
                </a:lnTo>
                <a:lnTo>
                  <a:pt x="421" y="1170"/>
                </a:lnTo>
                <a:lnTo>
                  <a:pt x="416" y="1151"/>
                </a:lnTo>
                <a:lnTo>
                  <a:pt x="407" y="1137"/>
                </a:lnTo>
                <a:lnTo>
                  <a:pt x="393" y="1129"/>
                </a:lnTo>
                <a:lnTo>
                  <a:pt x="367" y="1122"/>
                </a:lnTo>
                <a:lnTo>
                  <a:pt x="341" y="1123"/>
                </a:lnTo>
                <a:lnTo>
                  <a:pt x="315" y="1130"/>
                </a:lnTo>
                <a:lnTo>
                  <a:pt x="287" y="1141"/>
                </a:lnTo>
                <a:lnTo>
                  <a:pt x="261" y="1155"/>
                </a:lnTo>
                <a:lnTo>
                  <a:pt x="234" y="1170"/>
                </a:lnTo>
                <a:lnTo>
                  <a:pt x="206" y="1188"/>
                </a:lnTo>
                <a:lnTo>
                  <a:pt x="177" y="1200"/>
                </a:lnTo>
                <a:lnTo>
                  <a:pt x="151" y="1205"/>
                </a:lnTo>
                <a:lnTo>
                  <a:pt x="125" y="1201"/>
                </a:lnTo>
                <a:lnTo>
                  <a:pt x="99" y="1189"/>
                </a:lnTo>
                <a:lnTo>
                  <a:pt x="78" y="1172"/>
                </a:lnTo>
                <a:lnTo>
                  <a:pt x="59" y="1151"/>
                </a:lnTo>
                <a:lnTo>
                  <a:pt x="43" y="1129"/>
                </a:lnTo>
                <a:lnTo>
                  <a:pt x="31" y="1108"/>
                </a:lnTo>
                <a:lnTo>
                  <a:pt x="17" y="1070"/>
                </a:lnTo>
                <a:lnTo>
                  <a:pt x="7" y="1025"/>
                </a:lnTo>
                <a:lnTo>
                  <a:pt x="2" y="976"/>
                </a:lnTo>
                <a:lnTo>
                  <a:pt x="0" y="924"/>
                </a:lnTo>
                <a:lnTo>
                  <a:pt x="2" y="874"/>
                </a:lnTo>
                <a:lnTo>
                  <a:pt x="9" y="824"/>
                </a:lnTo>
                <a:lnTo>
                  <a:pt x="17" y="779"/>
                </a:lnTo>
                <a:lnTo>
                  <a:pt x="31" y="739"/>
                </a:lnTo>
                <a:lnTo>
                  <a:pt x="40" y="720"/>
                </a:lnTo>
                <a:lnTo>
                  <a:pt x="48" y="705"/>
                </a:lnTo>
                <a:lnTo>
                  <a:pt x="59" y="691"/>
                </a:lnTo>
                <a:lnTo>
                  <a:pt x="73" y="675"/>
                </a:lnTo>
                <a:lnTo>
                  <a:pt x="90" y="658"/>
                </a:lnTo>
                <a:lnTo>
                  <a:pt x="107" y="644"/>
                </a:lnTo>
                <a:lnTo>
                  <a:pt x="128" y="634"/>
                </a:lnTo>
                <a:lnTo>
                  <a:pt x="152" y="627"/>
                </a:lnTo>
                <a:lnTo>
                  <a:pt x="180" y="627"/>
                </a:lnTo>
                <a:lnTo>
                  <a:pt x="211" y="632"/>
                </a:lnTo>
                <a:lnTo>
                  <a:pt x="248" y="644"/>
                </a:lnTo>
                <a:lnTo>
                  <a:pt x="280" y="656"/>
                </a:lnTo>
                <a:lnTo>
                  <a:pt x="312" y="672"/>
                </a:lnTo>
                <a:lnTo>
                  <a:pt x="331" y="679"/>
                </a:lnTo>
                <a:lnTo>
                  <a:pt x="348" y="686"/>
                </a:lnTo>
                <a:lnTo>
                  <a:pt x="365" y="686"/>
                </a:lnTo>
                <a:lnTo>
                  <a:pt x="381" y="679"/>
                </a:lnTo>
                <a:lnTo>
                  <a:pt x="393" y="665"/>
                </a:lnTo>
                <a:lnTo>
                  <a:pt x="403" y="646"/>
                </a:lnTo>
                <a:lnTo>
                  <a:pt x="410" y="621"/>
                </a:lnTo>
                <a:lnTo>
                  <a:pt x="416" y="592"/>
                </a:lnTo>
                <a:lnTo>
                  <a:pt x="417" y="563"/>
                </a:lnTo>
                <a:lnTo>
                  <a:pt x="419" y="530"/>
                </a:lnTo>
                <a:lnTo>
                  <a:pt x="419" y="467"/>
                </a:lnTo>
                <a:lnTo>
                  <a:pt x="417" y="438"/>
                </a:lnTo>
                <a:lnTo>
                  <a:pt x="416" y="414"/>
                </a:lnTo>
                <a:lnTo>
                  <a:pt x="409" y="353"/>
                </a:lnTo>
                <a:lnTo>
                  <a:pt x="395" y="296"/>
                </a:lnTo>
                <a:lnTo>
                  <a:pt x="379" y="242"/>
                </a:lnTo>
                <a:lnTo>
                  <a:pt x="348" y="139"/>
                </a:lnTo>
                <a:lnTo>
                  <a:pt x="334" y="87"/>
                </a:lnTo>
                <a:lnTo>
                  <a:pt x="393" y="69"/>
                </a:lnTo>
                <a:lnTo>
                  <a:pt x="455" y="52"/>
                </a:lnTo>
                <a:lnTo>
                  <a:pt x="521" y="31"/>
                </a:lnTo>
                <a:lnTo>
                  <a:pt x="589" y="16"/>
                </a:lnTo>
                <a:lnTo>
                  <a:pt x="658" y="7"/>
                </a:lnTo>
                <a:lnTo>
                  <a:pt x="696" y="5"/>
                </a:lnTo>
                <a:lnTo>
                  <a:pt x="736" y="5"/>
                </a:lnTo>
                <a:lnTo>
                  <a:pt x="776" y="7"/>
                </a:lnTo>
                <a:lnTo>
                  <a:pt x="803" y="7"/>
                </a:lnTo>
                <a:lnTo>
                  <a:pt x="829" y="9"/>
                </a:lnTo>
                <a:lnTo>
                  <a:pt x="855" y="14"/>
                </a:lnTo>
                <a:lnTo>
                  <a:pt x="880" y="23"/>
                </a:lnTo>
                <a:lnTo>
                  <a:pt x="881" y="35"/>
                </a:lnTo>
                <a:lnTo>
                  <a:pt x="878" y="47"/>
                </a:lnTo>
                <a:lnTo>
                  <a:pt x="864" y="68"/>
                </a:lnTo>
                <a:lnTo>
                  <a:pt x="854" y="94"/>
                </a:lnTo>
                <a:lnTo>
                  <a:pt x="845" y="118"/>
                </a:lnTo>
                <a:lnTo>
                  <a:pt x="835" y="149"/>
                </a:lnTo>
                <a:lnTo>
                  <a:pt x="826" y="184"/>
                </a:lnTo>
                <a:lnTo>
                  <a:pt x="822" y="218"/>
                </a:lnTo>
                <a:lnTo>
                  <a:pt x="826" y="253"/>
                </a:lnTo>
                <a:lnTo>
                  <a:pt x="836" y="277"/>
                </a:lnTo>
                <a:lnTo>
                  <a:pt x="864" y="322"/>
                </a:lnTo>
                <a:lnTo>
                  <a:pt x="876" y="334"/>
                </a:lnTo>
                <a:lnTo>
                  <a:pt x="893" y="348"/>
                </a:lnTo>
                <a:lnTo>
                  <a:pt x="911" y="360"/>
                </a:lnTo>
                <a:lnTo>
                  <a:pt x="923" y="367"/>
                </a:lnTo>
                <a:lnTo>
                  <a:pt x="937" y="376"/>
                </a:lnTo>
                <a:lnTo>
                  <a:pt x="954" y="383"/>
                </a:lnTo>
                <a:lnTo>
                  <a:pt x="980" y="398"/>
                </a:lnTo>
                <a:lnTo>
                  <a:pt x="1015" y="407"/>
                </a:lnTo>
                <a:lnTo>
                  <a:pt x="1049" y="414"/>
                </a:lnTo>
                <a:lnTo>
                  <a:pt x="1105" y="421"/>
                </a:lnTo>
                <a:lnTo>
                  <a:pt x="1162" y="424"/>
                </a:lnTo>
                <a:lnTo>
                  <a:pt x="1217" y="421"/>
                </a:lnTo>
                <a:lnTo>
                  <a:pt x="1271" y="414"/>
                </a:lnTo>
                <a:lnTo>
                  <a:pt x="1319" y="402"/>
                </a:lnTo>
                <a:lnTo>
                  <a:pt x="1364" y="384"/>
                </a:lnTo>
                <a:lnTo>
                  <a:pt x="1402" y="364"/>
                </a:lnTo>
                <a:lnTo>
                  <a:pt x="1427" y="345"/>
                </a:lnTo>
                <a:lnTo>
                  <a:pt x="1447" y="322"/>
                </a:lnTo>
                <a:lnTo>
                  <a:pt x="1465" y="294"/>
                </a:lnTo>
                <a:lnTo>
                  <a:pt x="1475" y="263"/>
                </a:lnTo>
                <a:lnTo>
                  <a:pt x="1479" y="232"/>
                </a:lnTo>
                <a:lnTo>
                  <a:pt x="1473" y="203"/>
                </a:lnTo>
                <a:lnTo>
                  <a:pt x="1465" y="177"/>
                </a:lnTo>
                <a:lnTo>
                  <a:pt x="1437" y="125"/>
                </a:lnTo>
                <a:lnTo>
                  <a:pt x="1427" y="106"/>
                </a:lnTo>
                <a:lnTo>
                  <a:pt x="1406" y="64"/>
                </a:lnTo>
                <a:lnTo>
                  <a:pt x="1401" y="38"/>
                </a:lnTo>
                <a:lnTo>
                  <a:pt x="1399" y="10"/>
                </a:lnTo>
                <a:lnTo>
                  <a:pt x="1404" y="5"/>
                </a:lnTo>
                <a:lnTo>
                  <a:pt x="1411" y="2"/>
                </a:lnTo>
                <a:lnTo>
                  <a:pt x="1506" y="0"/>
                </a:lnTo>
                <a:close/>
              </a:path>
            </a:pathLst>
          </a:custGeom>
          <a:solidFill>
            <a:schemeClr val="tx1"/>
          </a:solidFill>
          <a:ln w="12700">
            <a:solidFill>
              <a:schemeClr val="bg1"/>
            </a:solidFill>
            <a:round/>
            <a:headEnd/>
            <a:tailEnd/>
          </a:ln>
        </p:spPr>
        <p:txBody>
          <a:bodyPr anchor="ctr"/>
          <a:lstStyle/>
          <a:p>
            <a:endParaRPr lang="en-US"/>
          </a:p>
        </p:txBody>
      </p:sp>
      <p:sp>
        <p:nvSpPr>
          <p:cNvPr id="69659" name="Rectangle 27"/>
          <p:cNvSpPr>
            <a:spLocks noChangeArrowheads="1"/>
          </p:cNvSpPr>
          <p:nvPr/>
        </p:nvSpPr>
        <p:spPr bwMode="gray">
          <a:xfrm>
            <a:off x="1960561" y="4895090"/>
            <a:ext cx="1079500" cy="965834"/>
          </a:xfrm>
          <a:prstGeom prst="rect">
            <a:avLst/>
          </a:prstGeom>
          <a:noFill/>
          <a:ln w="19050">
            <a:noFill/>
            <a:miter lim="800000"/>
            <a:headEnd/>
            <a:tailEnd/>
          </a:ln>
        </p:spPr>
        <p:txBody>
          <a:bodyPr lIns="72000" tIns="72000" rIns="72000" bIns="72000" anchor="ctr"/>
          <a:lstStyle/>
          <a:p>
            <a:pPr lvl="0" algn="ctr" fontAlgn="base">
              <a:spcBef>
                <a:spcPct val="0"/>
              </a:spcBef>
              <a:spcAft>
                <a:spcPct val="0"/>
              </a:spcAft>
            </a:pPr>
            <a:r>
              <a:rPr lang="en-GB" sz="1400" b="1">
                <a:solidFill>
                  <a:srgbClr val="FFFFFF"/>
                </a:solidFill>
              </a:rPr>
              <a:t>Text</a:t>
            </a:r>
          </a:p>
        </p:txBody>
      </p:sp>
    </p:spTree>
    <p:extLst>
      <p:ext uri="{BB962C8B-B14F-4D97-AF65-F5344CB8AC3E}">
        <p14:creationId xmlns:p14="http://schemas.microsoft.com/office/powerpoint/2010/main" val="143963188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NW4d03PTUqncE.9VpLsv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ksYo8b_aUuWYbBESuZF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uKawOFgSkuC1Bw4RtcVh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kg6p3GmTEOMouUN7Psw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avefAOfwgkGArejCY5HVv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H8VNblUwkKlpGqKF4J9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s9f4.BFLUyCpyIakRz3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YlrTgSeEOSrGSFnkxm0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ZCKrrxJ9EStV5zoFMks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asO8yyQeek6gWegi.C74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x6BRTDYjEeIrXWzkyZ06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1utxZH9XUSm5y2Y.P5H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VH03ew9jEEioKZw95rC_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NW4d03PTUqncE.9VpLsv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2wcjtdzRekmddPDTJ5Zv.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x6BRTDYjEeIrXWzkyZ06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pqIIuJx20uJ_3yiWg6y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2yfdTs7QFEqAjJhtRn8z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7sFCqdsiYUqmxHlf55hZ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3L0YVu6lU6PqSKuOnWuB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dPfVrPj_YEi_vvWQ76h8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5SmAk84ZUWAJjBMfuJD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gWLhCvSuuESvlnZn87CnC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PraMoJW5bUKilI6CzuNWp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LiaF0OFUisA6OZK3K7Y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ofjva3r8UOGODBHBY8Yo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VvcnkOwNFEC6t7RSJodfg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9qJflowqS02h2Ttu_coBz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eIjw0vnEkClCEvXnhKoq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Txg21uJB0WibbJTTS3fS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55SmAk84ZUWAJjBMfuJDY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IqrmDavYkmuH4.rhC62t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dIqrmDavYkmuH4.rhC62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qZwxV03tECWShIVuAWEWg"/>
</p:tagLst>
</file>

<file path=ppt/tags/tag132.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33.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34.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35.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36.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37.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38.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39.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qZwxV03tECWShIVuAWEWg"/>
</p:tagLst>
</file>

<file path=ppt/tags/tag140.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41.xml><?xml version="1.0" encoding="utf-8"?>
<p:tagLst xmlns:a="http://schemas.openxmlformats.org/drawingml/2006/main" xmlns:r="http://schemas.openxmlformats.org/officeDocument/2006/relationships" xmlns:p="http://schemas.openxmlformats.org/presentationml/2006/main">
  <p:tag name="COPYRIGHT" val="Templeton &amp; Webster GmbH"/>
  <p:tag name="MASTERVERSION" val="1_1"/>
  <p:tag name="SLIDEMODDATE" val="27.02.05"/>
  <p:tag name="S_LAYOUT" val="CENT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_wAO7LJRE.Y.L.htz5.B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wMoBGx4rkuN01vBy8zxB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ns6dxzla02oIn8xSsi7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7lxsJnBmUeh_QxzgfMXK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COpBmCucEGtJY7EMcGmW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bgNhAc3ck.ONkytiBi_i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YBqfHVet9UKKoFW1NL9C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5_t1YZLMjUyPXd3BVz6t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IqrmDavYkmuH4.rhC62t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jN.EB_D54kaTzML5lWtk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x6BRTDYjEeIrXWzkyZ0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NW4d03PTUqncE.9VpLs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NW4d03PTUqncE.9VpLs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IqrmDavYkmuH4.rhC62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x6BRTDYjEeIrXWzkyZ06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VZKu7Awm02CvCq_hSAS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DSjT1kX4ka5TVW3mL7O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qJflowqS02h2Ttu_co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WLhCvSuuESvlnZn87Cn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9qJflowqS02h2Ttu_coB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3L0YVu6lU6PqSKuOnWu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3L0YVu6lU6PqSKuOnWu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H8VNblUwkKlpGqKF4J9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VZKu7Awm02CvCq_hSAS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Fb86Hr8Nk2um3ygwcpB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DSjT1kX4ka5TVW3mL7O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H8VNblUwkKlpGqKF4J9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H8VNblUwkKlpGqKF4J9h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YRFluLe1UuZLH7Ie4ow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d3NosAH2UG_lWoTy5HGV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7EUbGO7XkG9FdGnG8Th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VZKu7Awm02CvCq_hSAS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DSjT1kX4ka5TVW3mL7Om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1DMiw3GE0CNGGKtnWKtU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Mq_y_QSmU6bzGBj_z76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xLlfdwCaUGRgTRDCFmO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O8yyQeek6gWegi.C74d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jjVy4ktU6yKE8Ur.vHP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XqysII1X0qjEPM1sYlL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2r0pwApbEWuegFBcrK_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DDz23fdS0iIfmwiHKoV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KGC2IalUU6fuJki.NxAH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sjVKdSioUGxL4B92xw43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9bvvGqCykeIAYgGUn4aY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Ftpau6U9UON_SFdexwN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QnoSZ5GCEqHP3wDpzo3r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H3uHTHnXEqC9jzDuRO0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H03ew9jEEioKZw95rC_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rTRYintckapt9U2oKYAI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VTVV_1dYEWzC2oWdU2qS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Fb86Hr8Nk2um3ygwcpB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ZfHcmxNKk6RPopn36Iy4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qlSgLCjWE2sX14Utona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1I2xMAT6lEmn1eW0.k8C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zpycpERxUKY5DNw46wc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NeDI_J.W0ukRkVLRs.oq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CHMoRyPkKH29h0ibGiR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5223QzcF0GC.npsgkXLbw"/>
</p:tagLst>
</file>

<file path=ppt/theme/theme1.xml><?xml version="1.0" encoding="utf-8"?>
<a:theme xmlns:a="http://schemas.openxmlformats.org/drawingml/2006/main" name="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Onscreen;2057;Pos1;Date1;Shell Template - Widescreen - V34.potx" id="{5399F815-499B-4431-8AAC-5D0FAD24009E}" vid="{B88B39E9-F478-4159-B4AF-2E137DAA051A}"/>
    </a:ext>
  </a:extLst>
</a:theme>
</file>

<file path=ppt/theme/theme2.xml><?xml version="1.0" encoding="utf-8"?>
<a:theme xmlns:a="http://schemas.openxmlformats.org/drawingml/2006/main" name="Office Theme">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hell Template - Widescreen - V34</Template>
  <TotalTime>1743</TotalTime>
  <Words>4971</Words>
  <Application>Microsoft Office PowerPoint</Application>
  <PresentationFormat>Widescreen</PresentationFormat>
  <Paragraphs>1716</Paragraphs>
  <Slides>96</Slides>
  <Notes>9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6</vt:i4>
      </vt:variant>
    </vt:vector>
  </HeadingPairs>
  <TitlesOfParts>
    <vt:vector size="102" baseType="lpstr">
      <vt:lpstr>Futura Medium</vt:lpstr>
      <vt:lpstr>Futura Bold</vt:lpstr>
      <vt:lpstr>Arial</vt:lpstr>
      <vt:lpstr>Wingdings</vt:lpstr>
      <vt:lpstr>Futura Light</vt:lpstr>
      <vt:lpstr>Shell layouts with footer</vt:lpstr>
      <vt:lpstr>Content box</vt:lpstr>
      <vt:lpstr>Content box</vt:lpstr>
      <vt:lpstr>Content box</vt:lpstr>
      <vt:lpstr>Content box</vt:lpstr>
      <vt:lpstr>Content box</vt:lpstr>
      <vt:lpstr>Content box</vt:lpstr>
      <vt:lpstr>Content box</vt:lpstr>
      <vt:lpstr>Content box</vt:lpstr>
      <vt:lpstr>Content box</vt:lpstr>
      <vt:lpstr>Content box</vt:lpstr>
      <vt:lpstr>Content box</vt:lpstr>
      <vt:lpstr>Content box</vt:lpstr>
      <vt:lpstr>Bibliography</vt:lpstr>
      <vt:lpstr>Bibliography</vt:lpstr>
      <vt:lpstr>Process</vt:lpstr>
      <vt:lpstr>Process</vt:lpstr>
      <vt:lpstr>Process</vt:lpstr>
      <vt:lpstr>Timeframe</vt:lpstr>
      <vt:lpstr>Timeframe</vt:lpstr>
      <vt:lpstr>Gantt project diagram</vt:lpstr>
      <vt:lpstr>Afam VI GT13E2 MXL Capital Spares buy back – Time Plan</vt:lpstr>
      <vt:lpstr>Six-month Gantt project diagram</vt:lpstr>
      <vt:lpstr>Nine-month Gantt project diagram</vt:lpstr>
      <vt:lpstr>Process</vt:lpstr>
      <vt:lpstr>Process</vt:lpstr>
      <vt:lpstr>Process</vt:lpstr>
      <vt:lpstr>Process</vt:lpstr>
      <vt:lpstr>Process</vt:lpstr>
      <vt:lpstr>Process</vt:lpstr>
      <vt:lpstr>Process</vt:lpstr>
      <vt:lpstr>Process</vt:lpstr>
      <vt:lpstr>Process</vt:lpstr>
      <vt:lpstr>Process</vt:lpstr>
      <vt:lpstr>Process</vt:lpstr>
      <vt:lpstr>Process</vt:lpstr>
      <vt:lpstr>Process</vt:lpstr>
      <vt:lpstr>Process</vt:lpstr>
      <vt:lpstr>SHELL WIZKIT template Cycle</vt:lpstr>
      <vt:lpstr>Cycle</vt:lpstr>
      <vt:lpstr>Cycle</vt:lpstr>
      <vt:lpstr>Cycle</vt:lpstr>
      <vt:lpstr>Cycle</vt:lpstr>
      <vt:lpstr>Cycle</vt:lpstr>
      <vt:lpstr>Cycle</vt:lpstr>
      <vt:lpstr>Cycle</vt:lpstr>
      <vt:lpstr>Cycle</vt:lpstr>
      <vt:lpstr>Cycle</vt:lpstr>
      <vt:lpstr>Cycle</vt:lpstr>
      <vt:lpstr>Cycle</vt:lpstr>
      <vt:lpstr>Cycle</vt:lpstr>
      <vt:lpstr>Organogram</vt:lpstr>
      <vt:lpstr>Organogram</vt:lpstr>
      <vt:lpstr>Organogram</vt:lpstr>
      <vt:lpstr>Organogram</vt:lpstr>
      <vt:lpstr>Organogram</vt:lpstr>
      <vt:lpstr>Conclusion</vt:lpstr>
      <vt:lpstr>Conclusion</vt:lpstr>
      <vt:lpstr>Conclusion</vt:lpstr>
      <vt:lpstr>Conclusion</vt:lpstr>
      <vt:lpstr>Tasks and Influence</vt:lpstr>
      <vt:lpstr>Tasks and Influence</vt:lpstr>
      <vt:lpstr>Tasks and Influence</vt:lpstr>
      <vt:lpstr>Animated multiple level chart </vt:lpstr>
      <vt:lpstr>Text box</vt:lpstr>
      <vt:lpstr>Text box</vt:lpstr>
      <vt:lpstr>Text box</vt:lpstr>
      <vt:lpstr>Flow chart</vt:lpstr>
      <vt:lpstr>Flow chart</vt:lpstr>
      <vt:lpstr>Flow chart</vt:lpstr>
      <vt:lpstr>Flow chart</vt:lpstr>
      <vt:lpstr>Factors</vt:lpstr>
      <vt:lpstr>Multiple column table</vt:lpstr>
      <vt:lpstr>Issue tree</vt:lpstr>
      <vt:lpstr>Issue tree</vt:lpstr>
      <vt:lpstr>Sample flow chart</vt:lpstr>
      <vt:lpstr>Sample diagram with grey palette</vt:lpstr>
      <vt:lpstr>Sample flow chart</vt:lpstr>
      <vt:lpstr>Process</vt:lpstr>
      <vt:lpstr>Process</vt:lpstr>
      <vt:lpstr>Sample flow chart</vt:lpstr>
      <vt:lpstr>Responsibilities</vt:lpstr>
      <vt:lpstr>Sample flow chart</vt:lpstr>
      <vt:lpstr>Sample flow chart</vt:lpstr>
      <vt:lpstr>Sample organisational chart</vt:lpstr>
      <vt:lpstr>Sample organisational chart</vt:lpstr>
      <vt:lpstr>Sample flow chart</vt:lpstr>
      <vt:lpstr>Bubble diagram</vt:lpstr>
      <vt:lpstr>Information diagram</vt:lpstr>
      <vt:lpstr>Main slide heading appears here</vt:lpstr>
      <vt:lpstr>Main slide heading appears here</vt:lpstr>
      <vt:lpstr>Main slide heading appears here</vt:lpstr>
      <vt:lpstr>Main slide heading appears here </vt:lpstr>
      <vt:lpstr>Main slide heading appears here</vt:lpstr>
      <vt:lpstr>Main slide heading appears here</vt:lpstr>
      <vt:lpstr>Puzzle (4 parts)</vt:lpstr>
      <vt:lpstr>Puzzle (6 par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ELL WIZKIT TEMPLATE CONTENT BOXES</dc:title>
  <dc:creator>Eloise McGuffie</dc:creator>
  <cp:lastModifiedBy>Folarin, Vincent D SPDC-UPO/G/PLA</cp:lastModifiedBy>
  <cp:revision>37</cp:revision>
  <dcterms:created xsi:type="dcterms:W3CDTF">2016-07-20T11:52:36Z</dcterms:created>
  <dcterms:modified xsi:type="dcterms:W3CDTF">2018-06-25T10:1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ies>
</file>